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7.xml" ContentType="application/vnd.openxmlformats-officedocument.theme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8.xml" ContentType="application/vnd.openxmlformats-officedocument.them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357.xml" ContentType="application/vnd.openxmlformats-officedocument.presentationml.tags+xml"/>
  <Override PartName="/ppt/notesSlides/notesSlide1.xml" ContentType="application/vnd.openxmlformats-officedocument.presentationml.notesSlide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notesSlides/notesSlide2.xml" ContentType="application/vnd.openxmlformats-officedocument.presentationml.notesSlide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notesSlides/notesSlide3.xml" ContentType="application/vnd.openxmlformats-officedocument.presentationml.notesSlid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66" r:id="rId2"/>
    <p:sldMasterId id="2147483675" r:id="rId3"/>
    <p:sldMasterId id="2147483680" r:id="rId4"/>
    <p:sldMasterId id="2147483696" r:id="rId5"/>
    <p:sldMasterId id="2147483762" r:id="rId6"/>
    <p:sldMasterId id="2147483808" r:id="rId7"/>
    <p:sldMasterId id="2147483817" r:id="rId8"/>
  </p:sldMasterIdLst>
  <p:notesMasterIdLst>
    <p:notesMasterId r:id="rId34"/>
  </p:notesMasterIdLst>
  <p:handoutMasterIdLst>
    <p:handoutMasterId r:id="rId35"/>
  </p:handoutMasterIdLst>
  <p:sldIdLst>
    <p:sldId id="345" r:id="rId9"/>
    <p:sldId id="2035" r:id="rId10"/>
    <p:sldId id="2019" r:id="rId11"/>
    <p:sldId id="2020" r:id="rId12"/>
    <p:sldId id="2021" r:id="rId13"/>
    <p:sldId id="2038" r:id="rId14"/>
    <p:sldId id="2050" r:id="rId15"/>
    <p:sldId id="2051" r:id="rId16"/>
    <p:sldId id="2052" r:id="rId17"/>
    <p:sldId id="2053" r:id="rId18"/>
    <p:sldId id="2042" r:id="rId19"/>
    <p:sldId id="2045" r:id="rId20"/>
    <p:sldId id="2047" r:id="rId21"/>
    <p:sldId id="2046" r:id="rId22"/>
    <p:sldId id="2048" r:id="rId23"/>
    <p:sldId id="2066" r:id="rId24"/>
    <p:sldId id="2067" r:id="rId25"/>
    <p:sldId id="2068" r:id="rId26"/>
    <p:sldId id="2059" r:id="rId27"/>
    <p:sldId id="2060" r:id="rId28"/>
    <p:sldId id="2061" r:id="rId29"/>
    <p:sldId id="2069" r:id="rId30"/>
    <p:sldId id="2063" r:id="rId31"/>
    <p:sldId id="2064" r:id="rId32"/>
    <p:sldId id="2070" r:id="rId33"/>
  </p:sldIdLst>
  <p:sldSz cx="9144000" cy="5143500" type="screen16x9"/>
  <p:notesSz cx="6797675" cy="9926638"/>
  <p:defaultTextStyle>
    <a:defPPr>
      <a:defRPr lang="ru-RU"/>
    </a:defPPr>
    <a:lvl1pPr marL="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8752"/>
    <a:srgbClr val="B4AC7A"/>
    <a:srgbClr val="DDD9C3"/>
    <a:srgbClr val="CD6797"/>
    <a:srgbClr val="F5DFE9"/>
    <a:srgbClr val="DF9DBC"/>
    <a:srgbClr val="3D8CBD"/>
    <a:srgbClr val="AF703D"/>
    <a:srgbClr val="E57316"/>
    <a:srgbClr val="0064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94" autoAdjust="0"/>
    <p:restoredTop sz="86447" autoAdjust="0"/>
  </p:normalViewPr>
  <p:slideViewPr>
    <p:cSldViewPr>
      <p:cViewPr>
        <p:scale>
          <a:sx n="100" d="100"/>
          <a:sy n="100" d="100"/>
        </p:scale>
        <p:origin x="-1986" y="-918"/>
      </p:cViewPr>
      <p:guideLst>
        <p:guide orient="horz" pos="216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D742D9-2FCC-4D8C-BB91-0C10850E325B}" type="doc">
      <dgm:prSet loTypeId="urn:microsoft.com/office/officeart/2005/8/layout/hProcess10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376A6FA-0190-4644-B72D-9653D5D0CD90}">
      <dgm:prSet phldrT="[Текст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endParaRPr lang="ru-RU" sz="1200" dirty="0"/>
        </a:p>
        <a:p>
          <a:r>
            <a:rPr lang="ru-RU" sz="1200" dirty="0">
              <a:solidFill>
                <a:schemeClr val="tx1"/>
              </a:solidFill>
            </a:rPr>
            <a:t>МАСШТАБНОЕ ОФЛАЙН ОБУЧЕНИЕ</a:t>
          </a:r>
        </a:p>
        <a:p>
          <a:r>
            <a:rPr lang="ru-RU" sz="1200" dirty="0">
              <a:solidFill>
                <a:schemeClr val="tx1"/>
              </a:solidFill>
            </a:rPr>
            <a:t> безработных, самозанятых граждан </a:t>
          </a:r>
        </a:p>
        <a:p>
          <a:endParaRPr lang="ru-RU" sz="1200" dirty="0"/>
        </a:p>
      </dgm:t>
    </dgm:pt>
    <dgm:pt modelId="{B7090CBA-FFB9-4EF1-8B83-E2FC62439138}" type="parTrans" cxnId="{EEED46ED-A80B-4253-ACDF-96EFE18ABE49}">
      <dgm:prSet/>
      <dgm:spPr/>
      <dgm:t>
        <a:bodyPr/>
        <a:lstStyle/>
        <a:p>
          <a:endParaRPr lang="ru-RU"/>
        </a:p>
      </dgm:t>
    </dgm:pt>
    <dgm:pt modelId="{7B8F7CB0-DCFA-4855-9A9C-22460BFA6EAC}" type="sibTrans" cxnId="{EEED46ED-A80B-4253-ACDF-96EFE18ABE49}">
      <dgm:prSet/>
      <dgm:spPr>
        <a:solidFill>
          <a:srgbClr val="00645D"/>
        </a:solidFill>
      </dgm:spPr>
      <dgm:t>
        <a:bodyPr/>
        <a:lstStyle/>
        <a:p>
          <a:endParaRPr lang="ru-RU"/>
        </a:p>
      </dgm:t>
    </dgm:pt>
    <dgm:pt modelId="{1E8F0702-0BD1-46AA-B0B1-B4905FB08A29}">
      <dgm:prSet phldrT="[Текст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ru-RU" sz="1200" dirty="0">
              <a:solidFill>
                <a:schemeClr val="tx1"/>
              </a:solidFill>
            </a:rPr>
            <a:t>ОН-ЛАЙН ОБУЧЕНИЕ</a:t>
          </a:r>
          <a:br>
            <a:rPr lang="ru-RU" sz="1200" dirty="0">
              <a:solidFill>
                <a:schemeClr val="tx1"/>
              </a:solidFill>
            </a:rPr>
          </a:br>
          <a:r>
            <a:rPr lang="ru-RU" sz="1200" dirty="0">
              <a:solidFill>
                <a:schemeClr val="tx1"/>
              </a:solidFill>
            </a:rPr>
            <a:t>занятых и незанятых граждан</a:t>
          </a:r>
        </a:p>
      </dgm:t>
    </dgm:pt>
    <dgm:pt modelId="{BFC05986-E1CF-4D56-9B79-9C9562ED7E67}" type="parTrans" cxnId="{69CDCD85-2603-4359-8777-390B805B8D12}">
      <dgm:prSet/>
      <dgm:spPr/>
      <dgm:t>
        <a:bodyPr/>
        <a:lstStyle/>
        <a:p>
          <a:endParaRPr lang="ru-RU"/>
        </a:p>
      </dgm:t>
    </dgm:pt>
    <dgm:pt modelId="{3061B820-C729-4AB3-95A1-45F60795E822}" type="sibTrans" cxnId="{69CDCD85-2603-4359-8777-390B805B8D12}">
      <dgm:prSet/>
      <dgm:spPr>
        <a:solidFill>
          <a:srgbClr val="00645D"/>
        </a:solidFill>
      </dgm:spPr>
      <dgm:t>
        <a:bodyPr/>
        <a:lstStyle/>
        <a:p>
          <a:endParaRPr lang="ru-RU"/>
        </a:p>
      </dgm:t>
    </dgm:pt>
    <dgm:pt modelId="{6B97DAB4-C17C-438E-90ED-2943EBA219B4}">
      <dgm:prSet phldrT="[Текст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ru-RU" sz="1200" dirty="0">
              <a:solidFill>
                <a:schemeClr val="tx1"/>
              </a:solidFill>
            </a:rPr>
            <a:t>МОДЕЛЬ НЕПРЕРЫВНОГО ОБУЧЕНИЯ </a:t>
          </a:r>
        </a:p>
      </dgm:t>
    </dgm:pt>
    <dgm:pt modelId="{278F6EBB-78A5-4CF3-8F5E-40BE02D0339C}" type="parTrans" cxnId="{81A11AC6-508A-4CEB-9E6D-A840097F7C0F}">
      <dgm:prSet/>
      <dgm:spPr/>
      <dgm:t>
        <a:bodyPr/>
        <a:lstStyle/>
        <a:p>
          <a:endParaRPr lang="ru-RU"/>
        </a:p>
      </dgm:t>
    </dgm:pt>
    <dgm:pt modelId="{6A187EBC-80CA-4332-9130-DF5CB90CDDE1}" type="sibTrans" cxnId="{81A11AC6-508A-4CEB-9E6D-A840097F7C0F}">
      <dgm:prSet/>
      <dgm:spPr/>
      <dgm:t>
        <a:bodyPr/>
        <a:lstStyle/>
        <a:p>
          <a:endParaRPr lang="ru-RU"/>
        </a:p>
      </dgm:t>
    </dgm:pt>
    <dgm:pt modelId="{3F1F8F3A-9853-4DCB-8DA9-2E5AB7683DFA}" type="pres">
      <dgm:prSet presAssocID="{5ED742D9-2FCC-4D8C-BB91-0C10850E325B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F91BD1D-8EB3-431B-9911-CEF4E2968E71}" type="pres">
      <dgm:prSet presAssocID="{7376A6FA-0190-4644-B72D-9653D5D0CD90}" presName="composite" presStyleCnt="0"/>
      <dgm:spPr/>
    </dgm:pt>
    <dgm:pt modelId="{59A753B0-A3F4-489D-9AA6-E5E7A250832F}" type="pres">
      <dgm:prSet presAssocID="{7376A6FA-0190-4644-B72D-9653D5D0CD90}" presName="imagSh" presStyleLbl="bgImgPlace1" presStyleIdx="0" presStyleCnt="3"/>
      <dgm:spPr>
        <a:solidFill>
          <a:srgbClr val="009A8F"/>
        </a:solidFill>
      </dgm:spPr>
    </dgm:pt>
    <dgm:pt modelId="{99B69CC7-C0E3-4F4F-9609-AF8EFD0A5795}" type="pres">
      <dgm:prSet presAssocID="{7376A6FA-0190-4644-B72D-9653D5D0CD90}" presName="tx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381594-FD9F-4A35-B20C-D156E06FC1DC}" type="pres">
      <dgm:prSet presAssocID="{7B8F7CB0-DCFA-4855-9A9C-22460BFA6EAC}" presName="sibTrans" presStyleLbl="sibTrans2D1" presStyleIdx="0" presStyleCnt="2"/>
      <dgm:spPr/>
      <dgm:t>
        <a:bodyPr/>
        <a:lstStyle/>
        <a:p>
          <a:endParaRPr lang="ru-RU"/>
        </a:p>
      </dgm:t>
    </dgm:pt>
    <dgm:pt modelId="{A46EF2C4-D2E1-4477-AB11-3E7CDFA18013}" type="pres">
      <dgm:prSet presAssocID="{7B8F7CB0-DCFA-4855-9A9C-22460BFA6EAC}" presName="connTx" presStyleLbl="sibTrans2D1" presStyleIdx="0" presStyleCnt="2"/>
      <dgm:spPr/>
      <dgm:t>
        <a:bodyPr/>
        <a:lstStyle/>
        <a:p>
          <a:endParaRPr lang="ru-RU"/>
        </a:p>
      </dgm:t>
    </dgm:pt>
    <dgm:pt modelId="{35185F5A-5006-42DE-B2E9-68DFF4FCD207}" type="pres">
      <dgm:prSet presAssocID="{1E8F0702-0BD1-46AA-B0B1-B4905FB08A29}" presName="composite" presStyleCnt="0"/>
      <dgm:spPr/>
    </dgm:pt>
    <dgm:pt modelId="{679D76E9-34ED-4747-9193-06E147A8F1A2}" type="pres">
      <dgm:prSet presAssocID="{1E8F0702-0BD1-46AA-B0B1-B4905FB08A29}" presName="imagSh" presStyleLbl="bgImgPlace1" presStyleIdx="1" presStyleCnt="3"/>
      <dgm:spPr>
        <a:solidFill>
          <a:srgbClr val="009A8F"/>
        </a:solidFill>
      </dgm:spPr>
    </dgm:pt>
    <dgm:pt modelId="{21FD284C-2370-4DBF-BF50-48056F1BA046}" type="pres">
      <dgm:prSet presAssocID="{1E8F0702-0BD1-46AA-B0B1-B4905FB08A29}" presName="tx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4E8510E-6EBF-4C38-BBE0-F703CFFA1E50}" type="pres">
      <dgm:prSet presAssocID="{3061B820-C729-4AB3-95A1-45F60795E822}" presName="sibTrans" presStyleLbl="sibTrans2D1" presStyleIdx="1" presStyleCnt="2"/>
      <dgm:spPr/>
      <dgm:t>
        <a:bodyPr/>
        <a:lstStyle/>
        <a:p>
          <a:endParaRPr lang="ru-RU"/>
        </a:p>
      </dgm:t>
    </dgm:pt>
    <dgm:pt modelId="{3588D62D-C5DD-43E0-BB08-FA1054D006A8}" type="pres">
      <dgm:prSet presAssocID="{3061B820-C729-4AB3-95A1-45F60795E822}" presName="connTx" presStyleLbl="sibTrans2D1" presStyleIdx="1" presStyleCnt="2"/>
      <dgm:spPr/>
      <dgm:t>
        <a:bodyPr/>
        <a:lstStyle/>
        <a:p>
          <a:endParaRPr lang="ru-RU"/>
        </a:p>
      </dgm:t>
    </dgm:pt>
    <dgm:pt modelId="{9799C555-2E6F-46FB-8C0E-48F3B83F0359}" type="pres">
      <dgm:prSet presAssocID="{6B97DAB4-C17C-438E-90ED-2943EBA219B4}" presName="composite" presStyleCnt="0"/>
      <dgm:spPr/>
    </dgm:pt>
    <dgm:pt modelId="{D1D5DFED-140C-4E7D-98CA-0244A9102AC5}" type="pres">
      <dgm:prSet presAssocID="{6B97DAB4-C17C-438E-90ED-2943EBA219B4}" presName="imagSh" presStyleLbl="bgImgPlace1" presStyleIdx="2" presStyleCnt="3"/>
      <dgm:spPr>
        <a:solidFill>
          <a:srgbClr val="009A8F"/>
        </a:solidFill>
      </dgm:spPr>
    </dgm:pt>
    <dgm:pt modelId="{E0CAF39A-BA90-4B91-A291-F8710E57B565}" type="pres">
      <dgm:prSet presAssocID="{6B97DAB4-C17C-438E-90ED-2943EBA219B4}" presName="tx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E12BB2-B4D9-44A5-BDDA-AB112E7D184D}" type="presOf" srcId="{7B8F7CB0-DCFA-4855-9A9C-22460BFA6EAC}" destId="{EE381594-FD9F-4A35-B20C-D156E06FC1DC}" srcOrd="0" destOrd="0" presId="urn:microsoft.com/office/officeart/2005/8/layout/hProcess10"/>
    <dgm:cxn modelId="{EEED46ED-A80B-4253-ACDF-96EFE18ABE49}" srcId="{5ED742D9-2FCC-4D8C-BB91-0C10850E325B}" destId="{7376A6FA-0190-4644-B72D-9653D5D0CD90}" srcOrd="0" destOrd="0" parTransId="{B7090CBA-FFB9-4EF1-8B83-E2FC62439138}" sibTransId="{7B8F7CB0-DCFA-4855-9A9C-22460BFA6EAC}"/>
    <dgm:cxn modelId="{D1973693-5292-4F11-BD21-7FD5A3DE4F3E}" type="presOf" srcId="{6B97DAB4-C17C-438E-90ED-2943EBA219B4}" destId="{E0CAF39A-BA90-4B91-A291-F8710E57B565}" srcOrd="0" destOrd="0" presId="urn:microsoft.com/office/officeart/2005/8/layout/hProcess10"/>
    <dgm:cxn modelId="{69CDCD85-2603-4359-8777-390B805B8D12}" srcId="{5ED742D9-2FCC-4D8C-BB91-0C10850E325B}" destId="{1E8F0702-0BD1-46AA-B0B1-B4905FB08A29}" srcOrd="1" destOrd="0" parTransId="{BFC05986-E1CF-4D56-9B79-9C9562ED7E67}" sibTransId="{3061B820-C729-4AB3-95A1-45F60795E822}"/>
    <dgm:cxn modelId="{E8C5A545-016C-48A0-B20C-26F80634C2BC}" type="presOf" srcId="{1E8F0702-0BD1-46AA-B0B1-B4905FB08A29}" destId="{21FD284C-2370-4DBF-BF50-48056F1BA046}" srcOrd="0" destOrd="0" presId="urn:microsoft.com/office/officeart/2005/8/layout/hProcess10"/>
    <dgm:cxn modelId="{8F0AC024-5022-4048-BEB6-C27142C1B5E9}" type="presOf" srcId="{3061B820-C729-4AB3-95A1-45F60795E822}" destId="{3588D62D-C5DD-43E0-BB08-FA1054D006A8}" srcOrd="1" destOrd="0" presId="urn:microsoft.com/office/officeart/2005/8/layout/hProcess10"/>
    <dgm:cxn modelId="{BC7F2B96-3313-4C30-9A6E-85C7E619FF01}" type="presOf" srcId="{7B8F7CB0-DCFA-4855-9A9C-22460BFA6EAC}" destId="{A46EF2C4-D2E1-4477-AB11-3E7CDFA18013}" srcOrd="1" destOrd="0" presId="urn:microsoft.com/office/officeart/2005/8/layout/hProcess10"/>
    <dgm:cxn modelId="{81A11AC6-508A-4CEB-9E6D-A840097F7C0F}" srcId="{5ED742D9-2FCC-4D8C-BB91-0C10850E325B}" destId="{6B97DAB4-C17C-438E-90ED-2943EBA219B4}" srcOrd="2" destOrd="0" parTransId="{278F6EBB-78A5-4CF3-8F5E-40BE02D0339C}" sibTransId="{6A187EBC-80CA-4332-9130-DF5CB90CDDE1}"/>
    <dgm:cxn modelId="{04E0615F-F83D-4D41-9741-6954E9AC9CA6}" type="presOf" srcId="{7376A6FA-0190-4644-B72D-9653D5D0CD90}" destId="{99B69CC7-C0E3-4F4F-9609-AF8EFD0A5795}" srcOrd="0" destOrd="0" presId="urn:microsoft.com/office/officeart/2005/8/layout/hProcess10"/>
    <dgm:cxn modelId="{DECE5F0F-DA5D-4E97-A390-37C4C4A7B3D8}" type="presOf" srcId="{5ED742D9-2FCC-4D8C-BB91-0C10850E325B}" destId="{3F1F8F3A-9853-4DCB-8DA9-2E5AB7683DFA}" srcOrd="0" destOrd="0" presId="urn:microsoft.com/office/officeart/2005/8/layout/hProcess10"/>
    <dgm:cxn modelId="{D493ED1D-C114-4BD0-82E2-892FBB9B8BCF}" type="presOf" srcId="{3061B820-C729-4AB3-95A1-45F60795E822}" destId="{C4E8510E-6EBF-4C38-BBE0-F703CFFA1E50}" srcOrd="0" destOrd="0" presId="urn:microsoft.com/office/officeart/2005/8/layout/hProcess10"/>
    <dgm:cxn modelId="{30FB340C-4F38-4371-82DF-BEA8AEEEF09A}" type="presParOf" srcId="{3F1F8F3A-9853-4DCB-8DA9-2E5AB7683DFA}" destId="{4F91BD1D-8EB3-431B-9911-CEF4E2968E71}" srcOrd="0" destOrd="0" presId="urn:microsoft.com/office/officeart/2005/8/layout/hProcess10"/>
    <dgm:cxn modelId="{3C4C1342-8807-4766-B28F-0AE2EE714CBD}" type="presParOf" srcId="{4F91BD1D-8EB3-431B-9911-CEF4E2968E71}" destId="{59A753B0-A3F4-489D-9AA6-E5E7A250832F}" srcOrd="0" destOrd="0" presId="urn:microsoft.com/office/officeart/2005/8/layout/hProcess10"/>
    <dgm:cxn modelId="{35999DAF-7185-4F2F-A104-CDD20746303E}" type="presParOf" srcId="{4F91BD1D-8EB3-431B-9911-CEF4E2968E71}" destId="{99B69CC7-C0E3-4F4F-9609-AF8EFD0A5795}" srcOrd="1" destOrd="0" presId="urn:microsoft.com/office/officeart/2005/8/layout/hProcess10"/>
    <dgm:cxn modelId="{986A1E0B-98E1-4C06-8D0E-DEACD679C738}" type="presParOf" srcId="{3F1F8F3A-9853-4DCB-8DA9-2E5AB7683DFA}" destId="{EE381594-FD9F-4A35-B20C-D156E06FC1DC}" srcOrd="1" destOrd="0" presId="urn:microsoft.com/office/officeart/2005/8/layout/hProcess10"/>
    <dgm:cxn modelId="{A07A471B-51BC-4B5D-97BE-5BC092E721B4}" type="presParOf" srcId="{EE381594-FD9F-4A35-B20C-D156E06FC1DC}" destId="{A46EF2C4-D2E1-4477-AB11-3E7CDFA18013}" srcOrd="0" destOrd="0" presId="urn:microsoft.com/office/officeart/2005/8/layout/hProcess10"/>
    <dgm:cxn modelId="{C44B8E0F-8B1E-49C0-A391-590268A72E36}" type="presParOf" srcId="{3F1F8F3A-9853-4DCB-8DA9-2E5AB7683DFA}" destId="{35185F5A-5006-42DE-B2E9-68DFF4FCD207}" srcOrd="2" destOrd="0" presId="urn:microsoft.com/office/officeart/2005/8/layout/hProcess10"/>
    <dgm:cxn modelId="{B70194C2-74FA-4BEF-9E15-446F03DB6CB2}" type="presParOf" srcId="{35185F5A-5006-42DE-B2E9-68DFF4FCD207}" destId="{679D76E9-34ED-4747-9193-06E147A8F1A2}" srcOrd="0" destOrd="0" presId="urn:microsoft.com/office/officeart/2005/8/layout/hProcess10"/>
    <dgm:cxn modelId="{46AA4436-2F20-41ED-BF90-F5780B57FB85}" type="presParOf" srcId="{35185F5A-5006-42DE-B2E9-68DFF4FCD207}" destId="{21FD284C-2370-4DBF-BF50-48056F1BA046}" srcOrd="1" destOrd="0" presId="urn:microsoft.com/office/officeart/2005/8/layout/hProcess10"/>
    <dgm:cxn modelId="{D0227A6F-7300-4D41-BD3C-BCA50D4AF986}" type="presParOf" srcId="{3F1F8F3A-9853-4DCB-8DA9-2E5AB7683DFA}" destId="{C4E8510E-6EBF-4C38-BBE0-F703CFFA1E50}" srcOrd="3" destOrd="0" presId="urn:microsoft.com/office/officeart/2005/8/layout/hProcess10"/>
    <dgm:cxn modelId="{6C693F55-FBBC-4318-8925-1999A9CD424D}" type="presParOf" srcId="{C4E8510E-6EBF-4C38-BBE0-F703CFFA1E50}" destId="{3588D62D-C5DD-43E0-BB08-FA1054D006A8}" srcOrd="0" destOrd="0" presId="urn:microsoft.com/office/officeart/2005/8/layout/hProcess10"/>
    <dgm:cxn modelId="{F654BC3B-6463-4FD0-A41A-055E6DCE74EC}" type="presParOf" srcId="{3F1F8F3A-9853-4DCB-8DA9-2E5AB7683DFA}" destId="{9799C555-2E6F-46FB-8C0E-48F3B83F0359}" srcOrd="4" destOrd="0" presId="urn:microsoft.com/office/officeart/2005/8/layout/hProcess10"/>
    <dgm:cxn modelId="{626AA49B-2175-477F-BF4D-956314291F7C}" type="presParOf" srcId="{9799C555-2E6F-46FB-8C0E-48F3B83F0359}" destId="{D1D5DFED-140C-4E7D-98CA-0244A9102AC5}" srcOrd="0" destOrd="0" presId="urn:microsoft.com/office/officeart/2005/8/layout/hProcess10"/>
    <dgm:cxn modelId="{BA70549A-58DC-49A7-89A3-91098BF4D410}" type="presParOf" srcId="{9799C555-2E6F-46FB-8C0E-48F3B83F0359}" destId="{E0CAF39A-BA90-4B91-A291-F8710E57B565}" srcOrd="1" destOrd="0" presId="urn:microsoft.com/office/officeart/2005/8/layout/hProcess10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A753B0-A3F4-489D-9AA6-E5E7A250832F}">
      <dsp:nvSpPr>
        <dsp:cNvPr id="0" name=""/>
        <dsp:cNvSpPr/>
      </dsp:nvSpPr>
      <dsp:spPr>
        <a:xfrm>
          <a:off x="3416" y="744392"/>
          <a:ext cx="1609509" cy="1609509"/>
        </a:xfrm>
        <a:prstGeom prst="roundRect">
          <a:avLst>
            <a:gd name="adj" fmla="val 10000"/>
          </a:avLst>
        </a:prstGeom>
        <a:solidFill>
          <a:srgbClr val="009A8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B69CC7-C0E3-4F4F-9609-AF8EFD0A5795}">
      <dsp:nvSpPr>
        <dsp:cNvPr id="0" name=""/>
        <dsp:cNvSpPr/>
      </dsp:nvSpPr>
      <dsp:spPr>
        <a:xfrm>
          <a:off x="265429" y="1710098"/>
          <a:ext cx="1609509" cy="1609509"/>
        </a:xfrm>
        <a:prstGeom prst="roundRect">
          <a:avLst>
            <a:gd name="adj" fmla="val 10000"/>
          </a:avLst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>
              <a:solidFill>
                <a:schemeClr val="tx1"/>
              </a:solidFill>
            </a:rPr>
            <a:t>МАСШТАБНОЕ ОФЛАЙН ОБУЧЕНИЕ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>
              <a:solidFill>
                <a:schemeClr val="tx1"/>
              </a:solidFill>
            </a:rPr>
            <a:t> безработных, самозанятых граждан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312570" y="1757239"/>
        <a:ext cx="1515227" cy="1515227"/>
      </dsp:txXfrm>
    </dsp:sp>
    <dsp:sp modelId="{EE381594-FD9F-4A35-B20C-D156E06FC1DC}">
      <dsp:nvSpPr>
        <dsp:cNvPr id="0" name=""/>
        <dsp:cNvSpPr/>
      </dsp:nvSpPr>
      <dsp:spPr>
        <a:xfrm>
          <a:off x="1922952" y="1355775"/>
          <a:ext cx="310027" cy="386742"/>
        </a:xfrm>
        <a:prstGeom prst="rightArrow">
          <a:avLst>
            <a:gd name="adj1" fmla="val 60000"/>
            <a:gd name="adj2" fmla="val 50000"/>
          </a:avLst>
        </a:prstGeom>
        <a:solidFill>
          <a:srgbClr val="00645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/>
        </a:p>
      </dsp:txBody>
      <dsp:txXfrm>
        <a:off x="1922952" y="1433123"/>
        <a:ext cx="217019" cy="232046"/>
      </dsp:txXfrm>
    </dsp:sp>
    <dsp:sp modelId="{679D76E9-34ED-4747-9193-06E147A8F1A2}">
      <dsp:nvSpPr>
        <dsp:cNvPr id="0" name=""/>
        <dsp:cNvSpPr/>
      </dsp:nvSpPr>
      <dsp:spPr>
        <a:xfrm>
          <a:off x="2498717" y="744392"/>
          <a:ext cx="1609509" cy="1609509"/>
        </a:xfrm>
        <a:prstGeom prst="roundRect">
          <a:avLst>
            <a:gd name="adj" fmla="val 10000"/>
          </a:avLst>
        </a:prstGeom>
        <a:solidFill>
          <a:srgbClr val="009A8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FD284C-2370-4DBF-BF50-48056F1BA046}">
      <dsp:nvSpPr>
        <dsp:cNvPr id="0" name=""/>
        <dsp:cNvSpPr/>
      </dsp:nvSpPr>
      <dsp:spPr>
        <a:xfrm>
          <a:off x="2760730" y="1710098"/>
          <a:ext cx="1609509" cy="1609509"/>
        </a:xfrm>
        <a:prstGeom prst="roundRect">
          <a:avLst>
            <a:gd name="adj" fmla="val 10000"/>
          </a:avLst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>
              <a:solidFill>
                <a:schemeClr val="tx1"/>
              </a:solidFill>
            </a:rPr>
            <a:t>ОН-ЛАЙН ОБУЧЕНИЕ</a:t>
          </a:r>
          <a:br>
            <a:rPr lang="ru-RU" sz="1200" kern="1200" dirty="0">
              <a:solidFill>
                <a:schemeClr val="tx1"/>
              </a:solidFill>
            </a:rPr>
          </a:br>
          <a:r>
            <a:rPr lang="ru-RU" sz="1200" kern="1200" dirty="0">
              <a:solidFill>
                <a:schemeClr val="tx1"/>
              </a:solidFill>
            </a:rPr>
            <a:t>занятых и незанятых граждан</a:t>
          </a:r>
        </a:p>
      </dsp:txBody>
      <dsp:txXfrm>
        <a:off x="2807871" y="1757239"/>
        <a:ext cx="1515227" cy="1515227"/>
      </dsp:txXfrm>
    </dsp:sp>
    <dsp:sp modelId="{C4E8510E-6EBF-4C38-BBE0-F703CFFA1E50}">
      <dsp:nvSpPr>
        <dsp:cNvPr id="0" name=""/>
        <dsp:cNvSpPr/>
      </dsp:nvSpPr>
      <dsp:spPr>
        <a:xfrm>
          <a:off x="4418253" y="1355775"/>
          <a:ext cx="310027" cy="386742"/>
        </a:xfrm>
        <a:prstGeom prst="rightArrow">
          <a:avLst>
            <a:gd name="adj1" fmla="val 60000"/>
            <a:gd name="adj2" fmla="val 50000"/>
          </a:avLst>
        </a:prstGeom>
        <a:solidFill>
          <a:srgbClr val="00645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/>
        </a:p>
      </dsp:txBody>
      <dsp:txXfrm>
        <a:off x="4418253" y="1433123"/>
        <a:ext cx="217019" cy="232046"/>
      </dsp:txXfrm>
    </dsp:sp>
    <dsp:sp modelId="{D1D5DFED-140C-4E7D-98CA-0244A9102AC5}">
      <dsp:nvSpPr>
        <dsp:cNvPr id="0" name=""/>
        <dsp:cNvSpPr/>
      </dsp:nvSpPr>
      <dsp:spPr>
        <a:xfrm>
          <a:off x="4994018" y="744392"/>
          <a:ext cx="1609509" cy="1609509"/>
        </a:xfrm>
        <a:prstGeom prst="roundRect">
          <a:avLst>
            <a:gd name="adj" fmla="val 10000"/>
          </a:avLst>
        </a:prstGeom>
        <a:solidFill>
          <a:srgbClr val="009A8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CAF39A-BA90-4B91-A291-F8710E57B565}">
      <dsp:nvSpPr>
        <dsp:cNvPr id="0" name=""/>
        <dsp:cNvSpPr/>
      </dsp:nvSpPr>
      <dsp:spPr>
        <a:xfrm>
          <a:off x="5256031" y="1710098"/>
          <a:ext cx="1609509" cy="1609509"/>
        </a:xfrm>
        <a:prstGeom prst="roundRect">
          <a:avLst>
            <a:gd name="adj" fmla="val 10000"/>
          </a:avLst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>
              <a:solidFill>
                <a:schemeClr val="tx1"/>
              </a:solidFill>
            </a:rPr>
            <a:t>МОДЕЛЬ НЕПРЕРЫВНОГО ОБУЧЕНИЯ </a:t>
          </a:r>
        </a:p>
      </dsp:txBody>
      <dsp:txXfrm>
        <a:off x="5303172" y="1757239"/>
        <a:ext cx="1515227" cy="15152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0">
  <dgm:title val=""/>
  <dgm:desc val=""/>
  <dgm:catLst>
    <dgm:cat type="process" pri="3000"/>
    <dgm:cat type="picture" pri="30000"/>
    <dgm:cat type="pictureconvert" pri="3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op="equ" fact="0.3333"/>
      <dgm:constr type="primFontSz" for="des" forName="txNode" op="equ" val="65"/>
      <dgm:constr type="primFontSz" for="des" forName="connTx" op="equ" val="55"/>
      <dgm:constr type="primFontSz" for="des" forName="connTx" refType="primFontSz" refFor="des" refForName="txNode" op="lte" fact="0.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imagSh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 refType="w" fact="0.14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if>
          <dgm:else name="Name7">
            <dgm:constrLst>
              <dgm:constr type="l" for="ch" forName="imagSh" refType="w" fact="0.14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else>
        </dgm:choose>
        <dgm:ruleLst/>
        <dgm:layoutNode name="imagSh" styleLbl="b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x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imagSh"/>
            <dgm:param type="dstNode" val="imagSh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35"/>
            <dgm:constr type="endPad" refType="connDist" fact="0.3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6352" cy="496095"/>
          </a:xfrm>
          <a:prstGeom prst="rect">
            <a:avLst/>
          </a:prstGeom>
        </p:spPr>
        <p:txBody>
          <a:bodyPr vert="horz" lIns="91285" tIns="45641" rIns="91285" bIns="456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32" y="2"/>
            <a:ext cx="2946352" cy="496095"/>
          </a:xfrm>
          <a:prstGeom prst="rect">
            <a:avLst/>
          </a:prstGeom>
        </p:spPr>
        <p:txBody>
          <a:bodyPr vert="horz" lIns="91285" tIns="45641" rIns="91285" bIns="45641" rtlCol="0"/>
          <a:lstStyle>
            <a:lvl1pPr algn="r">
              <a:defRPr sz="1200"/>
            </a:lvl1pPr>
          </a:lstStyle>
          <a:p>
            <a:fld id="{A5725AFE-936B-48C0-9DEB-3494403A0FCD}" type="datetimeFigureOut">
              <a:rPr lang="ru-RU" smtClean="0"/>
              <a:pPr/>
              <a:t>12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28961"/>
            <a:ext cx="2946352" cy="496094"/>
          </a:xfrm>
          <a:prstGeom prst="rect">
            <a:avLst/>
          </a:prstGeom>
        </p:spPr>
        <p:txBody>
          <a:bodyPr vert="horz" lIns="91285" tIns="45641" rIns="91285" bIns="456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32" y="9428961"/>
            <a:ext cx="2946352" cy="496094"/>
          </a:xfrm>
          <a:prstGeom prst="rect">
            <a:avLst/>
          </a:prstGeom>
        </p:spPr>
        <p:txBody>
          <a:bodyPr vert="horz" lIns="91285" tIns="45641" rIns="91285" bIns="45641" rtlCol="0" anchor="b"/>
          <a:lstStyle>
            <a:lvl1pPr algn="r">
              <a:defRPr sz="1200"/>
            </a:lvl1pPr>
          </a:lstStyle>
          <a:p>
            <a:fld id="{91E3F6FF-C8D9-491B-99E9-14E9961D5D0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0537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" y="2"/>
            <a:ext cx="2945659" cy="496332"/>
          </a:xfrm>
          <a:prstGeom prst="rect">
            <a:avLst/>
          </a:prstGeom>
        </p:spPr>
        <p:txBody>
          <a:bodyPr vert="horz" lIns="91285" tIns="45641" rIns="91285" bIns="456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0" y="2"/>
            <a:ext cx="2945659" cy="496332"/>
          </a:xfrm>
          <a:prstGeom prst="rect">
            <a:avLst/>
          </a:prstGeom>
        </p:spPr>
        <p:txBody>
          <a:bodyPr vert="horz" lIns="91285" tIns="45641" rIns="91285" bIns="45641" rtlCol="0"/>
          <a:lstStyle>
            <a:lvl1pPr algn="r">
              <a:defRPr sz="1200"/>
            </a:lvl1pPr>
          </a:lstStyle>
          <a:p>
            <a:fld id="{11E86ADD-3672-4111-9237-9DA0583E08A9}" type="datetimeFigureOut">
              <a:rPr lang="ru-RU" smtClean="0"/>
              <a:pPr/>
              <a:t>12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5" tIns="45641" rIns="91285" bIns="456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9"/>
            <a:ext cx="5438140" cy="4466987"/>
          </a:xfrm>
          <a:prstGeom prst="rect">
            <a:avLst/>
          </a:prstGeom>
        </p:spPr>
        <p:txBody>
          <a:bodyPr vert="horz" lIns="91285" tIns="45641" rIns="91285" bIns="4564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6" y="9428587"/>
            <a:ext cx="2945659" cy="496332"/>
          </a:xfrm>
          <a:prstGeom prst="rect">
            <a:avLst/>
          </a:prstGeom>
        </p:spPr>
        <p:txBody>
          <a:bodyPr vert="horz" lIns="91285" tIns="45641" rIns="91285" bIns="456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0" y="9428587"/>
            <a:ext cx="2945659" cy="496332"/>
          </a:xfrm>
          <a:prstGeom prst="rect">
            <a:avLst/>
          </a:prstGeom>
        </p:spPr>
        <p:txBody>
          <a:bodyPr vert="horz" lIns="91285" tIns="45641" rIns="91285" bIns="45641" rtlCol="0" anchor="b"/>
          <a:lstStyle>
            <a:lvl1pPr algn="r">
              <a:defRPr sz="1200"/>
            </a:lvl1pPr>
          </a:lstStyle>
          <a:p>
            <a:fld id="{C0C882B6-AD84-41DA-8F4C-9F5B3F9AAE2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40772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40063" y="298450"/>
            <a:ext cx="12877801" cy="7245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891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9538" y="209550"/>
            <a:ext cx="9017000" cy="507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15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163" y="574675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286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163" y="574675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5959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6525" y="571500"/>
            <a:ext cx="65786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304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tags" Target="../tags/tag109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99.xml"/><Relationship Id="rId21" Type="http://schemas.openxmlformats.org/officeDocument/2006/relationships/oleObject" Target="../embeddings/oleObject17.bin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" Type="http://schemas.openxmlformats.org/officeDocument/2006/relationships/tags" Target="../tags/tag98.xml"/><Relationship Id="rId16" Type="http://schemas.openxmlformats.org/officeDocument/2006/relationships/tags" Target="../tags/tag112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14.v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10" Type="http://schemas.openxmlformats.org/officeDocument/2006/relationships/tags" Target="../tags/tag106.xml"/><Relationship Id="rId19" Type="http://schemas.openxmlformats.org/officeDocument/2006/relationships/oleObject" Target="../embeddings/oleObject16.bin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Relationship Id="rId22" Type="http://schemas.openxmlformats.org/officeDocument/2006/relationships/image" Target="../media/image5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9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0.png"/><Relationship Id="rId2" Type="http://schemas.openxmlformats.org/officeDocument/2006/relationships/tags" Target="../tags/tag27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9.jp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0.bin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6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3" Type="http://schemas.openxmlformats.org/officeDocument/2006/relationships/tags" Target="../tags/tag133.xml"/><Relationship Id="rId21" Type="http://schemas.openxmlformats.org/officeDocument/2006/relationships/oleObject" Target="../embeddings/oleObject20.bin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slideMaster" Target="../slideMasters/slideMaster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image" Target="../media/image4.emf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oleObject" Target="../embeddings/oleObject21.bin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9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1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3" Type="http://schemas.openxmlformats.org/officeDocument/2006/relationships/tags" Target="../tags/tag151.xml"/><Relationship Id="rId21" Type="http://schemas.openxmlformats.org/officeDocument/2006/relationships/oleObject" Target="../embeddings/oleObject22.bin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" Type="http://schemas.openxmlformats.org/officeDocument/2006/relationships/tags" Target="../tags/tag150.xml"/><Relationship Id="rId16" Type="http://schemas.openxmlformats.org/officeDocument/2006/relationships/tags" Target="../tags/tag164.xml"/><Relationship Id="rId20" Type="http://schemas.openxmlformats.org/officeDocument/2006/relationships/slideMaster" Target="../slideMasters/slideMaster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5" Type="http://schemas.openxmlformats.org/officeDocument/2006/relationships/tags" Target="../tags/tag153.xml"/><Relationship Id="rId15" Type="http://schemas.openxmlformats.org/officeDocument/2006/relationships/tags" Target="../tags/tag163.xml"/><Relationship Id="rId10" Type="http://schemas.openxmlformats.org/officeDocument/2006/relationships/tags" Target="../tags/tag158.xml"/><Relationship Id="rId19" Type="http://schemas.openxmlformats.org/officeDocument/2006/relationships/tags" Target="../tags/tag167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image" Target="../media/image1.emf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0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6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tags" Target="../tags/tag179.xml"/><Relationship Id="rId18" Type="http://schemas.openxmlformats.org/officeDocument/2006/relationships/tags" Target="../tags/tag184.xml"/><Relationship Id="rId3" Type="http://schemas.openxmlformats.org/officeDocument/2006/relationships/tags" Target="../tags/tag169.xml"/><Relationship Id="rId21" Type="http://schemas.openxmlformats.org/officeDocument/2006/relationships/oleObject" Target="../embeddings/oleObject23.bin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17" Type="http://schemas.openxmlformats.org/officeDocument/2006/relationships/tags" Target="../tags/tag183.xml"/><Relationship Id="rId2" Type="http://schemas.openxmlformats.org/officeDocument/2006/relationships/tags" Target="../tags/tag168.xml"/><Relationship Id="rId16" Type="http://schemas.openxmlformats.org/officeDocument/2006/relationships/tags" Target="../tags/tag182.xml"/><Relationship Id="rId20" Type="http://schemas.openxmlformats.org/officeDocument/2006/relationships/slideMaster" Target="../slideMasters/slideMaster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24" Type="http://schemas.openxmlformats.org/officeDocument/2006/relationships/image" Target="../media/image5.emf"/><Relationship Id="rId5" Type="http://schemas.openxmlformats.org/officeDocument/2006/relationships/tags" Target="../tags/tag171.xml"/><Relationship Id="rId15" Type="http://schemas.openxmlformats.org/officeDocument/2006/relationships/tags" Target="../tags/tag181.xml"/><Relationship Id="rId23" Type="http://schemas.openxmlformats.org/officeDocument/2006/relationships/oleObject" Target="../embeddings/oleObject24.bin"/><Relationship Id="rId10" Type="http://schemas.openxmlformats.org/officeDocument/2006/relationships/tags" Target="../tags/tag176.xml"/><Relationship Id="rId19" Type="http://schemas.openxmlformats.org/officeDocument/2006/relationships/tags" Target="../tags/tag185.xml"/><Relationship Id="rId4" Type="http://schemas.openxmlformats.org/officeDocument/2006/relationships/tags" Target="../tags/tag170.xml"/><Relationship Id="rId9" Type="http://schemas.openxmlformats.org/officeDocument/2006/relationships/tags" Target="../tags/tag175.xml"/><Relationship Id="rId14" Type="http://schemas.openxmlformats.org/officeDocument/2006/relationships/tags" Target="../tags/tag180.xml"/><Relationship Id="rId22" Type="http://schemas.openxmlformats.org/officeDocument/2006/relationships/image" Target="../media/image1.emf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8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0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6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7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0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313.xml"/><Relationship Id="rId7" Type="http://schemas.openxmlformats.org/officeDocument/2006/relationships/image" Target="../media/image7.png"/><Relationship Id="rId2" Type="http://schemas.openxmlformats.org/officeDocument/2006/relationships/tags" Target="../tags/tag31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8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9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0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4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38.v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Relationship Id="rId9" Type="http://schemas.openxmlformats.org/officeDocument/2006/relationships/image" Target="../media/image8.emf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31.xml"/><Relationship Id="rId7" Type="http://schemas.openxmlformats.org/officeDocument/2006/relationships/oleObject" Target="../embeddings/oleObject44.bin"/><Relationship Id="rId2" Type="http://schemas.openxmlformats.org/officeDocument/2006/relationships/tags" Target="../tags/tag330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33.xml"/><Relationship Id="rId4" Type="http://schemas.openxmlformats.org/officeDocument/2006/relationships/tags" Target="../tags/tag332.xml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35.xml"/><Relationship Id="rId7" Type="http://schemas.openxmlformats.org/officeDocument/2006/relationships/oleObject" Target="../embeddings/oleObject45.bin"/><Relationship Id="rId2" Type="http://schemas.openxmlformats.org/officeDocument/2006/relationships/tags" Target="../tags/tag334.xml"/><Relationship Id="rId1" Type="http://schemas.openxmlformats.org/officeDocument/2006/relationships/vmlDrawing" Target="../drawings/vmlDrawing40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37.xml"/><Relationship Id="rId4" Type="http://schemas.openxmlformats.org/officeDocument/2006/relationships/tags" Target="../tags/tag336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7" Type="http://schemas.openxmlformats.org/officeDocument/2006/relationships/image" Target="../media/image9.png"/><Relationship Id="rId2" Type="http://schemas.openxmlformats.org/officeDocument/2006/relationships/tags" Target="../tags/tag33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.bin"/><Relationship Id="rId3" Type="http://schemas.openxmlformats.org/officeDocument/2006/relationships/tags" Target="../tags/tag341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44.xml"/><Relationship Id="rId5" Type="http://schemas.openxmlformats.org/officeDocument/2006/relationships/tags" Target="../tags/tag343.xml"/><Relationship Id="rId4" Type="http://schemas.openxmlformats.org/officeDocument/2006/relationships/tags" Target="../tags/tag342.xml"/><Relationship Id="rId9" Type="http://schemas.openxmlformats.org/officeDocument/2006/relationships/image" Target="../media/image8.emf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46.xml"/><Relationship Id="rId7" Type="http://schemas.openxmlformats.org/officeDocument/2006/relationships/oleObject" Target="../embeddings/oleObject48.bin"/><Relationship Id="rId2" Type="http://schemas.openxmlformats.org/officeDocument/2006/relationships/tags" Target="../tags/tag345.xml"/><Relationship Id="rId1" Type="http://schemas.openxmlformats.org/officeDocument/2006/relationships/vmlDrawing" Target="../drawings/vmlDrawing43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48.xml"/><Relationship Id="rId4" Type="http://schemas.openxmlformats.org/officeDocument/2006/relationships/tags" Target="../tags/tag347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50.xml"/><Relationship Id="rId7" Type="http://schemas.openxmlformats.org/officeDocument/2006/relationships/oleObject" Target="../embeddings/oleObject49.bin"/><Relationship Id="rId2" Type="http://schemas.openxmlformats.org/officeDocument/2006/relationships/tags" Target="../tags/tag349.xml"/><Relationship Id="rId1" Type="http://schemas.openxmlformats.org/officeDocument/2006/relationships/vmlDrawing" Target="../drawings/vmlDrawing44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52.xml"/><Relationship Id="rId4" Type="http://schemas.openxmlformats.org/officeDocument/2006/relationships/tags" Target="../tags/tag35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7" Type="http://schemas.openxmlformats.org/officeDocument/2006/relationships/image" Target="../media/image9.png"/><Relationship Id="rId2" Type="http://schemas.openxmlformats.org/officeDocument/2006/relationships/tags" Target="../tags/tag35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oleObject" Target="../embeddings/oleObject3.bin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4.emf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356.xml"/><Relationship Id="rId7" Type="http://schemas.openxmlformats.org/officeDocument/2006/relationships/image" Target="../media/image7.png"/><Relationship Id="rId2" Type="http://schemas.openxmlformats.org/officeDocument/2006/relationships/tags" Target="../tags/tag35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oleObject" Target="../embeddings/oleObject5.bin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0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5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3" Type="http://schemas.openxmlformats.org/officeDocument/2006/relationships/tags" Target="../tags/tag56.xml"/><Relationship Id="rId21" Type="http://schemas.openxmlformats.org/officeDocument/2006/relationships/oleObject" Target="../embeddings/oleObject6.bin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image" Target="../media/image5.emf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0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7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7" Type="http://schemas.openxmlformats.org/officeDocument/2006/relationships/image" Target="../media/image7.png"/><Relationship Id="rId2" Type="http://schemas.openxmlformats.org/officeDocument/2006/relationships/tags" Target="../tags/tag22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0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8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24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43.xml"/><Relationship Id="rId5" Type="http://schemas.openxmlformats.org/officeDocument/2006/relationships/tags" Target="../tags/tag242.xml"/><Relationship Id="rId4" Type="http://schemas.openxmlformats.org/officeDocument/2006/relationships/tags" Target="../tags/tag241.xml"/><Relationship Id="rId9" Type="http://schemas.openxmlformats.org/officeDocument/2006/relationships/image" Target="../media/image8.emf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45.xml"/><Relationship Id="rId7" Type="http://schemas.openxmlformats.org/officeDocument/2006/relationships/oleObject" Target="../embeddings/oleObject29.bin"/><Relationship Id="rId2" Type="http://schemas.openxmlformats.org/officeDocument/2006/relationships/tags" Target="../tags/tag244.xml"/><Relationship Id="rId1" Type="http://schemas.openxmlformats.org/officeDocument/2006/relationships/vmlDrawing" Target="../drawings/vmlDrawing24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47.xml"/><Relationship Id="rId4" Type="http://schemas.openxmlformats.org/officeDocument/2006/relationships/tags" Target="../tags/tag24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49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48.xml"/><Relationship Id="rId1" Type="http://schemas.openxmlformats.org/officeDocument/2006/relationships/vmlDrawing" Target="../drawings/vmlDrawing25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51.xml"/><Relationship Id="rId4" Type="http://schemas.openxmlformats.org/officeDocument/2006/relationships/tags" Target="../tags/tag250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7" Type="http://schemas.openxmlformats.org/officeDocument/2006/relationships/image" Target="../media/image9.png"/><Relationship Id="rId2" Type="http://schemas.openxmlformats.org/officeDocument/2006/relationships/tags" Target="../tags/tag2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255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58.xml"/><Relationship Id="rId5" Type="http://schemas.openxmlformats.org/officeDocument/2006/relationships/tags" Target="../tags/tag257.xml"/><Relationship Id="rId4" Type="http://schemas.openxmlformats.org/officeDocument/2006/relationships/tags" Target="../tags/tag256.xml"/><Relationship Id="rId9" Type="http://schemas.openxmlformats.org/officeDocument/2006/relationships/image" Target="../media/image8.emf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60.xml"/><Relationship Id="rId7" Type="http://schemas.openxmlformats.org/officeDocument/2006/relationships/oleObject" Target="../embeddings/oleObject33.bin"/><Relationship Id="rId2" Type="http://schemas.openxmlformats.org/officeDocument/2006/relationships/tags" Target="../tags/tag259.xml"/><Relationship Id="rId1" Type="http://schemas.openxmlformats.org/officeDocument/2006/relationships/vmlDrawing" Target="../drawings/vmlDrawing28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62.xml"/><Relationship Id="rId4" Type="http://schemas.openxmlformats.org/officeDocument/2006/relationships/tags" Target="../tags/tag261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64.xml"/><Relationship Id="rId7" Type="http://schemas.openxmlformats.org/officeDocument/2006/relationships/oleObject" Target="../embeddings/oleObject34.bin"/><Relationship Id="rId2" Type="http://schemas.openxmlformats.org/officeDocument/2006/relationships/tags" Target="../tags/tag263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66.xml"/><Relationship Id="rId4" Type="http://schemas.openxmlformats.org/officeDocument/2006/relationships/tags" Target="../tags/tag26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7" Type="http://schemas.openxmlformats.org/officeDocument/2006/relationships/image" Target="../media/image9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7" Type="http://schemas.openxmlformats.org/officeDocument/2006/relationships/image" Target="../media/image7.png"/><Relationship Id="rId2" Type="http://schemas.openxmlformats.org/officeDocument/2006/relationships/tags" Target="../tags/tag26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3" t="105" r="9406" b="4610"/>
          <a:stretch>
            <a:fillRect/>
          </a:stretch>
        </p:blipFill>
        <p:spPr bwMode="auto">
          <a:xfrm>
            <a:off x="1" y="340523"/>
            <a:ext cx="9137650" cy="4802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Rectangle"/>
          <p:cNvSpPr txBox="1">
            <a:spLocks/>
          </p:cNvSpPr>
          <p:nvPr userDrawn="1"/>
        </p:nvSpPr>
        <p:spPr>
          <a:xfrm>
            <a:off x="2128839" y="-5953"/>
            <a:ext cx="7015162" cy="2736057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lIns="220360" tIns="1469065" rIns="220360" bIns="110179"/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0ADEF"/>
                </a:solidFill>
              </a:rPr>
              <a:t>
 </a:t>
            </a:r>
            <a:br>
              <a:rPr lang="en-US" dirty="0">
                <a:solidFill>
                  <a:srgbClr val="00ADEF"/>
                </a:solidFill>
              </a:rPr>
            </a:br>
            <a:endParaRPr lang="en-US" dirty="0">
              <a:solidFill>
                <a:srgbClr val="00ADEF"/>
              </a:solidFill>
            </a:endParaRPr>
          </a:p>
        </p:txBody>
      </p:sp>
      <p:sp>
        <p:nvSpPr>
          <p:cNvPr id="7" name="Document type" hidden="1"/>
          <p:cNvSpPr txBox="1">
            <a:spLocks noChangeArrowheads="1"/>
          </p:cNvSpPr>
          <p:nvPr userDrawn="1"/>
        </p:nvSpPr>
        <p:spPr bwMode="gray">
          <a:xfrm>
            <a:off x="2314576" y="2419415"/>
            <a:ext cx="63579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Arial"/>
                <a:cs typeface="Arial" charset="0"/>
              </a:rPr>
              <a:t>Document type | Date</a:t>
            </a:r>
          </a:p>
        </p:txBody>
      </p:sp>
      <p:sp>
        <p:nvSpPr>
          <p:cNvPr id="8" name="Disclaimer-English (United States)" hidden="1"/>
          <p:cNvSpPr>
            <a:spLocks noChangeArrowheads="1"/>
          </p:cNvSpPr>
          <p:nvPr userDrawn="1"/>
        </p:nvSpPr>
        <p:spPr bwMode="black">
          <a:xfrm>
            <a:off x="2314580" y="4811322"/>
            <a:ext cx="3616325" cy="282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82064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CONFIDENTIAL AND PROPRIETARY</a:t>
            </a:r>
          </a:p>
          <a:p>
            <a:pPr defTabSz="82064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Any use of this material without specific permission of McKinsey &amp; Company is strictly prohibited</a:t>
            </a:r>
          </a:p>
        </p:txBody>
      </p:sp>
      <p:sp>
        <p:nvSpPr>
          <p:cNvPr id="9" name="Working Draft Text" hidden="1"/>
          <p:cNvSpPr txBox="1">
            <a:spLocks noChangeArrowheads="1"/>
          </p:cNvSpPr>
          <p:nvPr userDrawn="1"/>
        </p:nvSpPr>
        <p:spPr bwMode="auto">
          <a:xfrm>
            <a:off x="6026150" y="4762502"/>
            <a:ext cx="1070044" cy="217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b="1">
                <a:solidFill>
                  <a:srgbClr val="FFFFFF"/>
                </a:solidFill>
                <a:latin typeface="Arial" charset="0"/>
                <a:cs typeface="Arial" charset="0"/>
              </a:rPr>
              <a:t>WORKING DRAFT</a:t>
            </a:r>
            <a:endParaRPr lang="ru-RU" sz="800" b="1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 userDrawn="1"/>
        </p:nvSpPr>
        <p:spPr bwMode="auto">
          <a:xfrm>
            <a:off x="6026151" y="4858941"/>
            <a:ext cx="2815714" cy="217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8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 userDrawn="1"/>
        </p:nvSpPr>
        <p:spPr bwMode="auto">
          <a:xfrm>
            <a:off x="6026150" y="4956573"/>
            <a:ext cx="2591294" cy="217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8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doc id"/>
          <p:cNvSpPr txBox="1">
            <a:spLocks noChangeArrowheads="1"/>
          </p:cNvSpPr>
          <p:nvPr userDrawn="1"/>
        </p:nvSpPr>
        <p:spPr bwMode="auto">
          <a:xfrm>
            <a:off x="8885179" y="48820"/>
            <a:ext cx="6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314477" y="1097672"/>
            <a:ext cx="6358614" cy="507831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314477" y="2157501"/>
            <a:ext cx="6358614" cy="215444"/>
          </a:xfrm>
          <a:prstGeom prst="rect">
            <a:avLst/>
          </a:prstGeom>
        </p:spPr>
        <p:txBody>
          <a:bodyPr/>
          <a:lstStyle>
            <a:lvl1pPr>
              <a:defRPr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545044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0" y="1240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40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75229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xmlns="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6" y="342899"/>
            <a:ext cx="4507059" cy="2853987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72" tIns="34286" rIns="68572" bIns="3428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21" y="1258130"/>
            <a:ext cx="3957735" cy="645300"/>
          </a:xfrm>
        </p:spPr>
        <p:txBody>
          <a:bodyPr/>
          <a:lstStyle>
            <a:lvl1pPr>
              <a:defRPr sz="22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21" y="2013847"/>
            <a:ext cx="3957735" cy="484307"/>
          </a:xfrm>
        </p:spPr>
        <p:txBody>
          <a:bodyPr/>
          <a:lstStyle>
            <a:lvl1pPr marL="0" marR="0" indent="0" algn="l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404040"/>
                </a:solidFill>
              </a:defRPr>
            </a:lvl2pPr>
            <a:lvl3pPr marL="68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200" dirty="0"/>
              <a:t>Subtitle (EY Interstate 16 point)</a:t>
            </a:r>
          </a:p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426858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5246095A-D7CE-45C6-8BF9-B5543F78C034}"/>
              </a:ext>
            </a:extLst>
          </p:cNvPr>
          <p:cNvSpPr txBox="1"/>
          <p:nvPr userDrawn="1"/>
        </p:nvSpPr>
        <p:spPr>
          <a:xfrm>
            <a:off x="461985" y="4190688"/>
            <a:ext cx="1045073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82829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6" y="4501178"/>
            <a:ext cx="3089275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xmlns="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6" y="4649392"/>
            <a:ext cx="3089275" cy="135000"/>
          </a:xfrm>
        </p:spPr>
        <p:txBody>
          <a:bodyPr/>
          <a:lstStyle>
            <a:lvl1pPr marL="0" indent="0">
              <a:buNone/>
              <a:defRPr sz="9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xmlns="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4422768"/>
            <a:ext cx="576000" cy="432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xmlns="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90" y="4005263"/>
            <a:ext cx="987425" cy="867966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xmlns="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xmlns="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xmlns="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854017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xmlns="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2" y="342901"/>
            <a:ext cx="4654295" cy="2948175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xmlns="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90" y="4005263"/>
            <a:ext cx="987425" cy="867966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xmlns="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xmlns="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xmlns="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xmlns="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435889"/>
            <a:ext cx="3780000" cy="464063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xmlns="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2" y="2119210"/>
            <a:ext cx="3612689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FFFFFF"/>
                </a:solidFill>
              </a:defRPr>
            </a:lvl2pPr>
            <a:lvl3pPr marL="0" indent="0" algn="l">
              <a:buNone/>
              <a:defRPr sz="1200">
                <a:solidFill>
                  <a:srgbClr val="FFFFFF"/>
                </a:solidFill>
              </a:defRPr>
            </a:lvl3pPr>
            <a:lvl4pPr marL="1028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xmlns="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2" y="1391374"/>
            <a:ext cx="3612689" cy="645300"/>
          </a:xfrm>
          <a:prstGeom prst="rect">
            <a:avLst/>
          </a:prstGeom>
        </p:spPr>
        <p:txBody>
          <a:bodyPr/>
          <a:lstStyle>
            <a:lvl1pPr>
              <a:defRPr sz="22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959301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xmlns="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90" y="4005263"/>
            <a:ext cx="987425" cy="867966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xmlns="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xmlns="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xmlns="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xmlns="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582931"/>
            <a:ext cx="6753225" cy="2550319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xmlns="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443898"/>
            <a:ext cx="5943432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FFFFFF"/>
                </a:solidFill>
              </a:defRPr>
            </a:lvl2pPr>
            <a:lvl3pPr marL="0" indent="0" algn="l">
              <a:buNone/>
              <a:defRPr sz="1200">
                <a:solidFill>
                  <a:srgbClr val="FFFFFF"/>
                </a:solidFill>
              </a:defRPr>
            </a:lvl3pPr>
            <a:lvl4pPr marL="1028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xmlns="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716062"/>
            <a:ext cx="5943432" cy="645300"/>
          </a:xfrm>
          <a:prstGeom prst="rect">
            <a:avLst/>
          </a:prstGeom>
        </p:spPr>
        <p:txBody>
          <a:bodyPr/>
          <a:lstStyle>
            <a:lvl1pPr>
              <a:defRPr sz="22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xmlns="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435889"/>
            <a:ext cx="3780000" cy="46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38914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xmlns="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2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57BD8AAC-70C4-433E-BAA2-1A1AFBD71E3C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5676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xmlns="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2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9459D6B7-FAA1-49A2-8BFA-449AB9376750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1363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461707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5580410" cy="4428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853441"/>
            <a:ext cx="5471882" cy="655320"/>
          </a:xfrm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200466" indent="0">
              <a:buNone/>
              <a:defRPr sz="1000">
                <a:solidFill>
                  <a:schemeClr val="bg1"/>
                </a:solidFill>
              </a:defRPr>
            </a:lvl2pPr>
            <a:lvl3pPr marL="400934" indent="0">
              <a:buNone/>
              <a:defRPr sz="900">
                <a:solidFill>
                  <a:schemeClr val="bg1"/>
                </a:solidFill>
              </a:defRPr>
            </a:lvl3pPr>
            <a:lvl4pPr marL="601401" indent="0">
              <a:buNone/>
              <a:defRPr sz="800">
                <a:solidFill>
                  <a:schemeClr val="bg1"/>
                </a:solidFill>
              </a:defRPr>
            </a:lvl4pPr>
            <a:lvl5pPr marL="801867" indent="0"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1733551"/>
            <a:ext cx="2683690" cy="2883528"/>
          </a:xfrm>
        </p:spPr>
        <p:txBody>
          <a:bodyPr numCol="1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00466" indent="0">
              <a:buNone/>
              <a:defRPr sz="1000">
                <a:solidFill>
                  <a:schemeClr val="bg1"/>
                </a:solidFill>
              </a:defRPr>
            </a:lvl2pPr>
            <a:lvl3pPr marL="400934" indent="0">
              <a:buNone/>
              <a:defRPr sz="900">
                <a:solidFill>
                  <a:schemeClr val="bg1"/>
                </a:solidFill>
              </a:defRPr>
            </a:lvl3pPr>
            <a:lvl4pPr marL="601401" indent="0">
              <a:buNone/>
              <a:defRPr sz="800">
                <a:solidFill>
                  <a:schemeClr val="bg1"/>
                </a:solidFill>
              </a:defRPr>
            </a:lvl4pPr>
            <a:lvl5pPr marL="801867" indent="0"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1733553"/>
            <a:ext cx="2683690" cy="941069"/>
          </a:xfrm>
        </p:spPr>
        <p:txBody>
          <a:bodyPr numCol="1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00466" indent="0">
              <a:buNone/>
              <a:defRPr sz="1000">
                <a:solidFill>
                  <a:schemeClr val="bg1"/>
                </a:solidFill>
              </a:defRPr>
            </a:lvl2pPr>
            <a:lvl3pPr marL="400934" indent="0">
              <a:buNone/>
              <a:defRPr sz="900">
                <a:solidFill>
                  <a:schemeClr val="bg1"/>
                </a:solidFill>
              </a:defRPr>
            </a:lvl3pPr>
            <a:lvl4pPr marL="601401" indent="0">
              <a:buNone/>
              <a:defRPr sz="800">
                <a:solidFill>
                  <a:schemeClr val="bg1"/>
                </a:solidFill>
              </a:defRPr>
            </a:lvl4pPr>
            <a:lvl5pPr marL="801867" indent="0"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3177541"/>
            <a:ext cx="2683690" cy="1458120"/>
          </a:xfrm>
        </p:spPr>
        <p:txBody>
          <a:bodyPr numCol="1"/>
          <a:lstStyle>
            <a:lvl1pPr marL="0" indent="0">
              <a:buNone/>
              <a:defRPr sz="10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00466" indent="0">
              <a:buNone/>
              <a:defRPr sz="1000">
                <a:solidFill>
                  <a:schemeClr val="bg1"/>
                </a:solidFill>
              </a:defRPr>
            </a:lvl2pPr>
            <a:lvl3pPr marL="400934" indent="0">
              <a:buNone/>
              <a:defRPr sz="900">
                <a:solidFill>
                  <a:schemeClr val="bg1"/>
                </a:solidFill>
              </a:defRPr>
            </a:lvl3pPr>
            <a:lvl4pPr marL="601401" indent="0">
              <a:buNone/>
              <a:defRPr sz="800">
                <a:solidFill>
                  <a:schemeClr val="bg1"/>
                </a:solidFill>
              </a:defRPr>
            </a:lvl4pPr>
            <a:lvl5pPr marL="801867" indent="0"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xmlns="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2" y="680813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A98655AF-B45A-43A6-A6E4-A92B8CCFA186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38383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787414" cy="51434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20650"/>
            <a:ext cx="6665528" cy="4428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9" y="853441"/>
            <a:ext cx="2056091" cy="3763638"/>
          </a:xfrm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200466" indent="0">
              <a:buNone/>
              <a:defRPr sz="1000">
                <a:solidFill>
                  <a:schemeClr val="bg1"/>
                </a:solidFill>
              </a:defRPr>
            </a:lvl2pPr>
            <a:lvl3pPr marL="400934" indent="0">
              <a:buNone/>
              <a:defRPr sz="900">
                <a:solidFill>
                  <a:schemeClr val="bg1"/>
                </a:solidFill>
              </a:defRPr>
            </a:lvl3pPr>
            <a:lvl4pPr marL="601401" indent="0">
              <a:buNone/>
              <a:defRPr sz="800">
                <a:solidFill>
                  <a:schemeClr val="bg1"/>
                </a:solidFill>
              </a:defRPr>
            </a:lvl4pPr>
            <a:lvl5pPr marL="801867" indent="0"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8" y="853441"/>
            <a:ext cx="2101787" cy="3763638"/>
          </a:xfrm>
        </p:spPr>
        <p:txBody>
          <a:bodyPr numCol="1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00466" indent="0">
              <a:buNone/>
              <a:defRPr sz="1000">
                <a:solidFill>
                  <a:schemeClr val="bg1"/>
                </a:solidFill>
              </a:defRPr>
            </a:lvl2pPr>
            <a:lvl3pPr marL="400934" indent="0">
              <a:buNone/>
              <a:defRPr sz="900">
                <a:solidFill>
                  <a:schemeClr val="bg1"/>
                </a:solidFill>
              </a:defRPr>
            </a:lvl3pPr>
            <a:lvl4pPr marL="601401" indent="0">
              <a:buNone/>
              <a:defRPr sz="800">
                <a:solidFill>
                  <a:schemeClr val="bg1"/>
                </a:solidFill>
              </a:defRPr>
            </a:lvl4pPr>
            <a:lvl5pPr marL="801867" indent="0"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xmlns="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2" y="853443"/>
            <a:ext cx="2075369" cy="2097113"/>
          </a:xfrm>
        </p:spPr>
        <p:txBody>
          <a:bodyPr numCol="1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00466" indent="0">
              <a:buNone/>
              <a:defRPr sz="1000">
                <a:solidFill>
                  <a:schemeClr val="bg1"/>
                </a:solidFill>
              </a:defRPr>
            </a:lvl2pPr>
            <a:lvl3pPr marL="400934" indent="0">
              <a:buNone/>
              <a:defRPr sz="900">
                <a:solidFill>
                  <a:schemeClr val="bg1"/>
                </a:solidFill>
              </a:defRPr>
            </a:lvl3pPr>
            <a:lvl4pPr marL="601401" indent="0">
              <a:buNone/>
              <a:defRPr sz="800">
                <a:solidFill>
                  <a:schemeClr val="bg1"/>
                </a:solidFill>
              </a:defRPr>
            </a:lvl4pPr>
            <a:lvl5pPr marL="801867" indent="0"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xmlns="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680813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9084FAA7-3AFB-43A4-9332-55702EEFB6BB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98296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3" y="853440"/>
            <a:ext cx="6175841" cy="36261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xmlns="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2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745F6E5F-2233-44C4-A768-9BC337F9F9CD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>
                <a:solidFill>
                  <a:srgbClr val="2E2E38"/>
                </a:solidFill>
              </a:rPr>
              <a:t>Стр.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48173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4" y="2138642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0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00466" marR="0" lvl="0" indent="-200466" defTabSz="56657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CADD9D7F-9B4D-4774-AFA3-BCF9232B0532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1170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4" y="2138642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00466" marR="0" lvl="0" indent="-200466" defTabSz="56657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732ED48F-3F98-4183-8923-77129A69963B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7546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3787"/>
              </p:ext>
            </p:extLst>
          </p:nvPr>
        </p:nvGraphicFramePr>
        <p:xfrm>
          <a:off x="1650" y="1240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40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0927698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="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5143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1934057"/>
            <a:ext cx="3401698" cy="791781"/>
          </a:xfrm>
        </p:spPr>
        <p:txBody>
          <a:bodyPr/>
          <a:lstStyle>
            <a:lvl1pPr marL="0" indent="0">
              <a:buNone/>
              <a:defRPr sz="17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2880289"/>
            <a:ext cx="3401698" cy="791781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49C3679E-CE99-4385-8BD0-1A1175D70D1E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96142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xmlns="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1" y="853442"/>
            <a:ext cx="3716193" cy="320059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xmlns="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2859966"/>
            <a:ext cx="2315750" cy="135000"/>
          </a:xfrm>
        </p:spPr>
        <p:txBody>
          <a:bodyPr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xmlns="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3041948"/>
            <a:ext cx="2315750" cy="135000"/>
          </a:xfrm>
        </p:spPr>
        <p:txBody>
          <a:bodyPr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8" y="853442"/>
            <a:ext cx="4096935" cy="2803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xmlns="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8" y="1226257"/>
            <a:ext cx="4096935" cy="1208666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ontent EY Interstate Light, 12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xmlns="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2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xmlns="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2683565"/>
            <a:ext cx="777600" cy="58421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08E4C5DD-8E03-4FAA-8921-CB640E00BA12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2080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xmlns="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4745737"/>
            <a:ext cx="402336" cy="309650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xmlns="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xmlns="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xmlns="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xmlns="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E4C5DD-8E03-4FAA-8921-CB640E00BA12}" type="datetime3">
              <a:rPr lang="en-US" smtClean="0">
                <a:solidFill>
                  <a:srgbClr val="FFFFFF"/>
                </a:solidFill>
              </a:rPr>
              <a:pPr/>
              <a:t>12 September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Presentation tit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4887342"/>
            <a:ext cx="663066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>
                <a:solidFill>
                  <a:srgbClr val="FFFFFF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68792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4745736"/>
            <a:ext cx="402504" cy="30861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xmlns="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116696"/>
            <a:ext cx="2338388" cy="644129"/>
          </a:xfrm>
          <a:prstGeom prst="rect">
            <a:avLst/>
          </a:prstGeom>
        </p:spPr>
        <p:txBody>
          <a:bodyPr lIns="91430" tIns="45715" rIns="91430" bIns="45715"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8400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1895074"/>
            <a:ext cx="5292000" cy="1350000"/>
          </a:xfrm>
        </p:spPr>
        <p:txBody>
          <a:bodyPr lIns="89990" tIns="46794" rIns="89990" bIns="46794"/>
          <a:lstStyle>
            <a:lvl1pPr marL="0" indent="0">
              <a:buNone/>
              <a:defRPr lang="en-US" sz="2100" dirty="0" smtClean="0">
                <a:latin typeface="Georgia" panose="02040502050405020303" pitchFamily="18" charset="0"/>
              </a:defRPr>
            </a:lvl1pPr>
          </a:lstStyle>
          <a:p>
            <a:pPr marL="267431" lvl="0" indent="-267431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xmlns="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3474574"/>
            <a:ext cx="5292000" cy="237629"/>
          </a:xfrm>
        </p:spPr>
        <p:txBody>
          <a:bodyPr lIns="89990" tIns="46794" rIns="89990" bIns="46794"/>
          <a:lstStyle>
            <a:lvl1pPr marL="0" indent="0" algn="l" defTabSz="685722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2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431" indent="0">
              <a:buNone/>
              <a:defRPr lang="en-US" sz="1500" smtClean="0">
                <a:latin typeface="+mn-lt"/>
              </a:defRPr>
            </a:lvl2pPr>
            <a:lvl3pPr>
              <a:defRPr lang="en-US" sz="1400" smtClean="0">
                <a:latin typeface="+mn-lt"/>
              </a:defRPr>
            </a:lvl3pPr>
            <a:lvl4pPr>
              <a:defRPr lang="en-US" sz="1200" smtClean="0">
                <a:latin typeface="+mn-lt"/>
              </a:defRPr>
            </a:lvl4pPr>
            <a:lvl5pPr>
              <a:defRPr lang="en-IN" sz="12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xmlns="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3728582"/>
            <a:ext cx="5292000" cy="237629"/>
          </a:xfrm>
        </p:spPr>
        <p:txBody>
          <a:bodyPr lIns="89990" tIns="46794" rIns="89990" bIns="46794"/>
          <a:lstStyle>
            <a:lvl1pPr marL="0" indent="0" algn="l" defTabSz="685722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2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431" indent="0">
              <a:buNone/>
              <a:defRPr lang="en-US" sz="1500" smtClean="0">
                <a:latin typeface="+mn-lt"/>
              </a:defRPr>
            </a:lvl2pPr>
            <a:lvl3pPr>
              <a:defRPr lang="en-US" sz="1400" smtClean="0">
                <a:latin typeface="+mn-lt"/>
              </a:defRPr>
            </a:lvl3pPr>
            <a:lvl4pPr>
              <a:defRPr lang="en-US" sz="1200" smtClean="0">
                <a:latin typeface="+mn-lt"/>
              </a:defRPr>
            </a:lvl4pPr>
            <a:lvl5pPr>
              <a:defRPr lang="en-IN" sz="12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xmlns="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4745737"/>
            <a:ext cx="402336" cy="3096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xmlns="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xmlns="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xmlns="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861160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xmlns="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1545177"/>
            <a:ext cx="5292000" cy="226914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100" dirty="0" smtClean="0">
                <a:latin typeface="Georgia" panose="02040502050405020303" pitchFamily="18" charset="0"/>
              </a:defRPr>
            </a:lvl1pPr>
          </a:lstStyle>
          <a:p>
            <a:pPr marL="267431" lvl="0" indent="-267431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xmlns="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4137629"/>
            <a:ext cx="5292000" cy="237629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2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431" lvl="0" indent="-267431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xmlns="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4371659"/>
            <a:ext cx="5292000" cy="23762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2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431" lvl="0" indent="-267431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xmlns="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734842"/>
            <a:ext cx="2338388" cy="662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8400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xmlns="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4745737"/>
            <a:ext cx="402336" cy="309650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72191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3" y="853440"/>
            <a:ext cx="6175841" cy="36261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00466">
              <a:defRPr>
                <a:solidFill>
                  <a:schemeClr val="bg1"/>
                </a:solidFill>
              </a:defRPr>
            </a:lvl2pPr>
            <a:lvl3pPr marL="400934">
              <a:defRPr>
                <a:solidFill>
                  <a:schemeClr val="bg1"/>
                </a:solidFill>
              </a:defRPr>
            </a:lvl3pPr>
            <a:lvl4pPr marL="601401">
              <a:defRPr>
                <a:solidFill>
                  <a:schemeClr val="bg1"/>
                </a:solidFill>
              </a:defRPr>
            </a:lvl4pPr>
            <a:lvl5pPr marL="801867"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xmlns="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2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B8860E02-1003-4EAE-8667-0F1BC9077C64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9182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xmlns="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2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35C1A2B2-412B-49EA-99B0-067813210617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53520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853439"/>
            <a:ext cx="4038600" cy="3626100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853439"/>
            <a:ext cx="4038600" cy="3626100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xmlns="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2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231F249C-FD77-4F22-A6EF-43F8DC053B7D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20347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402081"/>
            <a:ext cx="4042800" cy="3192056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402081"/>
            <a:ext cx="4042800" cy="3192056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xmlns="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2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430" tIns="45715" rIns="91430" bIns="4571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FDBF3969-7A23-4B37-9754-54A2A593BBDE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71204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05D0B1AC-0B8C-40CC-9B36-B9B2DB76B79B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4168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90"/>
          <p:cNvGraphicFramePr>
            <a:graphicFrameLocks noChangeAspect="1"/>
          </p:cNvGraphicFramePr>
          <p:nvPr/>
        </p:nvGraphicFramePr>
        <p:xfrm>
          <a:off x="1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62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1974">
              <a:defRPr/>
            </a:pPr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" name="1. On-page tracker" hidden="1"/>
          <p:cNvSpPr>
            <a:spLocks noChangeArrowheads="1"/>
          </p:cNvSpPr>
          <p:nvPr/>
        </p:nvSpPr>
        <p:spPr bwMode="gray">
          <a:xfrm>
            <a:off x="121494" y="58315"/>
            <a:ext cx="490519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defTabSz="911974">
              <a:defRPr/>
            </a:pPr>
            <a:r>
              <a:rPr lang="en-US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3. Unit of measure" hidden="1"/>
          <p:cNvSpPr txBox="1">
            <a:spLocks noChangeArrowheads="1"/>
          </p:cNvSpPr>
          <p:nvPr/>
        </p:nvSpPr>
        <p:spPr bwMode="gray">
          <a:xfrm>
            <a:off x="121491" y="425189"/>
            <a:ext cx="8794113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Slide Elements" hidden="1"/>
          <p:cNvGrpSpPr>
            <a:grpSpLocks/>
          </p:cNvGrpSpPr>
          <p:nvPr/>
        </p:nvGrpSpPr>
        <p:grpSpPr bwMode="auto">
          <a:xfrm>
            <a:off x="121491" y="4796860"/>
            <a:ext cx="8794113" cy="277392"/>
            <a:chOff x="119063" y="6268889"/>
            <a:chExt cx="8618537" cy="362494"/>
          </a:xfrm>
        </p:grpSpPr>
        <p:sp>
          <p:nvSpPr>
            <p:cNvPr id="9" name="4. Footnote"/>
            <p:cNvSpPr txBox="1">
              <a:spLocks noChangeArrowheads="1"/>
            </p:cNvSpPr>
            <p:nvPr/>
          </p:nvSpPr>
          <p:spPr bwMode="gray">
            <a:xfrm>
              <a:off x="119063" y="6268889"/>
              <a:ext cx="8618537" cy="1608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5. Source"/>
            <p:cNvSpPr>
              <a:spLocks noChangeArrowheads="1"/>
            </p:cNvSpPr>
            <p:nvPr/>
          </p:nvSpPr>
          <p:spPr bwMode="gray">
            <a:xfrm>
              <a:off x="119063" y="6470502"/>
              <a:ext cx="7199312" cy="16088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ru-RU" sz="80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82155" y="778693"/>
            <a:ext cx="4350892" cy="572175"/>
            <a:chOff x="915" y="559"/>
            <a:chExt cx="2686" cy="471"/>
          </a:xfrm>
        </p:grpSpPr>
        <p:cxnSp>
          <p:nvCxnSpPr>
            <p:cNvPr id="12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gray">
            <a:xfrm>
              <a:off x="915" y="559"/>
              <a:ext cx="2686" cy="4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defTabSz="911974">
                <a:defRPr/>
              </a:pPr>
              <a:r>
                <a:rPr lang="en-US" altLang="ru-RU" b="1">
                  <a:solidFill>
                    <a:srgbClr val="000000"/>
                  </a:solidFill>
                </a:rPr>
                <a:t>Title</a:t>
              </a:r>
            </a:p>
            <a:p>
              <a:pPr defTabSz="911974">
                <a:defRPr/>
              </a:pPr>
              <a:r>
                <a:rPr lang="en-US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4" name="McKSticker" hidden="1"/>
          <p:cNvGrpSpPr>
            <a:grpSpLocks/>
          </p:cNvGrpSpPr>
          <p:nvPr/>
        </p:nvGrpSpPr>
        <p:grpSpPr bwMode="auto">
          <a:xfrm>
            <a:off x="8432893" y="218668"/>
            <a:ext cx="482712" cy="150811"/>
            <a:chOff x="8267440" y="285750"/>
            <a:chExt cx="473335" cy="197077"/>
          </a:xfrm>
        </p:grpSpPr>
        <p:sp>
          <p:nvSpPr>
            <p:cNvPr id="15" name="StickerRectangle"/>
            <p:cNvSpPr>
              <a:spLocks noChangeArrowheads="1"/>
            </p:cNvSpPr>
            <p:nvPr/>
          </p:nvSpPr>
          <p:spPr bwMode="gray">
            <a:xfrm>
              <a:off x="8276635" y="285750"/>
              <a:ext cx="464140" cy="1970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>
                <a:buClr>
                  <a:srgbClr val="002960"/>
                </a:buClr>
                <a:defRPr/>
              </a:pPr>
              <a:r>
                <a:rPr lang="en-US" altLang="ru-RU" sz="8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16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</p:spPr>
        </p:cxnSp>
        <p:cxnSp>
          <p:nvCxnSpPr>
            <p:cNvPr id="17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</p:spPr>
        </p:cxnSp>
      </p:grpSp>
      <p:sp>
        <p:nvSpPr>
          <p:cNvPr id="18" name="SlideBottomBar" hidden="1"/>
          <p:cNvSpPr/>
          <p:nvPr/>
        </p:nvSpPr>
        <p:spPr>
          <a:xfrm>
            <a:off x="8609457" y="4730465"/>
            <a:ext cx="46975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5" tIns="46643" rIns="93285" bIns="46643" anchor="ctr"/>
          <a:lstStyle/>
          <a:p>
            <a:pPr algn="ctr" defTabSz="911974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19" name="LegendBoxes" hidden="1"/>
          <p:cNvGrpSpPr>
            <a:grpSpLocks/>
          </p:cNvGrpSpPr>
          <p:nvPr/>
        </p:nvGrpSpPr>
        <p:grpSpPr bwMode="auto">
          <a:xfrm>
            <a:off x="8070032" y="213806"/>
            <a:ext cx="768930" cy="806649"/>
            <a:chOff x="7835905" y="279400"/>
            <a:chExt cx="753742" cy="1054667"/>
          </a:xfrm>
        </p:grpSpPr>
        <p:sp>
          <p:nvSpPr>
            <p:cNvPr id="20" name="RectangleLegend1"/>
            <p:cNvSpPr>
              <a:spLocks noChangeArrowheads="1"/>
            </p:cNvSpPr>
            <p:nvPr/>
          </p:nvSpPr>
          <p:spPr bwMode="gray">
            <a:xfrm>
              <a:off x="7835905" y="290519"/>
              <a:ext cx="165136" cy="16042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11974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Legend2"/>
            <p:cNvSpPr>
              <a:spLocks noChangeArrowheads="1"/>
            </p:cNvSpPr>
            <p:nvPr/>
          </p:nvSpPr>
          <p:spPr bwMode="gray">
            <a:xfrm>
              <a:off x="7835905" y="560534"/>
              <a:ext cx="165136" cy="16042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11974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Legend3"/>
            <p:cNvSpPr>
              <a:spLocks noChangeArrowheads="1"/>
            </p:cNvSpPr>
            <p:nvPr/>
          </p:nvSpPr>
          <p:spPr bwMode="gray">
            <a:xfrm>
              <a:off x="7835905" y="832136"/>
              <a:ext cx="165136" cy="16042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11974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Legend4"/>
            <p:cNvSpPr>
              <a:spLocks noChangeArrowheads="1"/>
            </p:cNvSpPr>
            <p:nvPr/>
          </p:nvSpPr>
          <p:spPr bwMode="gray">
            <a:xfrm>
              <a:off x="7835905" y="1103740"/>
              <a:ext cx="165136" cy="16042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11974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8089961" y="279400"/>
              <a:ext cx="499686" cy="24144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gray">
            <a:xfrm>
              <a:off x="8089961" y="549414"/>
              <a:ext cx="499686" cy="24144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3"/>
            <p:cNvSpPr>
              <a:spLocks noChangeArrowheads="1"/>
            </p:cNvSpPr>
            <p:nvPr/>
          </p:nvSpPr>
          <p:spPr bwMode="gray">
            <a:xfrm>
              <a:off x="8089961" y="821018"/>
              <a:ext cx="499686" cy="24144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gray">
            <a:xfrm>
              <a:off x="8089961" y="1092622"/>
              <a:ext cx="499686" cy="24144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55790" y="213808"/>
            <a:ext cx="1083178" cy="602559"/>
            <a:chOff x="7540629" y="279400"/>
            <a:chExt cx="1061554" cy="78742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defTabSz="911974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defTabSz="911974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gray">
            <a:xfrm>
              <a:off x="7540629" y="915989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defTabSz="911974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99579" cy="24132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gray">
            <a:xfrm>
              <a:off x="8102604" y="546099"/>
              <a:ext cx="499579" cy="24132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gray">
            <a:xfrm>
              <a:off x="8102604" y="825500"/>
              <a:ext cx="499579" cy="24132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8002006" y="191941"/>
            <a:ext cx="836963" cy="1033817"/>
            <a:chOff x="7769225" y="250825"/>
            <a:chExt cx="820418" cy="135098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795378"/>
              <a:ext cx="209550" cy="209551"/>
              <a:chOff x="4495" y="1195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911974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gray">
            <a:xfrm>
              <a:off x="8089965" y="263524"/>
              <a:ext cx="499678" cy="24132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gray">
            <a:xfrm>
              <a:off x="8089965" y="538164"/>
              <a:ext cx="499678" cy="24132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gray">
            <a:xfrm>
              <a:off x="8089965" y="812801"/>
              <a:ext cx="499678" cy="24132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gray">
            <a:xfrm>
              <a:off x="8089965" y="1084265"/>
              <a:ext cx="499678" cy="24132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gray">
            <a:xfrm>
              <a:off x="8089965" y="1360491"/>
              <a:ext cx="499678" cy="24132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844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416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988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56013" indent="15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altLang="ru-RU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6" name="Working Draft" hidden="1"/>
          <p:cNvSpPr txBox="1">
            <a:spLocks noChangeArrowheads="1"/>
          </p:cNvSpPr>
          <p:nvPr/>
        </p:nvSpPr>
        <p:spPr bwMode="auto">
          <a:xfrm rot="5400000">
            <a:off x="8107359" y="1874726"/>
            <a:ext cx="1943694" cy="27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85" tIns="46643" rIns="93285" bIns="46643">
            <a:spAutoFit/>
          </a:bodyPr>
          <a:lstStyle/>
          <a:p>
            <a:pPr defTabSz="911974">
              <a:defRPr/>
            </a:pPr>
            <a:r>
              <a:rPr lang="en-US" altLang="ru-RU" sz="600">
                <a:solidFill>
                  <a:srgbClr val="808080"/>
                </a:solidFill>
              </a:rPr>
              <a:t>Last Modified 17-сәу-17 13:53 Central Asia Standard Time</a:t>
            </a:r>
            <a:endParaRPr lang="ru-RU" altLang="ru-RU" sz="600">
              <a:solidFill>
                <a:srgbClr val="808080"/>
              </a:solidFill>
            </a:endParaRPr>
          </a:p>
        </p:txBody>
      </p:sp>
      <p:sp>
        <p:nvSpPr>
          <p:cNvPr id="57" name="Printed" hidden="1"/>
          <p:cNvSpPr txBox="1">
            <a:spLocks noChangeArrowheads="1"/>
          </p:cNvSpPr>
          <p:nvPr/>
        </p:nvSpPr>
        <p:spPr bwMode="auto">
          <a:xfrm rot="5400000">
            <a:off x="8593284" y="3286329"/>
            <a:ext cx="971847" cy="371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85" tIns="46643" rIns="93285" bIns="46643">
            <a:spAutoFit/>
          </a:bodyPr>
          <a:lstStyle/>
          <a:p>
            <a:pPr defTabSz="911974">
              <a:defRPr/>
            </a:pPr>
            <a:r>
              <a:rPr lang="en-US" altLang="ru-RU" sz="600">
                <a:solidFill>
                  <a:srgbClr val="808080"/>
                </a:solidFill>
              </a:rPr>
              <a:t>Printed 31-нау-17 11:48 Central Asia Standard Time</a:t>
            </a:r>
            <a:endParaRPr lang="ru-RU" altLang="ru-RU" sz="600">
              <a:solidFill>
                <a:srgbClr val="808080"/>
              </a:solidFill>
            </a:endParaRPr>
          </a:p>
        </p:txBody>
      </p:sp>
      <p:sp>
        <p:nvSpPr>
          <p:cNvPr id="58" name="Slide Number"/>
          <p:cNvSpPr txBox="1">
            <a:spLocks/>
          </p:cNvSpPr>
          <p:nvPr/>
        </p:nvSpPr>
        <p:spPr bwMode="auto">
          <a:xfrm>
            <a:off x="8811967" y="4938394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r" defTabSz="911974">
              <a:defRPr/>
            </a:pPr>
            <a:fld id="{F6D37CAB-BCAD-40EC-9CC2-E4543F32E1C2}" type="slidenum">
              <a:rPr lang="en-US" altLang="ru-RU" sz="1000">
                <a:solidFill>
                  <a:srgbClr val="808080"/>
                </a:solidFill>
              </a:rPr>
              <a:pPr algn="r" defTabSz="911974">
                <a:defRPr/>
              </a:pPr>
              <a:t>‹#›</a:t>
            </a:fld>
            <a:endParaRPr lang="en-US" altLang="ru-RU" sz="1000">
              <a:solidFill>
                <a:srgbClr val="808080"/>
              </a:solidFill>
            </a:endParaRPr>
          </a:p>
        </p:txBody>
      </p:sp>
      <p:graphicFrame>
        <p:nvGraphicFramePr>
          <p:cNvPr id="59" name="Object 133"/>
          <p:cNvGraphicFramePr>
            <a:graphicFrameLocks noChangeAspect="1"/>
          </p:cNvGraphicFramePr>
          <p:nvPr/>
        </p:nvGraphicFramePr>
        <p:xfrm>
          <a:off x="1626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63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6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="0" i="0">
                <a:solidFill>
                  <a:srgbClr val="1E6EA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482156" y="1493266"/>
            <a:ext cx="4389768" cy="369332"/>
          </a:xfrm>
        </p:spPr>
        <p:txBody>
          <a:bodyPr/>
          <a:lstStyle>
            <a:lvl1pPr>
              <a:defRPr sz="2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60" name="Holder 4"/>
          <p:cNvSpPr>
            <a:spLocks noGrp="1"/>
          </p:cNvSpPr>
          <p:nvPr>
            <p:ph type="ftr" sz="quarter" idx="10"/>
          </p:nvPr>
        </p:nvSpPr>
        <p:spPr>
          <a:xfrm>
            <a:off x="3108479" y="4783923"/>
            <a:ext cx="2927051" cy="256325"/>
          </a:xfrm>
          <a:prstGeom prst="rect">
            <a:avLst/>
          </a:prstGeom>
        </p:spPr>
        <p:txBody>
          <a:bodyPr lIns="0" tIns="0" rIns="0" bIns="0"/>
          <a:lstStyle>
            <a:lvl1pPr algn="ctr" eaLnBrk="1" hangingPunct="1">
              <a:defRPr>
                <a:solidFill>
                  <a:srgbClr val="000000">
                    <a:tint val="75000"/>
                  </a:srgbClr>
                </a:solidFill>
                <a:latin typeface="Arial" charset="0"/>
                <a:cs typeface="+mn-cs"/>
              </a:defRPr>
            </a:lvl1pPr>
          </a:lstStyle>
          <a:p>
            <a:pPr defTabSz="911974">
              <a:defRPr/>
            </a:pPr>
            <a:endParaRPr lang="ru-RU"/>
          </a:p>
        </p:txBody>
      </p:sp>
      <p:sp>
        <p:nvSpPr>
          <p:cNvPr id="61" name="Holder 5"/>
          <p:cNvSpPr>
            <a:spLocks noGrp="1"/>
          </p:cNvSpPr>
          <p:nvPr>
            <p:ph type="dt" sz="half" idx="11"/>
          </p:nvPr>
        </p:nvSpPr>
        <p:spPr>
          <a:xfrm>
            <a:off x="456798" y="4783923"/>
            <a:ext cx="2104173" cy="256325"/>
          </a:xfrm>
          <a:prstGeom prst="rect">
            <a:avLst/>
          </a:prstGeom>
        </p:spPr>
        <p:txBody>
          <a:bodyPr lIns="0" tIns="0" rIns="0" bIns="0"/>
          <a:lstStyle>
            <a:lvl1pPr algn="l" eaLnBrk="1" hangingPunct="1">
              <a:defRPr>
                <a:solidFill>
                  <a:srgbClr val="000000">
                    <a:tint val="75000"/>
                  </a:srgbClr>
                </a:solidFill>
                <a:latin typeface="Arial" charset="0"/>
                <a:cs typeface="+mn-cs"/>
              </a:defRPr>
            </a:lvl1pPr>
          </a:lstStyle>
          <a:p>
            <a:pPr defTabSz="911974">
              <a:defRPr/>
            </a:pPr>
            <a:fld id="{0644B227-EA95-42BC-A4B4-0705CB4735E0}" type="datetimeFigureOut">
              <a:rPr lang="en-US" smtClean="0"/>
              <a:pPr defTabSz="911974">
                <a:defRPr/>
              </a:pPr>
              <a:t>9/12/2019</a:t>
            </a:fld>
            <a:endParaRPr lang="en-US"/>
          </a:p>
        </p:txBody>
      </p:sp>
      <p:sp>
        <p:nvSpPr>
          <p:cNvPr id="62" name="Holder 6"/>
          <p:cNvSpPr>
            <a:spLocks noGrp="1"/>
          </p:cNvSpPr>
          <p:nvPr>
            <p:ph type="sldNum" sz="quarter" idx="12"/>
          </p:nvPr>
        </p:nvSpPr>
        <p:spPr>
          <a:xfrm>
            <a:off x="6003134" y="4885961"/>
            <a:ext cx="2815283" cy="11540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121"/>
              </a:lnSpc>
              <a:defRPr sz="900">
                <a:solidFill>
                  <a:srgbClr val="F8FCFE"/>
                </a:solidFill>
              </a:defRPr>
            </a:lvl1pPr>
          </a:lstStyle>
          <a:p>
            <a:pPr defTabSz="911974">
              <a:defRPr/>
            </a:pPr>
            <a:r>
              <a:rPr lang="ru-RU" altLang="ru-RU"/>
              <a:t>Центр компетенций проектного управления	</a:t>
            </a:r>
            <a:fld id="{AE2D9DBB-66EB-4306-8897-0AEAD960F594}" type="slidenum">
              <a:rPr lang="ru-RU" altLang="ru-RU" b="1" smtClean="0">
                <a:solidFill>
                  <a:srgbClr val="000000"/>
                </a:solidFill>
              </a:rPr>
              <a:pPr defTabSz="911974">
                <a:defRPr/>
              </a:pPr>
              <a:t>‹#›</a:t>
            </a:fld>
            <a:endParaRPr lang="ru-RU" alt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47876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87C6314C-751B-4148-8198-F20956044432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15221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D005AA61-9193-44AF-B668-28B8BC11A486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63981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FB3F5D69-F807-4D09-B66E-06AAE28FCE57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29570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1E449CCB-2F74-4AE7-9D2F-AB617BC2C6DE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35927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xmlns="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116756D8-28B7-4B79-8118-E321541624B0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47932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5"/>
            <a:ext cx="3506400" cy="3907547"/>
          </a:xfrm>
        </p:spPr>
        <p:txBody>
          <a:bodyPr/>
          <a:lstStyle>
            <a:lvl1pPr marL="0" indent="0" algn="l" defTabSz="559529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7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559529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5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99055" indent="-99055" algn="l" defTabSz="559529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5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559529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4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06195" indent="-106195" algn="l" defTabSz="559529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4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644363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988817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="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51435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7" y="1538168"/>
            <a:ext cx="3401698" cy="791781"/>
          </a:xfrm>
        </p:spPr>
        <p:txBody>
          <a:bodyPr/>
          <a:lstStyle>
            <a:lvl1pPr marL="0" indent="0">
              <a:buNone/>
              <a:defRPr sz="17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7" y="2484398"/>
            <a:ext cx="3401698" cy="791781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4E59B594-94BE-43F4-8A51-56A02D3520A9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51924332-F73B-4D42-A29E-DA0724CA7F63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93D76FF3-5668-471F-96BC-86222958B4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5C144E7-F1A6-43D5-9337-069D87B11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85914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6" y="1878212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7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00466" marR="0" lvl="0" indent="-200466" defTabSz="56657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/>
          <a:lstStyle/>
          <a:p>
            <a:fld id="{698D45B8-0674-473C-A4E9-F3FF22E7F741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73760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6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56440" y="5012871"/>
            <a:ext cx="426732" cy="130631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9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722"/>
            <a:fld id="{85F57F22-1F1D-41CC-9622-780638F1561E}" type="slidenum">
              <a:rPr lang="ru-RU" smtClean="0">
                <a:solidFill>
                  <a:srgbClr val="000000">
                    <a:lumMod val="75000"/>
                  </a:srgbClr>
                </a:solidFill>
              </a:rPr>
              <a:pPr defTabSz="685722"/>
              <a:t>‹#›</a:t>
            </a:fld>
            <a:endParaRPr lang="ru-RU" dirty="0">
              <a:solidFill>
                <a:srgbClr val="00000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7843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1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3" t="105" r="9406" b="4610"/>
          <a:stretch>
            <a:fillRect/>
          </a:stretch>
        </p:blipFill>
        <p:spPr bwMode="auto">
          <a:xfrm>
            <a:off x="1" y="340521"/>
            <a:ext cx="9137650" cy="4802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Rectangle"/>
          <p:cNvSpPr txBox="1">
            <a:spLocks/>
          </p:cNvSpPr>
          <p:nvPr userDrawn="1"/>
        </p:nvSpPr>
        <p:spPr>
          <a:xfrm>
            <a:off x="2128839" y="-5953"/>
            <a:ext cx="7015162" cy="2736057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lIns="220360" tIns="1469065" rIns="220360" bIns="110179"/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0ADEF"/>
                </a:solidFill>
              </a:rPr>
              <a:t>
 </a:t>
            </a:r>
            <a:br>
              <a:rPr lang="en-US" dirty="0">
                <a:solidFill>
                  <a:srgbClr val="00ADEF"/>
                </a:solidFill>
              </a:rPr>
            </a:br>
            <a:endParaRPr lang="en-US" dirty="0">
              <a:solidFill>
                <a:srgbClr val="00ADEF"/>
              </a:solidFill>
            </a:endParaRPr>
          </a:p>
        </p:txBody>
      </p:sp>
      <p:sp>
        <p:nvSpPr>
          <p:cNvPr id="7" name="Document type" hidden="1"/>
          <p:cNvSpPr txBox="1">
            <a:spLocks noChangeArrowheads="1"/>
          </p:cNvSpPr>
          <p:nvPr userDrawn="1"/>
        </p:nvSpPr>
        <p:spPr bwMode="gray">
          <a:xfrm>
            <a:off x="2314576" y="2419412"/>
            <a:ext cx="63579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Arial"/>
                <a:cs typeface="Arial" charset="0"/>
              </a:rPr>
              <a:t>Document type | Date</a:t>
            </a:r>
          </a:p>
        </p:txBody>
      </p:sp>
      <p:sp>
        <p:nvSpPr>
          <p:cNvPr id="8" name="Disclaimer-English (United States)" hidden="1"/>
          <p:cNvSpPr>
            <a:spLocks noChangeArrowheads="1"/>
          </p:cNvSpPr>
          <p:nvPr userDrawn="1"/>
        </p:nvSpPr>
        <p:spPr bwMode="black">
          <a:xfrm>
            <a:off x="2314578" y="4811319"/>
            <a:ext cx="3616325" cy="282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82064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CONFIDENTIAL AND PROPRIETARY</a:t>
            </a:r>
          </a:p>
          <a:p>
            <a:pPr defTabSz="82064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Any use of this material without specific permission of McKinsey &amp; Company is strictly prohibited</a:t>
            </a:r>
          </a:p>
        </p:txBody>
      </p:sp>
      <p:sp>
        <p:nvSpPr>
          <p:cNvPr id="9" name="Working Draft Text" hidden="1"/>
          <p:cNvSpPr txBox="1">
            <a:spLocks noChangeArrowheads="1"/>
          </p:cNvSpPr>
          <p:nvPr userDrawn="1"/>
        </p:nvSpPr>
        <p:spPr bwMode="auto">
          <a:xfrm>
            <a:off x="6026150" y="4762502"/>
            <a:ext cx="1070044" cy="217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b="1">
                <a:solidFill>
                  <a:srgbClr val="FFFFFF"/>
                </a:solidFill>
                <a:latin typeface="Arial" charset="0"/>
                <a:cs typeface="Arial" charset="0"/>
              </a:rPr>
              <a:t>WORKING DRAFT</a:t>
            </a:r>
            <a:endParaRPr lang="ru-RU" sz="800" b="1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 userDrawn="1"/>
        </p:nvSpPr>
        <p:spPr bwMode="auto">
          <a:xfrm>
            <a:off x="6026151" y="4858941"/>
            <a:ext cx="2815714" cy="217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8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 userDrawn="1"/>
        </p:nvSpPr>
        <p:spPr bwMode="auto">
          <a:xfrm>
            <a:off x="6026150" y="4956573"/>
            <a:ext cx="2591294" cy="217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8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doc id"/>
          <p:cNvSpPr txBox="1">
            <a:spLocks noChangeArrowheads="1"/>
          </p:cNvSpPr>
          <p:nvPr userDrawn="1"/>
        </p:nvSpPr>
        <p:spPr bwMode="auto">
          <a:xfrm>
            <a:off x="8885176" y="48819"/>
            <a:ext cx="6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314477" y="1097669"/>
            <a:ext cx="6358614" cy="507831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314477" y="2157501"/>
            <a:ext cx="6358614" cy="215444"/>
          </a:xfrm>
          <a:prstGeom prst="rect">
            <a:avLst/>
          </a:prstGeom>
        </p:spPr>
        <p:txBody>
          <a:bodyPr/>
          <a:lstStyle>
            <a:lvl1pPr>
              <a:defRPr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170519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226410" y="137146"/>
            <a:ext cx="8055829" cy="360041"/>
          </a:xfrm>
          <a:prstGeom prst="rect">
            <a:avLst/>
          </a:prstGeom>
        </p:spPr>
        <p:txBody>
          <a:bodyPr lIns="91430" tIns="45715" rIns="91430" bIns="45715" anchor="ctr"/>
          <a:lstStyle>
            <a:lvl1pPr>
              <a:defRPr sz="1500" b="1">
                <a:solidFill>
                  <a:srgbClr val="007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226408" y="4985854"/>
            <a:ext cx="1412546" cy="215433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©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sco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Consulting Group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56440" y="5012871"/>
            <a:ext cx="426732" cy="130631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9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722"/>
            <a:fld id="{85F57F22-1F1D-41CC-9622-780638F1561E}" type="slidenum">
              <a:rPr lang="ru-RU" smtClean="0">
                <a:solidFill>
                  <a:srgbClr val="000000">
                    <a:lumMod val="75000"/>
                  </a:srgbClr>
                </a:solidFill>
              </a:rPr>
              <a:pPr defTabSz="685722"/>
              <a:t>‹#›</a:t>
            </a:fld>
            <a:endParaRPr lang="ru-RU" dirty="0">
              <a:solidFill>
                <a:srgbClr val="000000">
                  <a:lumMod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69259" y="1"/>
            <a:ext cx="54000" cy="496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68746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15555" y="137642"/>
            <a:ext cx="7688114" cy="360041"/>
          </a:xfrm>
          <a:prstGeom prst="rect">
            <a:avLst/>
          </a:prstGeom>
        </p:spPr>
        <p:txBody>
          <a:bodyPr lIns="91430" tIns="45715" rIns="91430" bIns="45715" anchor="ctr"/>
          <a:lstStyle>
            <a:lvl1pPr>
              <a:defRPr sz="1500" b="1">
                <a:solidFill>
                  <a:srgbClr val="007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6B35CDE4-EF37-44B8-96D0-2CB8F72900A2}"/>
              </a:ext>
            </a:extLst>
          </p:cNvPr>
          <p:cNvSpPr/>
          <p:nvPr userDrawn="1"/>
        </p:nvSpPr>
        <p:spPr>
          <a:xfrm>
            <a:off x="-1" y="5012871"/>
            <a:ext cx="9144001" cy="135000"/>
          </a:xfrm>
          <a:prstGeom prst="rect">
            <a:avLst/>
          </a:prstGeom>
          <a:solidFill>
            <a:srgbClr val="007F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980" tIns="24491" rIns="48980" bIns="244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56440" y="5012871"/>
            <a:ext cx="426732" cy="130631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722"/>
            <a:fld id="{85F57F22-1F1D-41CC-9622-780638F1561E}" type="slidenum">
              <a:rPr lang="ru-RU" smtClean="0">
                <a:solidFill>
                  <a:srgbClr val="FFFFFF"/>
                </a:solidFill>
              </a:rPr>
              <a:pPr defTabSz="685722"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226408" y="4985854"/>
            <a:ext cx="1412546" cy="215433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©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sco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Consulting Group</a:t>
            </a:r>
          </a:p>
        </p:txBody>
      </p:sp>
      <p:cxnSp>
        <p:nvCxnSpPr>
          <p:cNvPr id="8" name="Straight Connector 48"/>
          <p:cNvCxnSpPr/>
          <p:nvPr userDrawn="1"/>
        </p:nvCxnSpPr>
        <p:spPr>
          <a:xfrm>
            <a:off x="556022" y="0"/>
            <a:ext cx="0" cy="573286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13"/>
          <p:cNvSpPr>
            <a:spLocks noGrp="1"/>
          </p:cNvSpPr>
          <p:nvPr>
            <p:ph sz="quarter" idx="11"/>
          </p:nvPr>
        </p:nvSpPr>
        <p:spPr>
          <a:xfrm>
            <a:off x="615555" y="1"/>
            <a:ext cx="7688115" cy="136922"/>
          </a:xfrm>
          <a:prstGeom prst="rect">
            <a:avLst/>
          </a:prstGeom>
        </p:spPr>
        <p:txBody>
          <a:bodyPr lIns="91430" tIns="45715" rIns="91430" bIns="45715" anchor="ctr"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Текст 10"/>
          <p:cNvSpPr>
            <a:spLocks noGrp="1"/>
          </p:cNvSpPr>
          <p:nvPr>
            <p:ph type="body" sz="quarter" idx="10"/>
          </p:nvPr>
        </p:nvSpPr>
        <p:spPr>
          <a:xfrm>
            <a:off x="1" y="136922"/>
            <a:ext cx="496491" cy="360759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lang="ru-RU" sz="1500" b="1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algn="ctr">
              <a:defRPr lang="ru-RU" sz="1500" b="1" dirty="0" smtClean="0">
                <a:solidFill>
                  <a:schemeClr val="tx2"/>
                </a:solidFill>
              </a:defRPr>
            </a:lvl2pPr>
            <a:lvl3pPr algn="ctr">
              <a:defRPr lang="ru-RU" sz="1500" b="1" dirty="0" smtClean="0">
                <a:solidFill>
                  <a:schemeClr val="tx2"/>
                </a:solidFill>
              </a:defRPr>
            </a:lvl3pPr>
            <a:lvl4pPr algn="ctr">
              <a:defRPr lang="ru-RU" sz="1500" b="1" dirty="0" smtClean="0">
                <a:solidFill>
                  <a:schemeClr val="tx2"/>
                </a:solidFill>
              </a:defRPr>
            </a:lvl4pPr>
            <a:lvl5pPr algn="ctr">
              <a:defRPr lang="en-US" sz="1500" b="1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0641058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15555" y="137642"/>
            <a:ext cx="7666683" cy="360041"/>
          </a:xfrm>
          <a:prstGeom prst="rect">
            <a:avLst/>
          </a:prstGeom>
        </p:spPr>
        <p:txBody>
          <a:bodyPr lIns="91430" tIns="45715" rIns="91430" bIns="45715" anchor="ctr"/>
          <a:lstStyle>
            <a:lvl1pPr>
              <a:defRPr sz="1500" b="1">
                <a:solidFill>
                  <a:srgbClr val="007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6B35CDE4-EF37-44B8-96D0-2CB8F72900A2}"/>
              </a:ext>
            </a:extLst>
          </p:cNvPr>
          <p:cNvSpPr/>
          <p:nvPr userDrawn="1"/>
        </p:nvSpPr>
        <p:spPr>
          <a:xfrm>
            <a:off x="-1" y="5012871"/>
            <a:ext cx="9144001" cy="135000"/>
          </a:xfrm>
          <a:prstGeom prst="rect">
            <a:avLst/>
          </a:prstGeom>
          <a:solidFill>
            <a:srgbClr val="007F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980" tIns="24491" rIns="48980" bIns="244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56440" y="5012871"/>
            <a:ext cx="426732" cy="130631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722"/>
            <a:fld id="{85F57F22-1F1D-41CC-9622-780638F1561E}" type="slidenum">
              <a:rPr lang="ru-RU" smtClean="0">
                <a:solidFill>
                  <a:srgbClr val="FFFFFF"/>
                </a:solidFill>
              </a:rPr>
              <a:pPr defTabSz="685722"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226408" y="4985854"/>
            <a:ext cx="1412546" cy="215433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©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sco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Consulting Group</a:t>
            </a:r>
          </a:p>
        </p:txBody>
      </p:sp>
    </p:spTree>
    <p:extLst>
      <p:ext uri="{BB962C8B-B14F-4D97-AF65-F5344CB8AC3E}">
        <p14:creationId xmlns:p14="http://schemas.microsoft.com/office/powerpoint/2010/main" val="215761008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56440" y="5012871"/>
            <a:ext cx="426732" cy="130631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9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722"/>
            <a:fld id="{85F57F22-1F1D-41CC-9622-780638F1561E}" type="slidenum">
              <a:rPr lang="ru-RU" smtClean="0">
                <a:solidFill>
                  <a:srgbClr val="000000">
                    <a:lumMod val="75000"/>
                  </a:srgbClr>
                </a:solidFill>
              </a:rPr>
              <a:pPr defTabSz="685722"/>
              <a:t>‹#›</a:t>
            </a:fld>
            <a:endParaRPr lang="ru-RU" dirty="0">
              <a:solidFill>
                <a:srgbClr val="000000">
                  <a:lumMod val="75000"/>
                </a:srgb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053"/>
          <a:stretch/>
        </p:blipFill>
        <p:spPr>
          <a:xfrm>
            <a:off x="-1" y="0"/>
            <a:ext cx="9149380" cy="51435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00646C"/>
              </a:clrFrom>
              <a:clrTo>
                <a:srgbClr val="00646C">
                  <a:alpha val="0"/>
                </a:srgbClr>
              </a:clrTo>
            </a:clrChange>
          </a:blip>
          <a:srcRect t="23100" r="8892" b="29133"/>
          <a:stretch/>
        </p:blipFill>
        <p:spPr>
          <a:xfrm>
            <a:off x="6948145" y="18214"/>
            <a:ext cx="2174085" cy="805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28106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9BD66CF-FEE7-4C94-9E96-8FAC7A13C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0" tIns="45715" rIns="91430" bIns="45715"/>
          <a:lstStyle/>
          <a:p>
            <a:pPr defTabSz="685722"/>
            <a:fld id="{34081C3C-764B-4640-803E-96BFE0365958}" type="datetimeFigureOut">
              <a:rPr lang="ru-RU" sz="1400" smtClean="0">
                <a:solidFill>
                  <a:srgbClr val="000000"/>
                </a:solidFill>
              </a:rPr>
              <a:pPr defTabSz="685722"/>
              <a:t>12.09.2019</a:t>
            </a:fld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6CDC4E87-B1D0-49AA-B40F-9058E21CE3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0" tIns="45715" rIns="91430" bIns="45715"/>
          <a:lstStyle/>
          <a:p>
            <a:pPr defTabSz="685722"/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1E9BBCD9-1C13-4D3A-8BB8-6D73E0FDB0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0" tIns="45715" rIns="91430" bIns="45715"/>
          <a:lstStyle/>
          <a:p>
            <a:pPr defTabSz="685722"/>
            <a:fld id="{762FC4A4-67C0-4360-AACF-D901B80B26CB}" type="slidenum">
              <a:rPr lang="ru-RU" sz="1400" smtClean="0">
                <a:solidFill>
                  <a:srgbClr val="000000"/>
                </a:solidFill>
              </a:rPr>
              <a:pPr defTabSz="685722"/>
              <a:t>‹#›</a:t>
            </a:fld>
            <a:endParaRPr lang="ru-RU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47557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9143999" cy="5143500"/>
          </a:xfrm>
          <a:effectLst/>
        </p:spPr>
        <p:txBody>
          <a:bodyPr lIns="91430" tIns="45715" rIns="91430" bIns="45715">
            <a:normAutofit/>
          </a:bodyPr>
          <a:lstStyle>
            <a:lvl1pPr marL="0" indent="0">
              <a:buNone/>
              <a:defRPr sz="15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9341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3959388"/>
            <a:ext cx="9144000" cy="118411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5761055" y="873449"/>
            <a:ext cx="435430" cy="63304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3397" y="0"/>
            <a:ext cx="9164096" cy="394097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578104" y="1132114"/>
            <a:ext cx="5936370" cy="3484886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7925" tIns="38963" rIns="77925" bIns="38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lnSpc>
                <a:spcPct val="90000"/>
              </a:lnSpc>
              <a:spcAft>
                <a:spcPts val="852"/>
              </a:spcAft>
            </a:pPr>
            <a:endParaRPr lang="en-US" sz="1000" kern="0" dirty="0" err="1">
              <a:solidFill>
                <a:srgbClr val="FFFFFF"/>
              </a:solidFill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6963567" y="4177983"/>
            <a:ext cx="1363511" cy="672625"/>
          </a:xfrm>
          <a:prstGeom prst="rect">
            <a:avLst/>
          </a:prstGeom>
        </p:spPr>
        <p:txBody>
          <a:bodyPr anchor="b"/>
          <a:lstStyle>
            <a:lvl1pPr algn="ctr">
              <a:defRPr sz="14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7477" y="4655882"/>
            <a:ext cx="5014337" cy="245361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94813" indent="0" algn="ctr">
              <a:buNone/>
              <a:defRPr/>
            </a:lvl4pPr>
            <a:lvl5pPr marL="389626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817477" y="4121781"/>
            <a:ext cx="5014337" cy="32714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817477" y="2035629"/>
            <a:ext cx="5014337" cy="173287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34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8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0" y="1276468"/>
            <a:ext cx="677022" cy="56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910733" y="1276468"/>
            <a:ext cx="3005230" cy="5665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defTabSz="779252"/>
            <a:r>
              <a:rPr lang="ru-RU" sz="1200" b="1" dirty="0">
                <a:solidFill>
                  <a:srgbClr val="FFFFFF"/>
                </a:solidFill>
              </a:rPr>
              <a:t>Министерство труда и</a:t>
            </a:r>
          </a:p>
          <a:p>
            <a:pPr defTabSz="779252"/>
            <a:r>
              <a:rPr lang="ru-RU" sz="1200" b="1" dirty="0">
                <a:solidFill>
                  <a:srgbClr val="FFFFFF"/>
                </a:solidFill>
              </a:rPr>
              <a:t>Социальной защиты населения</a:t>
            </a:r>
          </a:p>
          <a:p>
            <a:pPr defTabSz="779252"/>
            <a:r>
              <a:rPr lang="ru-RU" sz="1200" b="1" dirty="0">
                <a:solidFill>
                  <a:srgbClr val="FFFFFF"/>
                </a:solidFill>
              </a:rPr>
              <a:t>Республики Казахстан</a:t>
            </a:r>
            <a:endParaRPr lang="en-US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39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467100"/>
            <a:ext cx="7982031" cy="332399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2114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nelGray"/>
          <p:cNvSpPr/>
          <p:nvPr userDrawn="1"/>
        </p:nvSpPr>
        <p:spPr bwMode="ltGray">
          <a:xfrm>
            <a:off x="1" y="0"/>
            <a:ext cx="355262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38963" rIns="77925" bIns="389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38" y="1158205"/>
            <a:ext cx="2519630" cy="1121846"/>
          </a:xfrm>
          <a:noFill/>
        </p:spPr>
        <p:txBody>
          <a:bodyPr wrap="square" lIns="0" tIns="0" rIns="272738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79627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7" y="2001031"/>
            <a:ext cx="7509600" cy="2400770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33776" tIns="233776" rIns="233776" bIns="116888" anchor="b">
            <a:noAutofit/>
          </a:bodyPr>
          <a:lstStyle>
            <a:lvl1pPr marL="0" algn="l" defTabSz="779252" rtl="0" eaLnBrk="1" fontAlgn="auto" latinLnBrk="0" hangingPunct="1">
              <a:lnSpc>
                <a:spcPts val="5113"/>
              </a:lnSpc>
              <a:spcBef>
                <a:spcPts val="0"/>
              </a:spcBef>
              <a:spcAft>
                <a:spcPts val="0"/>
              </a:spcAft>
              <a:defRPr lang="en-US" sz="37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7" y="1093352"/>
            <a:ext cx="846605" cy="6885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47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3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9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3" y="3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41" y="583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425056"/>
            <a:ext cx="87931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4797748"/>
            <a:ext cx="8793162" cy="276701"/>
            <a:chOff x="119063" y="6269509"/>
            <a:chExt cx="8618537" cy="361874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69509"/>
              <a:ext cx="8618537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70376"/>
              <a:ext cx="7200000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643" indent="-620643" defTabSz="912709" fontAlgn="base">
                <a:spcBef>
                  <a:spcPct val="0"/>
                </a:spcBef>
                <a:spcAft>
                  <a:spcPct val="0"/>
                </a:spcAft>
                <a:tabLst>
                  <a:tab pos="623817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7" y="840360"/>
            <a:ext cx="4349750" cy="511002"/>
            <a:chOff x="915" y="610"/>
            <a:chExt cx="2686" cy="4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798" y="219076"/>
            <a:ext cx="482600" cy="150811"/>
            <a:chOff x="8267440" y="285750"/>
            <a:chExt cx="473335" cy="196934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76527" y="285750"/>
              <a:ext cx="464248" cy="196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5" y="4730354"/>
            <a:ext cx="47625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5" tIns="46643" rIns="93285" bIns="4664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45" y="214315"/>
            <a:ext cx="768451" cy="806562"/>
            <a:chOff x="7835905" y="279400"/>
            <a:chExt cx="754502" cy="1054154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9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5" y="214314"/>
            <a:ext cx="1082553" cy="602255"/>
            <a:chOff x="7540629" y="279400"/>
            <a:chExt cx="1062098" cy="787598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95" y="191691"/>
            <a:ext cx="836496" cy="1034104"/>
            <a:chOff x="7769225" y="250825"/>
            <a:chExt cx="820967" cy="1350905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108157" y="1875108"/>
            <a:ext cx="194310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593138" y="3286266"/>
            <a:ext cx="971550" cy="37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12282" y="4938564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32359E-46D0-4934-99F8-40F93886E8F9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97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38597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2870100"/>
            <a:ext cx="7982031" cy="1530900"/>
          </a:xfrm>
        </p:spPr>
        <p:txBody>
          <a:bodyPr anchor="t">
            <a:noAutofit/>
          </a:bodyPr>
          <a:lstStyle>
            <a:lvl1pPr>
              <a:defRPr sz="37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581538" y="2760012"/>
            <a:ext cx="856246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0098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51435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0"/>
            <a:ext cx="3099547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581539" y="2010827"/>
            <a:ext cx="2283808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902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51435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5364672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467100"/>
            <a:ext cx="4567614" cy="332399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07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51435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982"/>
            <a:ext cx="6041722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010827"/>
            <a:ext cx="2282954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54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4" y="0"/>
            <a:ext cx="385477" cy="51435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5143500"/>
          </a:xfrm>
          <a:prstGeom prst="rect">
            <a:avLst/>
          </a:prstGeom>
          <a:noFill/>
        </p:spPr>
        <p:txBody>
          <a:bodyPr lIns="779252" tIns="779252" rIns="779252" bIns="779252"/>
          <a:lstStyle>
            <a:lvl1pPr algn="ctr">
              <a:defRPr sz="15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8" y="1339200"/>
            <a:ext cx="3202293" cy="2465100"/>
          </a:xfrm>
          <a:prstGeom prst="rect">
            <a:avLst/>
          </a:prstGeom>
          <a:noFill/>
        </p:spPr>
        <p:txBody>
          <a:bodyPr wrap="square" lIns="0" tIns="0" rIns="272738" bIns="0" anchor="ctr">
            <a:noAutofit/>
          </a:bodyPr>
          <a:lstStyle>
            <a:lvl1pPr>
              <a:defRPr sz="27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6457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4" y="0"/>
            <a:ext cx="384878" cy="51435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5830892" y="0"/>
            <a:ext cx="3313108" cy="51435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5143500"/>
          </a:xfrm>
          <a:prstGeom prst="rect">
            <a:avLst/>
          </a:prstGeom>
          <a:noFill/>
        </p:spPr>
        <p:txBody>
          <a:bodyPr lIns="155850" tIns="779252" rIns="155850" bIns="779252"/>
          <a:lstStyle>
            <a:lvl1pPr algn="ctr">
              <a:defRPr sz="15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581538" y="1339200"/>
            <a:ext cx="4567391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13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2695776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ArrowPanelGray"/>
          <p:cNvSpPr/>
          <p:nvPr userDrawn="1"/>
        </p:nvSpPr>
        <p:spPr bwMode="ltGray">
          <a:xfrm>
            <a:off x="0" y="0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581539" y="2010150"/>
            <a:ext cx="1831662" cy="112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02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0" y="0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39" y="2010149"/>
            <a:ext cx="1831662" cy="1123200"/>
          </a:xfrm>
        </p:spPr>
        <p:txBody>
          <a:bodyPr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2552121"/>
            <a:ext cx="2487384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784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2" y="2546747"/>
            <a:ext cx="1198685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51435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>
              <a:solidFill>
                <a:prstClr val="white"/>
              </a:solidFill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339200"/>
            <a:ext cx="296584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70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51435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>
              <a:solidFill>
                <a:prstClr val="white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339200"/>
            <a:ext cx="296584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2562225"/>
            <a:ext cx="2487384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67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3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61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3" y="3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41" y="583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425056"/>
            <a:ext cx="87931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4797748"/>
            <a:ext cx="8793162" cy="276701"/>
            <a:chOff x="119063" y="6269509"/>
            <a:chExt cx="8618537" cy="361874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69509"/>
              <a:ext cx="8618537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70376"/>
              <a:ext cx="7200000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643" indent="-620643" defTabSz="912709" fontAlgn="base">
                <a:spcBef>
                  <a:spcPct val="0"/>
                </a:spcBef>
                <a:spcAft>
                  <a:spcPct val="0"/>
                </a:spcAft>
                <a:tabLst>
                  <a:tab pos="623817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7" y="840360"/>
            <a:ext cx="4349750" cy="511002"/>
            <a:chOff x="915" y="610"/>
            <a:chExt cx="2686" cy="4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798" y="219076"/>
            <a:ext cx="482600" cy="150811"/>
            <a:chOff x="8267440" y="285750"/>
            <a:chExt cx="473335" cy="196934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76527" y="285750"/>
              <a:ext cx="464248" cy="196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5" y="4730354"/>
            <a:ext cx="47625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5" tIns="46643" rIns="93285" bIns="4664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45" y="214315"/>
            <a:ext cx="768451" cy="806562"/>
            <a:chOff x="7835905" y="279400"/>
            <a:chExt cx="754502" cy="1054154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9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5" y="214314"/>
            <a:ext cx="1082553" cy="602255"/>
            <a:chOff x="7540629" y="279400"/>
            <a:chExt cx="1062098" cy="787598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95" y="191691"/>
            <a:ext cx="836496" cy="1034104"/>
            <a:chOff x="7769225" y="250825"/>
            <a:chExt cx="820967" cy="1350905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108157" y="1875108"/>
            <a:ext cx="194310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593138" y="3286266"/>
            <a:ext cx="971550" cy="37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12282" y="4938564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A74A136B-8B7E-4B7C-B6CD-95AD1A96BC65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58" name="Slide Number"/>
          <p:cNvSpPr txBox="1">
            <a:spLocks/>
          </p:cNvSpPr>
          <p:nvPr userDrawn="1"/>
        </p:nvSpPr>
        <p:spPr>
          <a:xfrm>
            <a:off x="8739187" y="4965861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D8F8EA2-A81E-4CA8-B7F3-A5179281FEDF}" type="slidenum">
              <a:rPr lang="en-US" sz="800" smtClean="0">
                <a:solidFill>
                  <a:srgbClr val="FFFFF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9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622903" y="496586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709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McKinsey &amp; Company</a:t>
            </a:r>
          </a:p>
        </p:txBody>
      </p:sp>
      <p:sp>
        <p:nvSpPr>
          <p:cNvPr id="60" name="doc id"/>
          <p:cNvSpPr txBox="1">
            <a:spLocks noChangeArrowheads="1"/>
          </p:cNvSpPr>
          <p:nvPr userDrawn="1"/>
        </p:nvSpPr>
        <p:spPr bwMode="white">
          <a:xfrm>
            <a:off x="8269288" y="27386"/>
            <a:ext cx="647700" cy="89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C5C5C5"/>
              </a:solidFill>
              <a:latin typeface="Arial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06660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2695776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51435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467100"/>
            <a:ext cx="3412754" cy="33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40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51435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467100"/>
            <a:ext cx="3412754" cy="33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2555853"/>
            <a:ext cx="2487384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47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5" y="2695776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51435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467100"/>
            <a:ext cx="4567614" cy="332399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19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51435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467100"/>
            <a:ext cx="4567614" cy="332399"/>
          </a:xfr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2555853"/>
            <a:ext cx="2487384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19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2869750"/>
            <a:ext cx="7982031" cy="1204913"/>
          </a:xfrm>
        </p:spPr>
        <p:txBody>
          <a:bodyPr anchor="b">
            <a:noAutofit/>
          </a:bodyPr>
          <a:lstStyle>
            <a:lvl1pPr marL="0" algn="l" defTabSz="779252" rtl="0" eaLnBrk="1" fontAlgn="auto" latinLnBrk="0" hangingPunct="1">
              <a:lnSpc>
                <a:spcPts val="5113"/>
              </a:lnSpc>
              <a:spcBef>
                <a:spcPts val="0"/>
              </a:spcBef>
              <a:spcAft>
                <a:spcPts val="0"/>
              </a:spcAft>
              <a:defRPr lang="en-US" sz="37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33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2869750"/>
            <a:ext cx="7982031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779252" rtl="0" eaLnBrk="1" fontAlgn="auto" latinLnBrk="0" hangingPunct="1">
              <a:lnSpc>
                <a:spcPts val="5113"/>
              </a:lnSpc>
              <a:spcBef>
                <a:spcPts val="0"/>
              </a:spcBef>
              <a:spcAft>
                <a:spcPts val="0"/>
              </a:spcAft>
              <a:defRPr lang="en-US" sz="37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39" y="469106"/>
            <a:ext cx="847123" cy="6885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80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253165" y="274390"/>
            <a:ext cx="576943" cy="7204727"/>
          </a:xfrm>
          <a:prstGeom prst="rect">
            <a:avLst/>
          </a:prstGeom>
        </p:spPr>
      </p:pic>
      <p:grpSp>
        <p:nvGrpSpPr>
          <p:cNvPr id="57" name="Bubble"/>
          <p:cNvGrpSpPr/>
          <p:nvPr userDrawn="1"/>
        </p:nvGrpSpPr>
        <p:grpSpPr>
          <a:xfrm>
            <a:off x="1" y="0"/>
            <a:ext cx="9143998" cy="4394914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779252"/>
              <a:endParaRPr lang="en-US" sz="1500" dirty="0">
                <a:solidFill>
                  <a:srgbClr val="545454"/>
                </a:solidFill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779252"/>
              <a:endParaRPr lang="en-US" sz="1500" dirty="0">
                <a:solidFill>
                  <a:srgbClr val="545454"/>
                </a:solidFill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733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 bwMode="white">
          <a:xfrm>
            <a:off x="8264493" y="4780217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38" y="467100"/>
            <a:ext cx="7982031" cy="33239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794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213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8264493" y="4780217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488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3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4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3" y="3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41" y="583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425056"/>
            <a:ext cx="87931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4797748"/>
            <a:ext cx="8793162" cy="276701"/>
            <a:chOff x="119063" y="6269509"/>
            <a:chExt cx="8618537" cy="361874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69509"/>
              <a:ext cx="8618537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70376"/>
              <a:ext cx="7200000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643" indent="-620643" defTabSz="912709" fontAlgn="base">
                <a:spcBef>
                  <a:spcPct val="0"/>
                </a:spcBef>
                <a:spcAft>
                  <a:spcPct val="0"/>
                </a:spcAft>
                <a:tabLst>
                  <a:tab pos="623817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7" y="840360"/>
            <a:ext cx="4349750" cy="511002"/>
            <a:chOff x="915" y="610"/>
            <a:chExt cx="2686" cy="4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798" y="219076"/>
            <a:ext cx="482600" cy="150811"/>
            <a:chOff x="8267440" y="285750"/>
            <a:chExt cx="473335" cy="196934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76527" y="285750"/>
              <a:ext cx="464248" cy="196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5" y="4730354"/>
            <a:ext cx="47625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5" tIns="46643" rIns="93285" bIns="4664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45" y="214315"/>
            <a:ext cx="768451" cy="806562"/>
            <a:chOff x="7835905" y="279400"/>
            <a:chExt cx="754502" cy="1054154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9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5" y="214314"/>
            <a:ext cx="1082553" cy="602255"/>
            <a:chOff x="7540629" y="279400"/>
            <a:chExt cx="1062098" cy="787598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95" y="191691"/>
            <a:ext cx="836496" cy="1034104"/>
            <a:chOff x="7769225" y="250825"/>
            <a:chExt cx="820967" cy="1350905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108157" y="1875108"/>
            <a:ext cx="194310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593138" y="3286266"/>
            <a:ext cx="971550" cy="37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12282" y="4938564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40B82AD4-42BA-4DFA-9D85-69F252ACD370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5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34337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26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435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7304122" y="4780694"/>
            <a:ext cx="953724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7089828" y="2936680"/>
            <a:ext cx="3850481" cy="8310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/>
              <a:endParaRPr lang="en-US" sz="1000">
                <a:solidFill>
                  <a:srgbClr val="545454"/>
                </a:solidFill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/>
              <a:endParaRPr lang="en-US" sz="1000" dirty="0">
                <a:solidFill>
                  <a:srgbClr val="545454"/>
                </a:solidFill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/>
              <a:endParaRPr lang="en-US" sz="1000">
                <a:solidFill>
                  <a:srgbClr val="545454"/>
                </a:solidFill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/>
              <a:endParaRPr lang="en-US" sz="1000" dirty="0">
                <a:solidFill>
                  <a:srgbClr val="545454"/>
                </a:solidFill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779252">
                <a:lnSpc>
                  <a:spcPct val="90000"/>
                </a:lnSpc>
                <a:spcAft>
                  <a:spcPts val="852"/>
                </a:spcAft>
              </a:pPr>
              <a:endParaRPr lang="en-US" sz="1000" dirty="0">
                <a:solidFill>
                  <a:srgbClr val="545454"/>
                </a:solidFill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006701"/>
              <a:ext cx="7283401" cy="55399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779252"/>
              <a:r>
                <a:rPr lang="en-IN" sz="900" dirty="0">
                  <a:solidFill>
                    <a:srgbClr val="A6A6A6"/>
                  </a:solidFill>
                </a:rPr>
                <a:t>1. </a:t>
              </a:r>
              <a:r>
                <a:rPr lang="en-IN" sz="900" dirty="0" err="1">
                  <a:solidFill>
                    <a:srgbClr val="A6A6A6"/>
                  </a:solidFill>
                </a:rPr>
                <a:t>xxxx</a:t>
              </a:r>
              <a:r>
                <a:rPr lang="en-IN" sz="900" dirty="0">
                  <a:solidFill>
                    <a:srgbClr val="A6A6A6"/>
                  </a:solidFill>
                </a:rPr>
                <a:t>  2. </a:t>
              </a:r>
              <a:r>
                <a:rPr lang="en-IN" sz="900" dirty="0" err="1">
                  <a:solidFill>
                    <a:srgbClr val="A6A6A6"/>
                  </a:solidFill>
                </a:rPr>
                <a:t>xxxx</a:t>
              </a:r>
              <a:r>
                <a:rPr lang="en-IN" sz="900" dirty="0">
                  <a:solidFill>
                    <a:srgbClr val="A6A6A6"/>
                  </a:solidFill>
                </a:rPr>
                <a:t>  3. List footnotes in numerical order. Footnote numbers are not bracketed. Use 10pt font</a:t>
              </a:r>
            </a:p>
            <a:p>
              <a:pPr defTabSz="779252"/>
              <a:r>
                <a:rPr lang="en-IN" sz="900" dirty="0">
                  <a:solidFill>
                    <a:srgbClr val="A6A6A6"/>
                  </a:solidFill>
                </a:rPr>
                <a:t>Note: Do not put a period at the end of the note or the source</a:t>
              </a:r>
            </a:p>
            <a:p>
              <a:pPr defTabSz="779252"/>
              <a:r>
                <a:rPr lang="en-IN" sz="900" dirty="0">
                  <a:solidFill>
                    <a:srgbClr val="A6A6A6"/>
                  </a:solidFill>
                </a:rPr>
                <a:t>Source: Include a source for every chart that you use. Separate sources with a semicolon; BCG-related sources go at the end</a:t>
              </a:r>
              <a:endParaRPr lang="en-US" sz="900" dirty="0">
                <a:solidFill>
                  <a:srgbClr val="A6A6A6"/>
                </a:solidFill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30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3959388"/>
            <a:ext cx="9144000" cy="118411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5761055" y="873449"/>
            <a:ext cx="435430" cy="63304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3397" y="0"/>
            <a:ext cx="9164096" cy="394097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578104" y="1132114"/>
            <a:ext cx="5936370" cy="3484886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7925" tIns="38963" rIns="77925" bIns="38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lnSpc>
                <a:spcPct val="90000"/>
              </a:lnSpc>
              <a:spcAft>
                <a:spcPts val="852"/>
              </a:spcAft>
            </a:pPr>
            <a:endParaRPr lang="en-US" sz="1000" kern="0" dirty="0" err="1">
              <a:solidFill>
                <a:srgbClr val="FFFFFF"/>
              </a:solidFill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6963567" y="4177983"/>
            <a:ext cx="1363511" cy="672625"/>
          </a:xfrm>
          <a:prstGeom prst="rect">
            <a:avLst/>
          </a:prstGeom>
        </p:spPr>
        <p:txBody>
          <a:bodyPr anchor="b"/>
          <a:lstStyle>
            <a:lvl1pPr algn="ctr">
              <a:defRPr sz="14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7477" y="4655882"/>
            <a:ext cx="5014337" cy="245361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94813" indent="0" algn="ctr">
              <a:buNone/>
              <a:defRPr/>
            </a:lvl4pPr>
            <a:lvl5pPr marL="389626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817477" y="4121781"/>
            <a:ext cx="5014337" cy="32714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817477" y="2035629"/>
            <a:ext cx="5014337" cy="173287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34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0" y="1276468"/>
            <a:ext cx="677022" cy="56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910733" y="1276468"/>
            <a:ext cx="3005230" cy="5665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defTabSz="779252"/>
            <a:r>
              <a:rPr lang="ru-RU" sz="1200" b="1" dirty="0">
                <a:solidFill>
                  <a:srgbClr val="FFFFFF"/>
                </a:solidFill>
              </a:rPr>
              <a:t>Министерство труда и</a:t>
            </a:r>
          </a:p>
          <a:p>
            <a:pPr defTabSz="779252"/>
            <a:r>
              <a:rPr lang="ru-RU" sz="1200" b="1" dirty="0">
                <a:solidFill>
                  <a:srgbClr val="FFFFFF"/>
                </a:solidFill>
              </a:rPr>
              <a:t>Социальной защиты населения</a:t>
            </a:r>
          </a:p>
          <a:p>
            <a:pPr defTabSz="779252"/>
            <a:r>
              <a:rPr lang="ru-RU" sz="1200" b="1" dirty="0">
                <a:solidFill>
                  <a:srgbClr val="FFFFFF"/>
                </a:solidFill>
              </a:rPr>
              <a:t>Республики Казахстан</a:t>
            </a:r>
            <a:endParaRPr lang="en-US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01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38" y="467101"/>
            <a:ext cx="7982031" cy="2769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533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nelGray"/>
          <p:cNvSpPr/>
          <p:nvPr userDrawn="1"/>
        </p:nvSpPr>
        <p:spPr bwMode="white">
          <a:xfrm>
            <a:off x="1" y="-982"/>
            <a:ext cx="3552369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38963" rIns="77925" bIns="389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39" y="1619242"/>
            <a:ext cx="2730092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920287"/>
            <a:ext cx="2730092" cy="498598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7322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7" y="2001031"/>
            <a:ext cx="7510154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33776" tIns="233776" rIns="233776" bIns="116888" anchor="b">
            <a:noAutofit/>
          </a:bodyPr>
          <a:lstStyle>
            <a:lvl1pPr marL="0" algn="l" defTabSz="779252" rtl="0" eaLnBrk="1" fontAlgn="auto" latinLnBrk="0" hangingPunct="1">
              <a:lnSpc>
                <a:spcPts val="5113"/>
              </a:lnSpc>
              <a:spcBef>
                <a:spcPts val="0"/>
              </a:spcBef>
              <a:spcAft>
                <a:spcPts val="0"/>
              </a:spcAft>
              <a:defRPr lang="en-US" sz="37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817477" y="1093352"/>
            <a:ext cx="846209" cy="6885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826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2870100"/>
            <a:ext cx="7982031" cy="1530900"/>
          </a:xfrm>
        </p:spPr>
        <p:txBody>
          <a:bodyPr anchor="t">
            <a:noAutofit/>
          </a:bodyPr>
          <a:lstStyle>
            <a:lvl1pPr>
              <a:defRPr sz="37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581539" y="2762100"/>
            <a:ext cx="856356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34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51435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0"/>
            <a:ext cx="309954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010827"/>
            <a:ext cx="2282954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330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51435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5364672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467101"/>
            <a:ext cx="4563113" cy="2769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26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96001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3" name="PanelWhite"/>
          <p:cNvSpPr/>
          <p:nvPr userDrawn="1"/>
        </p:nvSpPr>
        <p:spPr bwMode="white">
          <a:xfrm>
            <a:off x="0" y="0"/>
            <a:ext cx="672616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4780694"/>
            <a:ext cx="95372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467101"/>
            <a:ext cx="5932266" cy="2769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3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51435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78" y="-982"/>
            <a:ext cx="6041722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010827"/>
            <a:ext cx="2282954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37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4" y="0"/>
            <a:ext cx="385477" cy="51435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5143500"/>
          </a:xfrm>
          <a:prstGeom prst="rect">
            <a:avLst/>
          </a:prstGeom>
          <a:noFill/>
        </p:spPr>
        <p:txBody>
          <a:bodyPr lIns="779252" tIns="779252" rIns="779252" bIns="779252"/>
          <a:lstStyle>
            <a:lvl1pPr algn="ctr">
              <a:defRPr sz="15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9" y="1339200"/>
            <a:ext cx="3203446" cy="2465100"/>
          </a:xfrm>
          <a:prstGeom prst="rect">
            <a:avLst/>
          </a:prstGeom>
          <a:noFill/>
        </p:spPr>
        <p:txBody>
          <a:bodyPr wrap="square" lIns="0" tIns="0" rIns="272738" bIns="0" anchor="ctr">
            <a:noAutofit/>
          </a:bodyPr>
          <a:lstStyle>
            <a:lvl1pPr>
              <a:defRPr sz="27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82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4" y="0"/>
            <a:ext cx="384878" cy="51435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5830892" y="0"/>
            <a:ext cx="3313108" cy="51435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5143500"/>
          </a:xfrm>
          <a:prstGeom prst="rect">
            <a:avLst/>
          </a:prstGeom>
          <a:noFill/>
        </p:spPr>
        <p:txBody>
          <a:bodyPr lIns="155850" tIns="779252" rIns="155850" bIns="779252"/>
          <a:lstStyle>
            <a:lvl1pPr algn="ctr">
              <a:defRPr sz="15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8" y="1339200"/>
            <a:ext cx="4565908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75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2695776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ArrowPanelWhite"/>
          <p:cNvSpPr/>
          <p:nvPr userDrawn="1"/>
        </p:nvSpPr>
        <p:spPr bwMode="ltGray">
          <a:xfrm>
            <a:off x="0" y="0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2078884"/>
            <a:ext cx="1831015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778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0" y="0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2078884"/>
            <a:ext cx="1831015" cy="985733"/>
          </a:xfrm>
        </p:spPr>
        <p:txBody>
          <a:bodyPr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2552121"/>
            <a:ext cx="2487384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65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2" y="2546747"/>
            <a:ext cx="1198685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51435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>
              <a:solidFill>
                <a:prstClr val="white"/>
              </a:solidFill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7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339200"/>
            <a:ext cx="2967508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984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51435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>
              <a:solidFill>
                <a:prstClr val="white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339200"/>
            <a:ext cx="2967508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2562225"/>
            <a:ext cx="2487384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291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2084056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2695776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51435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467101"/>
            <a:ext cx="3412754" cy="2769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5282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51435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467101"/>
            <a:ext cx="3412754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2555853"/>
            <a:ext cx="2487384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37831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5" y="2695776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51435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467101"/>
            <a:ext cx="4567614" cy="2769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288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51435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>
              <a:lnSpc>
                <a:spcPct val="90000"/>
              </a:lnSpc>
              <a:spcAft>
                <a:spcPts val="852"/>
              </a:spcAft>
            </a:pPr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467101"/>
            <a:ext cx="4567614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2555853"/>
            <a:ext cx="2487384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94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2869750"/>
            <a:ext cx="7982031" cy="1204913"/>
          </a:xfrm>
        </p:spPr>
        <p:txBody>
          <a:bodyPr anchor="b">
            <a:noAutofit/>
          </a:bodyPr>
          <a:lstStyle>
            <a:lvl1pPr marL="0" algn="l" defTabSz="779252" rtl="0" eaLnBrk="1" fontAlgn="auto" latinLnBrk="0" hangingPunct="1">
              <a:lnSpc>
                <a:spcPts val="5113"/>
              </a:lnSpc>
              <a:spcBef>
                <a:spcPts val="0"/>
              </a:spcBef>
              <a:spcAft>
                <a:spcPts val="0"/>
              </a:spcAft>
              <a:defRPr lang="en-US" sz="37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424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2869750"/>
            <a:ext cx="7982031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779252" rtl="0" eaLnBrk="1" fontAlgn="auto" latinLnBrk="0" hangingPunct="1">
              <a:lnSpc>
                <a:spcPts val="5113"/>
              </a:lnSpc>
              <a:spcBef>
                <a:spcPts val="0"/>
              </a:spcBef>
              <a:spcAft>
                <a:spcPts val="0"/>
              </a:spcAft>
              <a:defRPr lang="en-US" sz="37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39" y="467100"/>
            <a:ext cx="847123" cy="6885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27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253165" y="274390"/>
            <a:ext cx="576943" cy="7204727"/>
          </a:xfrm>
          <a:prstGeom prst="rect">
            <a:avLst/>
          </a:prstGeom>
        </p:spPr>
      </p:pic>
      <p:sp>
        <p:nvSpPr>
          <p:cNvPr id="6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0"/>
            <a:ext cx="9143998" cy="4394914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779252"/>
              <a:endParaRPr lang="en-US" sz="1500" dirty="0">
                <a:solidFill>
                  <a:srgbClr val="545454"/>
                </a:solidFill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779252"/>
              <a:endParaRPr lang="en-US" sz="1500" dirty="0">
                <a:solidFill>
                  <a:srgbClr val="54545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275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8264493" y="4780217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467101"/>
            <a:ext cx="7982031" cy="276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88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2695776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0" y="0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1968188"/>
            <a:ext cx="2053662" cy="12071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779252">
              <a:lnSpc>
                <a:spcPct val="106000"/>
              </a:lnSpc>
              <a:spcAft>
                <a:spcPts val="597"/>
              </a:spcAft>
            </a:pPr>
            <a:r>
              <a:rPr lang="en-US" sz="3700" dirty="0">
                <a:solidFill>
                  <a:srgbClr val="295E7E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9484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80694"/>
            <a:ext cx="95372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507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003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54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72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58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44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30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16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02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288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03897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434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/>
              <a:endParaRPr lang="en-US" sz="1000">
                <a:solidFill>
                  <a:srgbClr val="545454"/>
                </a:solidFill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/>
              <a:endParaRPr lang="en-US" sz="1000" dirty="0">
                <a:solidFill>
                  <a:srgbClr val="545454"/>
                </a:solidFill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/>
              <a:endParaRPr lang="en-US" sz="1000">
                <a:solidFill>
                  <a:srgbClr val="545454"/>
                </a:solidFill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/>
              <a:endParaRPr lang="en-US" sz="1000" dirty="0">
                <a:solidFill>
                  <a:srgbClr val="545454"/>
                </a:solidFill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 dirty="0">
                  <a:solidFill>
                    <a:srgbClr val="545454"/>
                  </a:solidFill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779252"/>
                <a:endParaRPr lang="en-US" sz="1000">
                  <a:solidFill>
                    <a:srgbClr val="545454"/>
                  </a:solidFill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779252">
                <a:lnSpc>
                  <a:spcPct val="90000"/>
                </a:lnSpc>
                <a:spcAft>
                  <a:spcPts val="852"/>
                </a:spcAft>
              </a:pPr>
              <a:endParaRPr lang="en-US" sz="1000" dirty="0">
                <a:solidFill>
                  <a:srgbClr val="545454"/>
                </a:solidFill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006701"/>
              <a:ext cx="7283401" cy="55399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779252"/>
              <a:r>
                <a:rPr lang="en-IN" sz="900" dirty="0">
                  <a:solidFill>
                    <a:prstClr val="white">
                      <a:lumMod val="50000"/>
                    </a:prstClr>
                  </a:solidFill>
                </a:rPr>
                <a:t>1. </a:t>
              </a:r>
              <a:r>
                <a:rPr lang="en-IN" sz="900" dirty="0" err="1">
                  <a:solidFill>
                    <a:prstClr val="white">
                      <a:lumMod val="50000"/>
                    </a:prstClr>
                  </a:solidFill>
                </a:rPr>
                <a:t>xxxx</a:t>
              </a:r>
              <a:r>
                <a:rPr lang="en-IN" sz="900" dirty="0">
                  <a:solidFill>
                    <a:prstClr val="white">
                      <a:lumMod val="50000"/>
                    </a:prstClr>
                  </a:solidFill>
                </a:rPr>
                <a:t>  2. </a:t>
              </a:r>
              <a:r>
                <a:rPr lang="en-IN" sz="900" dirty="0" err="1">
                  <a:solidFill>
                    <a:prstClr val="white">
                      <a:lumMod val="50000"/>
                    </a:prstClr>
                  </a:solidFill>
                </a:rPr>
                <a:t>xxxx</a:t>
              </a:r>
              <a:r>
                <a:rPr lang="en-IN" sz="900" dirty="0">
                  <a:solidFill>
                    <a:prstClr val="white">
                      <a:lumMod val="50000"/>
                    </a:prstClr>
                  </a:solidFill>
                </a:rPr>
                <a:t>  3. List footnotes in numerical order. Footnote numbers are not bracketed. Use 10pt font</a:t>
              </a:r>
            </a:p>
            <a:p>
              <a:pPr defTabSz="779252"/>
              <a:r>
                <a:rPr lang="en-IN" sz="900" dirty="0">
                  <a:solidFill>
                    <a:prstClr val="white">
                      <a:lumMod val="50000"/>
                    </a:prstClr>
                  </a:solidFill>
                </a:rPr>
                <a:t>Note: Do not put a period at the end of the note or the source</a:t>
              </a:r>
            </a:p>
            <a:p>
              <a:pPr defTabSz="779252"/>
              <a:r>
                <a:rPr lang="en-IN" sz="900" dirty="0">
                  <a:solidFill>
                    <a:prstClr val="white">
                      <a:lumMod val="50000"/>
                    </a:prstClr>
                  </a:solidFill>
                </a:rPr>
                <a:t>Source: Include a source for every chart that you use. Separate sources with a semicolon; BCG-related sources go at the end</a:t>
              </a:r>
              <a:endParaRPr lang="en-US" sz="9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891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4780217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1632117" y="3414584"/>
            <a:ext cx="804185" cy="65431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spcBef>
                <a:spcPct val="0"/>
              </a:spcBef>
              <a:spcAft>
                <a:spcPct val="0"/>
              </a:spcAft>
            </a:pPr>
            <a:endParaRPr lang="en-US" sz="17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2568605" y="3414583"/>
            <a:ext cx="1212923" cy="984504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2038" tIns="15339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spcBef>
                <a:spcPct val="0"/>
              </a:spcBef>
              <a:spcAft>
                <a:spcPct val="0"/>
              </a:spcAft>
            </a:pPr>
            <a:endParaRPr lang="en-US" sz="17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>
            <a:off x="581539" y="685800"/>
            <a:ext cx="3199989" cy="262078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0679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lnSpc>
                <a:spcPct val="95000"/>
              </a:lnSpc>
            </a:pPr>
            <a:r>
              <a:rPr lang="en-US" sz="37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037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81159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2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4780217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817478" y="2001031"/>
            <a:ext cx="7509600" cy="240077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33776" tIns="233776" rIns="233776" bIns="11688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79252">
              <a:lnSpc>
                <a:spcPts val="5113"/>
              </a:lnSpc>
            </a:pPr>
            <a:endParaRPr lang="en-US" sz="37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817478" y="1093352"/>
            <a:ext cx="846605" cy="6885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spcBef>
                <a:spcPct val="0"/>
              </a:spcBef>
              <a:spcAft>
                <a:spcPct val="0"/>
              </a:spcAft>
            </a:pPr>
            <a:endParaRPr lang="en-US" sz="17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68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4780217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>
          <a:xfrm>
            <a:off x="580292" y="904501"/>
            <a:ext cx="8563708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580292" y="467100"/>
            <a:ext cx="6636921" cy="3531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79252">
              <a:lnSpc>
                <a:spcPct val="90000"/>
              </a:lnSpc>
              <a:spcBef>
                <a:spcPct val="0"/>
              </a:spcBef>
            </a:pPr>
            <a:r>
              <a:rPr lang="en-US" sz="24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8540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51435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982"/>
            <a:ext cx="6041722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925" tIns="38963" rIns="77925" bIns="38963" rtlCol="0" anchor="t">
            <a:noAutofit/>
          </a:bodyPr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38" y="2011500"/>
            <a:ext cx="2282954" cy="11232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2400" dirty="0">
                <a:solidFill>
                  <a:prstClr val="whit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7221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632114" y="3414584"/>
            <a:ext cx="804185" cy="654317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2568603" y="3414583"/>
            <a:ext cx="1212923" cy="984504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2038" tIns="15339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6"/>
            </p:custDataLst>
          </p:nvPr>
        </p:nvSpPr>
        <p:spPr>
          <a:xfrm>
            <a:off x="581536" y="685800"/>
            <a:ext cx="3199989" cy="262078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0679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lnSpc>
                <a:spcPct val="95000"/>
              </a:lnSpc>
            </a:pPr>
            <a:r>
              <a:rPr lang="en-US" sz="37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50575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817475" y="2001031"/>
            <a:ext cx="7509600" cy="240077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33776" tIns="233776" rIns="233776" bIns="11688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79252">
              <a:lnSpc>
                <a:spcPts val="5113"/>
              </a:lnSpc>
            </a:pPr>
            <a:endParaRPr lang="en-US" sz="37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817475" y="1093352"/>
            <a:ext cx="846605" cy="6885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1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580292" y="904499"/>
            <a:ext cx="8563708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580292" y="467099"/>
            <a:ext cx="6636921" cy="3531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79252">
              <a:lnSpc>
                <a:spcPct val="90000"/>
              </a:lnSpc>
              <a:spcBef>
                <a:spcPct val="0"/>
              </a:spcBef>
            </a:pPr>
            <a:r>
              <a:rPr lang="en-US" sz="20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51379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51435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2245668" y="-982"/>
            <a:ext cx="6898333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839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14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4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3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43" y="5834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425059"/>
            <a:ext cx="87931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4797751"/>
            <a:ext cx="8793162" cy="276701"/>
            <a:chOff x="119063" y="6269509"/>
            <a:chExt cx="8618537" cy="361874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69509"/>
              <a:ext cx="8618537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70376"/>
              <a:ext cx="7200000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643" indent="-620643" defTabSz="912709" fontAlgn="base">
                <a:spcBef>
                  <a:spcPct val="0"/>
                </a:spcBef>
                <a:spcAft>
                  <a:spcPct val="0"/>
                </a:spcAft>
                <a:tabLst>
                  <a:tab pos="623817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7" y="840363"/>
            <a:ext cx="4349750" cy="511002"/>
            <a:chOff x="915" y="610"/>
            <a:chExt cx="2686" cy="4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798" y="219076"/>
            <a:ext cx="482600" cy="150811"/>
            <a:chOff x="8267440" y="285750"/>
            <a:chExt cx="473335" cy="196934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76527" y="285750"/>
              <a:ext cx="464248" cy="196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6" y="4730354"/>
            <a:ext cx="47625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5" tIns="46643" rIns="93285" bIns="4664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29" y="214315"/>
            <a:ext cx="768450" cy="806562"/>
            <a:chOff x="7835905" y="279400"/>
            <a:chExt cx="754502" cy="1054154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9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2" y="214314"/>
            <a:ext cx="1082553" cy="602255"/>
            <a:chOff x="7540629" y="279400"/>
            <a:chExt cx="1062098" cy="787598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96" y="191691"/>
            <a:ext cx="836496" cy="1034104"/>
            <a:chOff x="7769225" y="250825"/>
            <a:chExt cx="820966" cy="1350905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108157" y="1875110"/>
            <a:ext cx="194310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593138" y="3286269"/>
            <a:ext cx="971550" cy="37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15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4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8112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50726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2695776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0" y="0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t"/>
          <a:lstStyle/>
          <a:p>
            <a:pPr defTabSz="779252"/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1968188"/>
            <a:ext cx="2053662" cy="12071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779252">
              <a:lnSpc>
                <a:spcPct val="106000"/>
              </a:lnSpc>
              <a:spcAft>
                <a:spcPts val="597"/>
              </a:spcAft>
            </a:pPr>
            <a:r>
              <a:rPr lang="en-US" sz="3700" dirty="0">
                <a:solidFill>
                  <a:srgbClr val="295E7E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33220"/>
            <a:ext cx="2057400" cy="831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52">
              <a:lnSpc>
                <a:spcPct val="90000"/>
              </a:lnSpc>
              <a:spcAft>
                <a:spcPts val="511"/>
              </a:spcAft>
            </a:pPr>
            <a:r>
              <a:rPr lang="en-US" sz="600">
                <a:solidFill>
                  <a:prstClr val="white"/>
                </a:solidFill>
                <a:sym typeface="Trebuchet MS" panose="020B0603020202020204" pitchFamily="34" charset="0"/>
              </a:rPr>
              <a:t>10 KZ LMV-Vision 2025-18Oct18.pptx</a:t>
            </a:r>
            <a:endParaRPr lang="en-US" sz="6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211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61" indent="0">
              <a:buNone/>
              <a:defRPr sz="1500" b="1"/>
            </a:lvl2pPr>
            <a:lvl3pPr marL="685722" indent="0">
              <a:buNone/>
              <a:defRPr sz="1400" b="1"/>
            </a:lvl3pPr>
            <a:lvl4pPr marL="1028583" indent="0">
              <a:buNone/>
              <a:defRPr sz="1200" b="1"/>
            </a:lvl4pPr>
            <a:lvl5pPr marL="1371444" indent="0">
              <a:buNone/>
              <a:defRPr sz="1200" b="1"/>
            </a:lvl5pPr>
            <a:lvl6pPr marL="1714305" indent="0">
              <a:buNone/>
              <a:defRPr sz="1200" b="1"/>
            </a:lvl6pPr>
            <a:lvl7pPr marL="2057166" indent="0">
              <a:buNone/>
              <a:defRPr sz="1200" b="1"/>
            </a:lvl7pPr>
            <a:lvl8pPr marL="2400027" indent="0">
              <a:buNone/>
              <a:defRPr sz="1200" b="1"/>
            </a:lvl8pPr>
            <a:lvl9pPr marL="2742888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61" indent="0">
              <a:buNone/>
              <a:defRPr sz="1500" b="1"/>
            </a:lvl2pPr>
            <a:lvl3pPr marL="685722" indent="0">
              <a:buNone/>
              <a:defRPr sz="1400" b="1"/>
            </a:lvl3pPr>
            <a:lvl4pPr marL="1028583" indent="0">
              <a:buNone/>
              <a:defRPr sz="1200" b="1"/>
            </a:lvl4pPr>
            <a:lvl5pPr marL="1371444" indent="0">
              <a:buNone/>
              <a:defRPr sz="1200" b="1"/>
            </a:lvl5pPr>
            <a:lvl6pPr marL="1714305" indent="0">
              <a:buNone/>
              <a:defRPr sz="1200" b="1"/>
            </a:lvl6pPr>
            <a:lvl7pPr marL="2057166" indent="0">
              <a:buNone/>
              <a:defRPr sz="1200" b="1"/>
            </a:lvl7pPr>
            <a:lvl8pPr marL="2400027" indent="0">
              <a:buNone/>
              <a:defRPr sz="1200" b="1"/>
            </a:lvl8pPr>
            <a:lvl9pPr marL="2742888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6998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5984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4355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04790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61" indent="0">
              <a:buNone/>
              <a:defRPr sz="900"/>
            </a:lvl2pPr>
            <a:lvl3pPr marL="685722" indent="0">
              <a:buNone/>
              <a:defRPr sz="800"/>
            </a:lvl3pPr>
            <a:lvl4pPr marL="1028583" indent="0">
              <a:buNone/>
              <a:defRPr sz="700"/>
            </a:lvl4pPr>
            <a:lvl5pPr marL="1371444" indent="0">
              <a:buNone/>
              <a:defRPr sz="700"/>
            </a:lvl5pPr>
            <a:lvl6pPr marL="1714305" indent="0">
              <a:buNone/>
              <a:defRPr sz="700"/>
            </a:lvl6pPr>
            <a:lvl7pPr marL="2057166" indent="0">
              <a:buNone/>
              <a:defRPr sz="700"/>
            </a:lvl7pPr>
            <a:lvl8pPr marL="2400027" indent="0">
              <a:buNone/>
              <a:defRPr sz="700"/>
            </a:lvl8pPr>
            <a:lvl9pPr marL="2742888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9256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61" indent="0">
              <a:buNone/>
              <a:defRPr sz="2100"/>
            </a:lvl2pPr>
            <a:lvl3pPr marL="685722" indent="0">
              <a:buNone/>
              <a:defRPr sz="1800"/>
            </a:lvl3pPr>
            <a:lvl4pPr marL="1028583" indent="0">
              <a:buNone/>
              <a:defRPr sz="1500"/>
            </a:lvl4pPr>
            <a:lvl5pPr marL="1371444" indent="0">
              <a:buNone/>
              <a:defRPr sz="1500"/>
            </a:lvl5pPr>
            <a:lvl6pPr marL="1714305" indent="0">
              <a:buNone/>
              <a:defRPr sz="1500"/>
            </a:lvl6pPr>
            <a:lvl7pPr marL="2057166" indent="0">
              <a:buNone/>
              <a:defRPr sz="1500"/>
            </a:lvl7pPr>
            <a:lvl8pPr marL="2400027" indent="0">
              <a:buNone/>
              <a:defRPr sz="1500"/>
            </a:lvl8pPr>
            <a:lvl9pPr marL="2742888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61" indent="0">
              <a:buNone/>
              <a:defRPr sz="900"/>
            </a:lvl2pPr>
            <a:lvl3pPr marL="685722" indent="0">
              <a:buNone/>
              <a:defRPr sz="800"/>
            </a:lvl3pPr>
            <a:lvl4pPr marL="1028583" indent="0">
              <a:buNone/>
              <a:defRPr sz="700"/>
            </a:lvl4pPr>
            <a:lvl5pPr marL="1371444" indent="0">
              <a:buNone/>
              <a:defRPr sz="700"/>
            </a:lvl5pPr>
            <a:lvl6pPr marL="1714305" indent="0">
              <a:buNone/>
              <a:defRPr sz="700"/>
            </a:lvl6pPr>
            <a:lvl7pPr marL="2057166" indent="0">
              <a:buNone/>
              <a:defRPr sz="700"/>
            </a:lvl7pPr>
            <a:lvl8pPr marL="2400027" indent="0">
              <a:buNone/>
              <a:defRPr sz="700"/>
            </a:lvl8pPr>
            <a:lvl9pPr marL="2742888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5129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7250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6483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2794417"/>
              </p:ext>
            </p:extLst>
          </p:nvPr>
        </p:nvGraphicFramePr>
        <p:xfrm>
          <a:off x="1640" y="1231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0" y="1231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232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38" y="467102"/>
            <a:ext cx="7982031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LM Modernization-11Sep2019.pptx</a:t>
            </a:r>
            <a:endParaRPr lang="en-US" sz="5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21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3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43" y="5834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425059"/>
            <a:ext cx="87931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4797751"/>
            <a:ext cx="8793162" cy="276701"/>
            <a:chOff x="119063" y="6269509"/>
            <a:chExt cx="8618537" cy="361874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69509"/>
              <a:ext cx="8618537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70376"/>
              <a:ext cx="7200000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643" indent="-620643" defTabSz="912709" fontAlgn="base">
                <a:spcBef>
                  <a:spcPct val="0"/>
                </a:spcBef>
                <a:spcAft>
                  <a:spcPct val="0"/>
                </a:spcAft>
                <a:tabLst>
                  <a:tab pos="623817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7" y="840363"/>
            <a:ext cx="4349750" cy="511002"/>
            <a:chOff x="915" y="610"/>
            <a:chExt cx="2686" cy="4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798" y="219076"/>
            <a:ext cx="482600" cy="150811"/>
            <a:chOff x="8267440" y="285750"/>
            <a:chExt cx="473335" cy="196934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76527" y="285750"/>
              <a:ext cx="464248" cy="196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6" y="4730354"/>
            <a:ext cx="47625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5" tIns="46643" rIns="93285" bIns="4664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29" y="214315"/>
            <a:ext cx="768450" cy="806562"/>
            <a:chOff x="7835905" y="279400"/>
            <a:chExt cx="754502" cy="1054154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9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2" y="214314"/>
            <a:ext cx="1082553" cy="602255"/>
            <a:chOff x="7540629" y="279400"/>
            <a:chExt cx="1062098" cy="787598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96" y="191691"/>
            <a:ext cx="836496" cy="1034104"/>
            <a:chOff x="7769225" y="250825"/>
            <a:chExt cx="820966" cy="1350905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108157" y="1875110"/>
            <a:ext cx="194310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593138" y="3286269"/>
            <a:ext cx="971550" cy="37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12282" y="4938564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A74A136B-8B7E-4B7C-B6CD-95AD1A96BC65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58" name="Slide Number"/>
          <p:cNvSpPr txBox="1">
            <a:spLocks/>
          </p:cNvSpPr>
          <p:nvPr userDrawn="1"/>
        </p:nvSpPr>
        <p:spPr>
          <a:xfrm>
            <a:off x="8739187" y="4965864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D8F8EA2-A81E-4CA8-B7F3-A5179281FEDF}" type="slidenum">
              <a:rPr lang="en-US" sz="800" smtClean="0">
                <a:solidFill>
                  <a:srgbClr val="FFFFF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9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622903" y="496586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709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McKinsey &amp; Company</a:t>
            </a:r>
          </a:p>
        </p:txBody>
      </p:sp>
      <p:sp>
        <p:nvSpPr>
          <p:cNvPr id="60" name="doc id"/>
          <p:cNvSpPr txBox="1">
            <a:spLocks noChangeArrowheads="1"/>
          </p:cNvSpPr>
          <p:nvPr userDrawn="1"/>
        </p:nvSpPr>
        <p:spPr bwMode="white">
          <a:xfrm>
            <a:off x="8269288" y="27386"/>
            <a:ext cx="647700" cy="89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C5C5C5"/>
              </a:solidFill>
              <a:latin typeface="Arial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1042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6" y="2695777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51435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803777"/>
            <a:ext cx="953723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467102"/>
            <a:ext cx="4567614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LM Modernization-11Sep2019.pptx</a:t>
            </a:r>
            <a:endParaRPr lang="en-US" sz="5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32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22040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3959389"/>
            <a:ext cx="9144000" cy="118411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5761055" y="873449"/>
            <a:ext cx="435430" cy="63304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3397" y="0"/>
            <a:ext cx="9164096" cy="394097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578104" y="1132114"/>
            <a:ext cx="5936370" cy="3484886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2" tIns="34286" rIns="68572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6963568" y="4177984"/>
            <a:ext cx="1363511" cy="672625"/>
          </a:xfrm>
          <a:prstGeom prst="rect">
            <a:avLst/>
          </a:prstGeom>
        </p:spPr>
        <p:txBody>
          <a:bodyPr anchor="b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7478" y="4655882"/>
            <a:ext cx="5014337" cy="245361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8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30" indent="0" algn="ctr">
              <a:buNone/>
              <a:defRPr/>
            </a:lvl4pPr>
            <a:lvl5pPr marL="342861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817478" y="4121782"/>
            <a:ext cx="5014337" cy="32714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342861" indent="0" algn="ctr">
              <a:buNone/>
              <a:defRPr sz="1500"/>
            </a:lvl2pPr>
            <a:lvl3pPr marL="685722" indent="0" algn="ctr">
              <a:buNone/>
              <a:defRPr sz="1400"/>
            </a:lvl3pPr>
            <a:lvl4pPr marL="1028583" indent="0" algn="ctr">
              <a:buNone/>
              <a:defRPr sz="1200"/>
            </a:lvl4pPr>
            <a:lvl5pPr marL="1371444" indent="0" algn="ctr">
              <a:buNone/>
              <a:defRPr sz="1200"/>
            </a:lvl5pPr>
            <a:lvl6pPr marL="1714305" indent="0" algn="ctr">
              <a:buNone/>
              <a:defRPr sz="1200"/>
            </a:lvl6pPr>
            <a:lvl7pPr marL="2057166" indent="0" algn="ctr">
              <a:buNone/>
              <a:defRPr sz="1200"/>
            </a:lvl7pPr>
            <a:lvl8pPr marL="2400027" indent="0" algn="ctr">
              <a:buNone/>
              <a:defRPr sz="1200"/>
            </a:lvl8pPr>
            <a:lvl9pPr marL="2742888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817478" y="2035630"/>
            <a:ext cx="5014337" cy="173287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3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8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1" y="1276469"/>
            <a:ext cx="677022" cy="56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910733" y="1276469"/>
            <a:ext cx="3005230" cy="5665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Министерство труда и</a:t>
            </a:r>
          </a:p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социальной защиты населения</a:t>
            </a:r>
          </a:p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Республики Казахстан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585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467100"/>
            <a:ext cx="7982031" cy="290849"/>
          </a:xfrm>
        </p:spPr>
        <p:txBody>
          <a:bodyPr/>
          <a:lstStyle>
            <a:lvl1pPr>
              <a:defRPr sz="21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532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nelGray"/>
          <p:cNvSpPr/>
          <p:nvPr userDrawn="1"/>
        </p:nvSpPr>
        <p:spPr bwMode="ltGray">
          <a:xfrm>
            <a:off x="1" y="0"/>
            <a:ext cx="355262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39" y="1158205"/>
            <a:ext cx="2519630" cy="1121846"/>
          </a:xfrm>
          <a:noFill/>
        </p:spPr>
        <p:txBody>
          <a:bodyPr wrap="square" lIns="0" tIns="0" rIns="320004" bIns="0" anchor="b">
            <a:noAutofit/>
          </a:bodyPr>
          <a:lstStyle>
            <a:lvl1pPr>
              <a:defRPr sz="21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535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7" y="2001031"/>
            <a:ext cx="7509600" cy="2400770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289" tIns="274289" rIns="274289" bIns="137145"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33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8" y="1093352"/>
            <a:ext cx="846605" cy="6885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571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2870100"/>
            <a:ext cx="7982031" cy="1530900"/>
          </a:xfrm>
        </p:spPr>
        <p:txBody>
          <a:bodyPr anchor="t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581538" y="2760012"/>
            <a:ext cx="856246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374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51435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2" y="0"/>
            <a:ext cx="3099547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581540" y="2010828"/>
            <a:ext cx="2283808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1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85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51435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5364672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467100"/>
            <a:ext cx="4567614" cy="290849"/>
          </a:xfrm>
          <a:prstGeom prst="rect">
            <a:avLst/>
          </a:prstGeom>
        </p:spPr>
        <p:txBody>
          <a:bodyPr/>
          <a:lstStyle>
            <a:lvl1pPr>
              <a:defRPr sz="21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41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51435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982"/>
            <a:ext cx="6041722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010828"/>
            <a:ext cx="2282954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283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38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4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3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43" y="5834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425059"/>
            <a:ext cx="87931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4797751"/>
            <a:ext cx="8793162" cy="276701"/>
            <a:chOff x="119063" y="6269509"/>
            <a:chExt cx="8618537" cy="361874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69509"/>
              <a:ext cx="8618537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70376"/>
              <a:ext cx="7200000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643" indent="-620643" defTabSz="912709" fontAlgn="base">
                <a:spcBef>
                  <a:spcPct val="0"/>
                </a:spcBef>
                <a:spcAft>
                  <a:spcPct val="0"/>
                </a:spcAft>
                <a:tabLst>
                  <a:tab pos="623817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7" y="840363"/>
            <a:ext cx="4349750" cy="511002"/>
            <a:chOff x="915" y="610"/>
            <a:chExt cx="2686" cy="4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798" y="219076"/>
            <a:ext cx="482600" cy="150811"/>
            <a:chOff x="8267440" y="285750"/>
            <a:chExt cx="473335" cy="196934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76527" y="285750"/>
              <a:ext cx="464248" cy="196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6" y="4730354"/>
            <a:ext cx="47625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5" tIns="46643" rIns="93285" bIns="4664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29" y="214315"/>
            <a:ext cx="768450" cy="806562"/>
            <a:chOff x="7835905" y="279400"/>
            <a:chExt cx="754502" cy="1054154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9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2" y="214314"/>
            <a:ext cx="1082553" cy="602255"/>
            <a:chOff x="7540629" y="279400"/>
            <a:chExt cx="1062098" cy="787598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96" y="191691"/>
            <a:ext cx="836496" cy="1034104"/>
            <a:chOff x="7769225" y="250825"/>
            <a:chExt cx="820966" cy="1350905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108157" y="1875110"/>
            <a:ext cx="194310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593138" y="3286269"/>
            <a:ext cx="971550" cy="37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12282" y="4938564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40B82AD4-42BA-4DFA-9D85-69F252ACD370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39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4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98214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5" y="0"/>
            <a:ext cx="385477" cy="51435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5143500"/>
          </a:xfrm>
          <a:prstGeom prst="rect">
            <a:avLst/>
          </a:prstGeom>
          <a:noFill/>
        </p:spPr>
        <p:txBody>
          <a:bodyPr lIns="914296" tIns="914296" rIns="914296" bIns="914296"/>
          <a:lstStyle>
            <a:lvl1pPr algn="ctr">
              <a:defRPr sz="1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9" y="1339200"/>
            <a:ext cx="3202293" cy="2465100"/>
          </a:xfrm>
          <a:prstGeom prst="rect">
            <a:avLst/>
          </a:prstGeom>
          <a:noFill/>
        </p:spPr>
        <p:txBody>
          <a:bodyPr wrap="square" lIns="0" tIns="0" rIns="320004" b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5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5" y="0"/>
            <a:ext cx="384878" cy="51435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5830892" y="0"/>
            <a:ext cx="3313108" cy="51435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5143500"/>
          </a:xfrm>
          <a:prstGeom prst="rect">
            <a:avLst/>
          </a:prstGeom>
          <a:noFill/>
        </p:spPr>
        <p:txBody>
          <a:bodyPr lIns="182859" tIns="914296" rIns="182859" bIns="914296"/>
          <a:lstStyle>
            <a:lvl1pPr algn="ctr">
              <a:defRPr sz="14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581539" y="1339200"/>
            <a:ext cx="4567391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054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2695777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ArrowPanelGray"/>
          <p:cNvSpPr/>
          <p:nvPr userDrawn="1"/>
        </p:nvSpPr>
        <p:spPr bwMode="ltGray">
          <a:xfrm>
            <a:off x="1" y="1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581539" y="2010150"/>
            <a:ext cx="1831662" cy="112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1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514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1" y="1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39" y="2010149"/>
            <a:ext cx="1831662" cy="1123200"/>
          </a:xfrm>
        </p:spPr>
        <p:txBody>
          <a:bodyPr anchor="ctr" anchorCtr="0">
            <a:noAutofit/>
          </a:bodyPr>
          <a:lstStyle>
            <a:lvl1pPr>
              <a:defRPr sz="21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2552122"/>
            <a:ext cx="2487384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28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3" y="2546748"/>
            <a:ext cx="1198685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51435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339200"/>
            <a:ext cx="296584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936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51435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339200"/>
            <a:ext cx="296584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2562226"/>
            <a:ext cx="2487384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63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2695777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51435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467101"/>
            <a:ext cx="3412754" cy="29084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1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792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51435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467101"/>
            <a:ext cx="3412754" cy="29084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1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2555854"/>
            <a:ext cx="2487384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61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6" y="2695777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51435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467100"/>
            <a:ext cx="4567614" cy="290849"/>
          </a:xfrm>
        </p:spPr>
        <p:txBody>
          <a:bodyPr/>
          <a:lstStyle>
            <a:lvl1pPr>
              <a:defRPr sz="21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303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51435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467100"/>
            <a:ext cx="4567614" cy="290849"/>
          </a:xfrm>
        </p:spPr>
        <p:txBody>
          <a:bodyPr/>
          <a:lstStyle>
            <a:lvl1pPr>
              <a:defRPr sz="21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2555854"/>
            <a:ext cx="2487384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50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6917830"/>
              </p:ext>
            </p:extLst>
          </p:nvPr>
        </p:nvGraphicFramePr>
        <p:xfrm>
          <a:off x="1650" y="1240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1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40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" y="340147"/>
            <a:ext cx="9137751" cy="4803201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 userDrawn="1"/>
        </p:nvSpPr>
        <p:spPr>
          <a:xfrm>
            <a:off x="2128475" y="-6386"/>
            <a:ext cx="7015529" cy="2736458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9754" tIns="1465025" rIns="219754" bIns="109878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0ADEF"/>
                </a:solidFill>
              </a:rPr>
              <a:t>
 </a:t>
            </a:r>
            <a:br>
              <a:rPr lang="en-US" dirty="0">
                <a:solidFill>
                  <a:srgbClr val="00ADEF"/>
                </a:solidFill>
              </a:rPr>
            </a:br>
            <a:endParaRPr lang="en-US" dirty="0">
              <a:solidFill>
                <a:srgbClr val="00ADE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314496" y="1097687"/>
            <a:ext cx="6358614" cy="5078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3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14496" y="2157501"/>
            <a:ext cx="635861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96" y="2419146"/>
            <a:ext cx="635861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7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7" name="Disclaimer-English (United States)" hidden="1"/>
          <p:cNvSpPr>
            <a:spLocks noChangeArrowheads="1"/>
          </p:cNvSpPr>
          <p:nvPr userDrawn="1"/>
        </p:nvSpPr>
        <p:spPr bwMode="black">
          <a:xfrm>
            <a:off x="2314491" y="4811636"/>
            <a:ext cx="3616660" cy="282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18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</a:rPr>
              <a:t>CONFIDENTIAL AND PROPRIETARY</a:t>
            </a:r>
          </a:p>
          <a:p>
            <a:pPr defTabSz="818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6025833" y="4762055"/>
            <a:ext cx="1069519" cy="217051"/>
          </a:xfrm>
          <a:prstGeom prst="rect">
            <a:avLst/>
          </a:prstGeom>
          <a:noFill/>
        </p:spPr>
        <p:txBody>
          <a:bodyPr vert="horz" wrap="none" lIns="93025" tIns="46516" rIns="93025" bIns="46516" rtlCol="0">
            <a:spAutoFit/>
          </a:bodyPr>
          <a:lstStyle/>
          <a:p>
            <a:pPr defTabSz="911780" fontAlgn="base">
              <a:spcBef>
                <a:spcPct val="0"/>
              </a:spcBef>
              <a:spcAft>
                <a:spcPct val="0"/>
              </a:spcAft>
            </a:pPr>
            <a:r>
              <a:rPr lang="en-GB" sz="800" b="1">
                <a:solidFill>
                  <a:srgbClr val="FFFFFF"/>
                </a:solidFill>
              </a:rPr>
              <a:t>WORKING DRAFT</a:t>
            </a:r>
            <a:endParaRPr lang="ru-RU" sz="800" b="1">
              <a:solidFill>
                <a:srgbClr val="FFFFFF"/>
              </a:solidFill>
            </a:endParaRPr>
          </a:p>
        </p:txBody>
      </p:sp>
      <p:sp>
        <p:nvSpPr>
          <p:cNvPr id="4" name="Working Draft" hidden="1"/>
          <p:cNvSpPr txBox="1"/>
          <p:nvPr userDrawn="1"/>
        </p:nvSpPr>
        <p:spPr>
          <a:xfrm>
            <a:off x="6025807" y="4859240"/>
            <a:ext cx="2933811" cy="217051"/>
          </a:xfrm>
          <a:prstGeom prst="rect">
            <a:avLst/>
          </a:prstGeom>
          <a:noFill/>
        </p:spPr>
        <p:txBody>
          <a:bodyPr vert="horz" wrap="none" lIns="93025" tIns="46516" rIns="93025" bIns="46516" rtlCol="0">
            <a:spAutoFit/>
          </a:bodyPr>
          <a:lstStyle/>
          <a:p>
            <a:pPr defTabSz="911780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</a:rPr>
              <a:t>Last Modified 13.06.2017 14:55 Central Asia Standard Time</a:t>
            </a:r>
            <a:endParaRPr lang="ru-RU" sz="800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6025824" y="4956445"/>
            <a:ext cx="2590769" cy="217051"/>
          </a:xfrm>
          <a:prstGeom prst="rect">
            <a:avLst/>
          </a:prstGeom>
          <a:noFill/>
        </p:spPr>
        <p:txBody>
          <a:bodyPr vert="horz" wrap="none" lIns="93025" tIns="46516" rIns="93025" bIns="46516" rtlCol="0">
            <a:spAutoFit/>
          </a:bodyPr>
          <a:lstStyle/>
          <a:p>
            <a:pPr defTabSz="911780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</a:rPr>
              <a:t>Printed 31-нау-17 11:48 Central Asia Standard Time</a:t>
            </a:r>
            <a:endParaRPr lang="ru-RU" sz="800">
              <a:solidFill>
                <a:srgbClr val="FFFFFF"/>
              </a:solidFill>
            </a:endParaRPr>
          </a:p>
        </p:txBody>
      </p:sp>
      <p:sp>
        <p:nvSpPr>
          <p:cNvPr id="5" name="doc id"/>
          <p:cNvSpPr txBox="1"/>
          <p:nvPr userDrawn="1"/>
        </p:nvSpPr>
        <p:spPr>
          <a:xfrm>
            <a:off x="8884774" y="48594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r" defTabSz="911780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8751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2869751"/>
            <a:ext cx="7982031" cy="1204913"/>
          </a:xfr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33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51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2869751"/>
            <a:ext cx="7982031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33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0" y="469106"/>
            <a:ext cx="847123" cy="6885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746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253166" y="274391"/>
            <a:ext cx="576943" cy="7204727"/>
          </a:xfrm>
          <a:prstGeom prst="rect">
            <a:avLst/>
          </a:prstGeom>
        </p:spPr>
      </p:pic>
      <p:grpSp>
        <p:nvGrpSpPr>
          <p:cNvPr id="57" name="Bubble"/>
          <p:cNvGrpSpPr/>
          <p:nvPr userDrawn="1"/>
        </p:nvGrpSpPr>
        <p:grpSpPr>
          <a:xfrm>
            <a:off x="1" y="0"/>
            <a:ext cx="9143998" cy="4394914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02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 bwMode="white">
          <a:xfrm>
            <a:off x="8264494" y="4795605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38" y="467100"/>
            <a:ext cx="7982031" cy="290849"/>
          </a:xfrm>
        </p:spPr>
        <p:txBody>
          <a:bodyPr/>
          <a:lstStyle>
            <a:lvl1pPr>
              <a:defRPr sz="21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63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40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8264494" y="4795605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54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614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261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7304123" y="4796082"/>
            <a:ext cx="953724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7089829" y="2943606"/>
            <a:ext cx="3850481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68572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068256"/>
              <a:ext cx="7283401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1. </a:t>
              </a:r>
              <a:r>
                <a:rPr kumimoji="0" lang="en-IN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xxxx</a:t>
              </a: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  2. </a:t>
              </a:r>
              <a:r>
                <a:rPr kumimoji="0" lang="en-IN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xxxx</a:t>
              </a: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Note: Do not put a period at the end of the note or the source</a:t>
              </a:r>
            </a:p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Source: Include a source for every chart that you use. Separate sources with a semicolon; BCG-related sources go at the end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025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3959389"/>
            <a:ext cx="9144000" cy="118411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5761055" y="873449"/>
            <a:ext cx="435430" cy="63304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3397" y="0"/>
            <a:ext cx="9164096" cy="394097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578104" y="1132114"/>
            <a:ext cx="5936370" cy="3484886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2" tIns="34286" rIns="68572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6963568" y="4177984"/>
            <a:ext cx="1363511" cy="672625"/>
          </a:xfrm>
          <a:prstGeom prst="rect">
            <a:avLst/>
          </a:prstGeom>
        </p:spPr>
        <p:txBody>
          <a:bodyPr anchor="b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7478" y="4655882"/>
            <a:ext cx="5014337" cy="245361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8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30" indent="0" algn="ctr">
              <a:buNone/>
              <a:defRPr/>
            </a:lvl4pPr>
            <a:lvl5pPr marL="342861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817478" y="4121782"/>
            <a:ext cx="5014337" cy="32714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342861" indent="0" algn="ctr">
              <a:buNone/>
              <a:defRPr sz="1500"/>
            </a:lvl2pPr>
            <a:lvl3pPr marL="685722" indent="0" algn="ctr">
              <a:buNone/>
              <a:defRPr sz="1400"/>
            </a:lvl3pPr>
            <a:lvl4pPr marL="1028583" indent="0" algn="ctr">
              <a:buNone/>
              <a:defRPr sz="1200"/>
            </a:lvl4pPr>
            <a:lvl5pPr marL="1371444" indent="0" algn="ctr">
              <a:buNone/>
              <a:defRPr sz="1200"/>
            </a:lvl5pPr>
            <a:lvl6pPr marL="1714305" indent="0" algn="ctr">
              <a:buNone/>
              <a:defRPr sz="1200"/>
            </a:lvl6pPr>
            <a:lvl7pPr marL="2057166" indent="0" algn="ctr">
              <a:buNone/>
              <a:defRPr sz="1200"/>
            </a:lvl7pPr>
            <a:lvl8pPr marL="2400027" indent="0" algn="ctr">
              <a:buNone/>
              <a:defRPr sz="1200"/>
            </a:lvl8pPr>
            <a:lvl9pPr marL="2742888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817478" y="2035630"/>
            <a:ext cx="5014337" cy="173287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3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1" y="1276469"/>
            <a:ext cx="677022" cy="56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910733" y="1276469"/>
            <a:ext cx="3005230" cy="5665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Министерство труда и</a:t>
            </a:r>
          </a:p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Социальной защиты населения</a:t>
            </a:r>
          </a:p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Республики Казахстан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459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278986"/>
              </p:ext>
            </p:extLst>
          </p:nvPr>
        </p:nvGraphicFramePr>
        <p:xfrm>
          <a:off x="1650" y="1240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40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86772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38" y="467102"/>
            <a:ext cx="7982031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185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nelGray"/>
          <p:cNvSpPr/>
          <p:nvPr userDrawn="1"/>
        </p:nvSpPr>
        <p:spPr bwMode="white">
          <a:xfrm>
            <a:off x="2" y="-982"/>
            <a:ext cx="3552369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39" y="1619243"/>
            <a:ext cx="2730092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342861" indent="0" algn="ctr">
              <a:buNone/>
              <a:defRPr sz="1500"/>
            </a:lvl2pPr>
            <a:lvl3pPr marL="685722" indent="0" algn="ctr">
              <a:buNone/>
              <a:defRPr sz="1400"/>
            </a:lvl3pPr>
            <a:lvl4pPr marL="1028583" indent="0" algn="ctr">
              <a:buNone/>
              <a:defRPr sz="1200"/>
            </a:lvl4pPr>
            <a:lvl5pPr marL="1371444" indent="0" algn="ctr">
              <a:buNone/>
              <a:defRPr sz="1200"/>
            </a:lvl5pPr>
            <a:lvl6pPr marL="1714305" indent="0" algn="ctr">
              <a:buNone/>
              <a:defRPr sz="1200"/>
            </a:lvl6pPr>
            <a:lvl7pPr marL="2057166" indent="0" algn="ctr">
              <a:buNone/>
              <a:defRPr sz="1200"/>
            </a:lvl7pPr>
            <a:lvl8pPr marL="2400027" indent="0" algn="ctr">
              <a:buNone/>
              <a:defRPr sz="1200"/>
            </a:lvl8pPr>
            <a:lvl9pPr marL="2742888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920288"/>
            <a:ext cx="2730092" cy="498598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90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7" y="2001031"/>
            <a:ext cx="7510154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289" tIns="274289" rIns="274289" bIns="137145"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33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817478" y="1093352"/>
            <a:ext cx="846209" cy="6885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55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2870100"/>
            <a:ext cx="7982031" cy="1530900"/>
          </a:xfrm>
        </p:spPr>
        <p:txBody>
          <a:bodyPr anchor="t">
            <a:noAutofit/>
          </a:bodyPr>
          <a:lstStyle>
            <a:lvl1pPr>
              <a:defRPr sz="33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581540" y="2762100"/>
            <a:ext cx="856356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903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51435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2" y="0"/>
            <a:ext cx="309954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010828"/>
            <a:ext cx="2282954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1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51435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5364672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467102"/>
            <a:ext cx="4563113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4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3" name="PanelWhite"/>
          <p:cNvSpPr/>
          <p:nvPr userDrawn="1"/>
        </p:nvSpPr>
        <p:spPr bwMode="white">
          <a:xfrm>
            <a:off x="0" y="0"/>
            <a:ext cx="672616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4796082"/>
            <a:ext cx="953723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467102"/>
            <a:ext cx="5932266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149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51435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78" y="-982"/>
            <a:ext cx="6041722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010828"/>
            <a:ext cx="2282954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05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5" y="0"/>
            <a:ext cx="385477" cy="51435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5143500"/>
          </a:xfrm>
          <a:prstGeom prst="rect">
            <a:avLst/>
          </a:prstGeom>
          <a:noFill/>
        </p:spPr>
        <p:txBody>
          <a:bodyPr lIns="914296" tIns="914296" rIns="914296" bIns="914296"/>
          <a:lstStyle>
            <a:lvl1pPr algn="ctr">
              <a:defRPr sz="1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9" y="1339200"/>
            <a:ext cx="3203446" cy="2465100"/>
          </a:xfrm>
          <a:prstGeom prst="rect">
            <a:avLst/>
          </a:prstGeom>
          <a:noFill/>
        </p:spPr>
        <p:txBody>
          <a:bodyPr wrap="square" lIns="0" tIns="0" rIns="320004" b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51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5" y="0"/>
            <a:ext cx="384878" cy="51435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5830892" y="0"/>
            <a:ext cx="3313108" cy="51435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5143500"/>
          </a:xfrm>
          <a:prstGeom prst="rect">
            <a:avLst/>
          </a:prstGeom>
          <a:noFill/>
        </p:spPr>
        <p:txBody>
          <a:bodyPr lIns="182859" tIns="914296" rIns="182859" bIns="914296"/>
          <a:lstStyle>
            <a:lvl1pPr algn="ctr">
              <a:defRPr sz="14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8" y="1339200"/>
            <a:ext cx="4565908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69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829935"/>
              </p:ext>
            </p:extLst>
          </p:nvPr>
        </p:nvGraphicFramePr>
        <p:xfrm>
          <a:off x="1650" y="1240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40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496591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178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623266" y="496591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0906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269577" y="27967"/>
            <a:ext cx="647646" cy="88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17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C5C5C5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503628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2695777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ArrowPanelWhite"/>
          <p:cNvSpPr/>
          <p:nvPr userDrawn="1"/>
        </p:nvSpPr>
        <p:spPr bwMode="ltGray">
          <a:xfrm>
            <a:off x="1" y="1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40" y="2078885"/>
            <a:ext cx="1831015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117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1" y="1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078885"/>
            <a:ext cx="1831015" cy="985733"/>
          </a:xfrm>
        </p:spPr>
        <p:txBody>
          <a:bodyPr anchor="ctr" anchorCtr="0">
            <a:noAutofit/>
          </a:bodyPr>
          <a:lstStyle>
            <a:lvl1pPr>
              <a:defRPr sz="21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2552122"/>
            <a:ext cx="2487384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956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3" y="2546748"/>
            <a:ext cx="1198685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51435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339200"/>
            <a:ext cx="2967508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9034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51435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339200"/>
            <a:ext cx="2967508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2562226"/>
            <a:ext cx="2487384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93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2695777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51435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467102"/>
            <a:ext cx="3412754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763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51435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467102"/>
            <a:ext cx="3412754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2555854"/>
            <a:ext cx="2487384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133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6" y="2695777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51435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467102"/>
            <a:ext cx="4567614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62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51435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467102"/>
            <a:ext cx="4567614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2555854"/>
            <a:ext cx="2487384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31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2869751"/>
            <a:ext cx="7982031" cy="1204913"/>
          </a:xfr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33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964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2869751"/>
            <a:ext cx="7982031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33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0" y="467100"/>
            <a:ext cx="847123" cy="6885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56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63222"/>
              </p:ext>
            </p:extLst>
          </p:nvPr>
        </p:nvGraphicFramePr>
        <p:xfrm>
          <a:off x="1650" y="1240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40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72061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253166" y="274391"/>
            <a:ext cx="576943" cy="7204727"/>
          </a:xfrm>
          <a:prstGeom prst="rect">
            <a:avLst/>
          </a:prstGeom>
        </p:spPr>
      </p:pic>
      <p:sp>
        <p:nvSpPr>
          <p:cNvPr id="6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0"/>
            <a:ext cx="9143998" cy="4394914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23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8264494" y="4795605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467102"/>
            <a:ext cx="7982031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03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2695777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1" y="1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2033463"/>
            <a:ext cx="2053662" cy="10765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09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4796082"/>
            <a:ext cx="953723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40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39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701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242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9144000" cy="51435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2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454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68572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068256"/>
              <a:ext cx="7283401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1. </a:t>
              </a:r>
              <a:r>
                <a:rPr kumimoji="0" lang="en-IN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xxxx</a:t>
              </a: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  2. </a:t>
              </a:r>
              <a:r>
                <a:rPr kumimoji="0" lang="en-IN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xxxx</a:t>
              </a: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Note: Do not put a period at the end of the note or the source</a:t>
              </a:r>
            </a:p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Source: Include a source for every chart that you use. Separate sources with a semicolon; BCG-related sources go at the end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824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4" y="4795605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1632118" y="3414585"/>
            <a:ext cx="804185" cy="65431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2568606" y="3414583"/>
            <a:ext cx="1212923" cy="984504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991" tIns="134985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>
            <a:off x="581540" y="685801"/>
            <a:ext cx="3199989" cy="262078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6996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3355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4" y="4795605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817478" y="2001031"/>
            <a:ext cx="7509600" cy="240077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5717" tIns="205717" rIns="205717" bIns="10285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3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817479" y="1093352"/>
            <a:ext cx="846605" cy="6885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61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499267"/>
              </p:ext>
            </p:extLst>
          </p:nvPr>
        </p:nvGraphicFramePr>
        <p:xfrm>
          <a:off x="1650" y="1240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40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7946170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4" y="4795605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>
          <a:xfrm>
            <a:off x="580292" y="904501"/>
            <a:ext cx="8563708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580292" y="467101"/>
            <a:ext cx="6636921" cy="3531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4597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51435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982"/>
            <a:ext cx="6041722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5" rIns="91430" bIns="45715" rtlCol="0" anchor="t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38" y="2011500"/>
            <a:ext cx="2282954" cy="11232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0555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632114" y="3414585"/>
            <a:ext cx="804185" cy="654317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45454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2568604" y="3414583"/>
            <a:ext cx="1212923" cy="984504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991" tIns="134985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45454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6"/>
            </p:custDataLst>
          </p:nvPr>
        </p:nvSpPr>
        <p:spPr>
          <a:xfrm>
            <a:off x="581537" y="685801"/>
            <a:ext cx="3199989" cy="262078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6996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0" i="0" u="none" strike="noStrike" kern="1200" cap="none" spc="0" normalizeH="0" baseline="0" noProof="0">
                <a:ln>
                  <a:noFill/>
                </a:ln>
                <a:solidFill>
                  <a:srgbClr val="4E98C6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4516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817475" y="2001031"/>
            <a:ext cx="7509600" cy="240077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5717" tIns="205717" rIns="205717" bIns="10285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300" b="0" i="0" u="none" strike="noStrike" kern="1200" cap="none" spc="0" normalizeH="0" baseline="0" noProof="0" dirty="0">
              <a:ln>
                <a:noFill/>
              </a:ln>
              <a:solidFill>
                <a:srgbClr val="4E98C6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817476" y="1093352"/>
            <a:ext cx="846605" cy="6885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2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45454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854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580292" y="904499"/>
            <a:ext cx="8563708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580292" y="467100"/>
            <a:ext cx="6636921" cy="3531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E98C6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5081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51435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2245669" y="-982"/>
            <a:ext cx="6898333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175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2695777"/>
            <a:ext cx="1260231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1" y="1"/>
            <a:ext cx="3099185" cy="5144483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/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2033463"/>
            <a:ext cx="2053662" cy="10765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75534" y="3840147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7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M Modernization-11Sep2019.pptx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0388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>
            <a:extLst>
              <a:ext uri="{FF2B5EF4-FFF2-40B4-BE49-F238E27FC236}">
                <a16:creationId xmlns:a16="http://schemas.microsoft.com/office/drawing/2014/main" xmlns="" id="{017BE7DF-E067-42BE-86C9-5E49A33A0BAF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6" y="342899"/>
            <a:ext cx="4507059" cy="2853987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72" tIns="34286" rIns="68572" bIns="3428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8F5BDD25-228C-421A-BA27-E07AC1CA18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7" y="1107448"/>
            <a:ext cx="3813414" cy="645300"/>
          </a:xfrm>
        </p:spPr>
        <p:txBody>
          <a:bodyPr/>
          <a:lstStyle>
            <a:lvl1pPr>
              <a:defRPr sz="22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7BD2205D-98B4-4946-A01D-362BEB8CC2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8" y="1817149"/>
            <a:ext cx="3813414" cy="484307"/>
          </a:xfrm>
        </p:spPr>
        <p:txBody>
          <a:bodyPr/>
          <a:lstStyle>
            <a:lvl1pPr marL="0" marR="0" indent="0" algn="l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404040"/>
                </a:solidFill>
              </a:defRPr>
            </a:lvl2pPr>
            <a:lvl3pPr marL="68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200" dirty="0"/>
              <a:t>Subtitle (EY Interstate 16 point)</a:t>
            </a:r>
          </a:p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200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xmlns="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90" y="4005263"/>
            <a:ext cx="987425" cy="867966"/>
            <a:chOff x="4857" y="3364"/>
            <a:chExt cx="622" cy="729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xmlns="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xmlns="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xmlns="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913232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9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51B4C43-E5F8-400E-A971-58A3766B1BF0}"/>
              </a:ext>
            </a:extLst>
          </p:cNvPr>
          <p:cNvSpPr txBox="1"/>
          <p:nvPr/>
        </p:nvSpPr>
        <p:spPr>
          <a:xfrm>
            <a:off x="346310" y="4203902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82829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xmlns="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9" y="4514392"/>
            <a:ext cx="2315750" cy="135000"/>
          </a:xfrm>
        </p:spPr>
        <p:txBody>
          <a:bodyPr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xmlns="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9" y="4662605"/>
            <a:ext cx="2315750" cy="135000"/>
          </a:xfrm>
        </p:spPr>
        <p:txBody>
          <a:bodyPr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6" y="342899"/>
            <a:ext cx="4507059" cy="2853987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72" tIns="34286" rIns="68572" bIns="3428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7" y="1107448"/>
            <a:ext cx="3813414" cy="645300"/>
          </a:xfrm>
        </p:spPr>
        <p:txBody>
          <a:bodyPr/>
          <a:lstStyle>
            <a:lvl1pPr>
              <a:defRPr sz="22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8" y="1817149"/>
            <a:ext cx="3813414" cy="484307"/>
          </a:xfrm>
        </p:spPr>
        <p:txBody>
          <a:bodyPr/>
          <a:lstStyle>
            <a:lvl1pPr marL="0" marR="0" indent="0" algn="l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404040"/>
                </a:solidFill>
              </a:defRPr>
            </a:lvl2pPr>
            <a:lvl3pPr marL="68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200" dirty="0"/>
              <a:t>Subtitle (EY Interstate 16 point)</a:t>
            </a:r>
          </a:p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20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xmlns="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90" y="4005263"/>
            <a:ext cx="987425" cy="867966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xmlns="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xmlns="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xmlns="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xmlns="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4435982"/>
            <a:ext cx="576000" cy="432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162239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9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51B4C43-E5F8-400E-A971-58A3766B1BF0}"/>
              </a:ext>
            </a:extLst>
          </p:cNvPr>
          <p:cNvSpPr txBox="1"/>
          <p:nvPr/>
        </p:nvSpPr>
        <p:spPr>
          <a:xfrm>
            <a:off x="346310" y="4203902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82829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xmlns="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4514392"/>
            <a:ext cx="2315750" cy="135000"/>
          </a:xfrm>
        </p:spPr>
        <p:txBody>
          <a:bodyPr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xmlns="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4662605"/>
            <a:ext cx="2315750" cy="135000"/>
          </a:xfrm>
        </p:spPr>
        <p:txBody>
          <a:bodyPr/>
          <a:lstStyle>
            <a:lvl1pPr marL="0" indent="0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xmlns="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6" y="342899"/>
            <a:ext cx="4507059" cy="2853987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72" tIns="34286" rIns="68572" bIns="3428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7" y="1107448"/>
            <a:ext cx="3813414" cy="645300"/>
          </a:xfrm>
        </p:spPr>
        <p:txBody>
          <a:bodyPr/>
          <a:lstStyle>
            <a:lvl1pPr>
              <a:defRPr sz="22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xmlns="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8" y="1817149"/>
            <a:ext cx="3813414" cy="484307"/>
          </a:xfrm>
        </p:spPr>
        <p:txBody>
          <a:bodyPr/>
          <a:lstStyle>
            <a:lvl1pPr marL="0" marR="0" indent="0" algn="l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404040"/>
                </a:solidFill>
              </a:defRPr>
            </a:lvl2pPr>
            <a:lvl3pPr marL="68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200" dirty="0"/>
              <a:t>Subtitle (EY Interstate 16 point)</a:t>
            </a:r>
          </a:p>
          <a:p>
            <a:pPr marL="0" marR="0" lvl="0" indent="0" algn="l" defTabSz="6857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200" dirty="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xmlns="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90" y="4005263"/>
            <a:ext cx="987425" cy="867966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xmlns="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xmlns="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xmlns="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313759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83.xml"/><Relationship Id="rId7" Type="http://schemas.openxmlformats.org/officeDocument/2006/relationships/slideLayout" Target="../slideLayouts/slideLayout11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oleObject" Target="../embeddings/oleObject8.bin"/><Relationship Id="rId10" Type="http://schemas.openxmlformats.org/officeDocument/2006/relationships/vmlDrawing" Target="../drawings/vmlDrawing6.vml"/><Relationship Id="rId19" Type="http://schemas.openxmlformats.org/officeDocument/2006/relationships/tags" Target="../tags/tag81.xml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2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18" Type="http://schemas.openxmlformats.org/officeDocument/2006/relationships/tags" Target="../tags/tag125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128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17" Type="http://schemas.openxmlformats.org/officeDocument/2006/relationships/tags" Target="../tags/tag12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23.xml"/><Relationship Id="rId20" Type="http://schemas.openxmlformats.org/officeDocument/2006/relationships/tags" Target="../tags/tag127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5.vml"/><Relationship Id="rId11" Type="http://schemas.openxmlformats.org/officeDocument/2006/relationships/tags" Target="../tags/tag118.xml"/><Relationship Id="rId24" Type="http://schemas.openxmlformats.org/officeDocument/2006/relationships/oleObject" Target="../embeddings/oleObject18.bin"/><Relationship Id="rId5" Type="http://schemas.openxmlformats.org/officeDocument/2006/relationships/theme" Target="../theme/theme3.xml"/><Relationship Id="rId15" Type="http://schemas.openxmlformats.org/officeDocument/2006/relationships/tags" Target="../tags/tag122.xml"/><Relationship Id="rId23" Type="http://schemas.openxmlformats.org/officeDocument/2006/relationships/tags" Target="../tags/tag130.xml"/><Relationship Id="rId10" Type="http://schemas.openxmlformats.org/officeDocument/2006/relationships/tags" Target="../tags/tag117.xml"/><Relationship Id="rId19" Type="http://schemas.openxmlformats.org/officeDocument/2006/relationships/tags" Target="../tags/tag126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116.xml"/><Relationship Id="rId14" Type="http://schemas.openxmlformats.org/officeDocument/2006/relationships/tags" Target="../tags/tag121.xml"/><Relationship Id="rId22" Type="http://schemas.openxmlformats.org/officeDocument/2006/relationships/tags" Target="../tags/tag1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9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52.xml"/><Relationship Id="rId34" Type="http://schemas.openxmlformats.org/officeDocument/2006/relationships/slideLayout" Target="../slideLayouts/slideLayout65.xml"/><Relationship Id="rId42" Type="http://schemas.openxmlformats.org/officeDocument/2006/relationships/slideLayout" Target="../slideLayouts/slideLayout73.xml"/><Relationship Id="rId47" Type="http://schemas.openxmlformats.org/officeDocument/2006/relationships/slideLayout" Target="../slideLayouts/slideLayout78.xml"/><Relationship Id="rId50" Type="http://schemas.openxmlformats.org/officeDocument/2006/relationships/slideLayout" Target="../slideLayouts/slideLayout81.xml"/><Relationship Id="rId55" Type="http://schemas.openxmlformats.org/officeDocument/2006/relationships/slideLayout" Target="../slideLayouts/slideLayout86.xml"/><Relationship Id="rId63" Type="http://schemas.openxmlformats.org/officeDocument/2006/relationships/slideLayout" Target="../slideLayouts/slideLayout94.xml"/><Relationship Id="rId68" Type="http://schemas.openxmlformats.org/officeDocument/2006/relationships/tags" Target="../tags/tag189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37" Type="http://schemas.openxmlformats.org/officeDocument/2006/relationships/slideLayout" Target="../slideLayouts/slideLayout68.xml"/><Relationship Id="rId40" Type="http://schemas.openxmlformats.org/officeDocument/2006/relationships/slideLayout" Target="../slideLayouts/slideLayout71.xml"/><Relationship Id="rId45" Type="http://schemas.openxmlformats.org/officeDocument/2006/relationships/slideLayout" Target="../slideLayouts/slideLayout76.xml"/><Relationship Id="rId53" Type="http://schemas.openxmlformats.org/officeDocument/2006/relationships/slideLayout" Target="../slideLayouts/slideLayout84.xml"/><Relationship Id="rId58" Type="http://schemas.openxmlformats.org/officeDocument/2006/relationships/slideLayout" Target="../slideLayouts/slideLayout89.xml"/><Relationship Id="rId66" Type="http://schemas.openxmlformats.org/officeDocument/2006/relationships/theme" Target="../theme/theme5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slideLayout" Target="../slideLayouts/slideLayout67.xml"/><Relationship Id="rId49" Type="http://schemas.openxmlformats.org/officeDocument/2006/relationships/slideLayout" Target="../slideLayouts/slideLayout80.xml"/><Relationship Id="rId57" Type="http://schemas.openxmlformats.org/officeDocument/2006/relationships/slideLayout" Target="../slideLayouts/slideLayout88.xml"/><Relationship Id="rId61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4" Type="http://schemas.openxmlformats.org/officeDocument/2006/relationships/slideLayout" Target="../slideLayouts/slideLayout75.xml"/><Relationship Id="rId52" Type="http://schemas.openxmlformats.org/officeDocument/2006/relationships/slideLayout" Target="../slideLayouts/slideLayout83.xml"/><Relationship Id="rId60" Type="http://schemas.openxmlformats.org/officeDocument/2006/relationships/slideLayout" Target="../slideLayouts/slideLayout91.xml"/><Relationship Id="rId65" Type="http://schemas.openxmlformats.org/officeDocument/2006/relationships/slideLayout" Target="../slideLayouts/slideLayout96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slideLayout" Target="../slideLayouts/slideLayout66.xml"/><Relationship Id="rId43" Type="http://schemas.openxmlformats.org/officeDocument/2006/relationships/slideLayout" Target="../slideLayouts/slideLayout74.xml"/><Relationship Id="rId48" Type="http://schemas.openxmlformats.org/officeDocument/2006/relationships/slideLayout" Target="../slideLayouts/slideLayout79.xml"/><Relationship Id="rId56" Type="http://schemas.openxmlformats.org/officeDocument/2006/relationships/slideLayout" Target="../slideLayouts/slideLayout87.xml"/><Relationship Id="rId64" Type="http://schemas.openxmlformats.org/officeDocument/2006/relationships/slideLayout" Target="../slideLayouts/slideLayout95.xml"/><Relationship Id="rId69" Type="http://schemas.openxmlformats.org/officeDocument/2006/relationships/oleObject" Target="../embeddings/oleObject26.bin"/><Relationship Id="rId8" Type="http://schemas.openxmlformats.org/officeDocument/2006/relationships/slideLayout" Target="../slideLayouts/slideLayout39.xml"/><Relationship Id="rId51" Type="http://schemas.openxmlformats.org/officeDocument/2006/relationships/slideLayout" Target="../slideLayouts/slideLayout82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38" Type="http://schemas.openxmlformats.org/officeDocument/2006/relationships/slideLayout" Target="../slideLayouts/slideLayout69.xml"/><Relationship Id="rId46" Type="http://schemas.openxmlformats.org/officeDocument/2006/relationships/slideLayout" Target="../slideLayouts/slideLayout77.xml"/><Relationship Id="rId59" Type="http://schemas.openxmlformats.org/officeDocument/2006/relationships/slideLayout" Target="../slideLayouts/slideLayout90.xml"/><Relationship Id="rId67" Type="http://schemas.openxmlformats.org/officeDocument/2006/relationships/vmlDrawing" Target="../drawings/vmlDrawing21.vml"/><Relationship Id="rId20" Type="http://schemas.openxmlformats.org/officeDocument/2006/relationships/slideLayout" Target="../slideLayouts/slideLayout51.xml"/><Relationship Id="rId41" Type="http://schemas.openxmlformats.org/officeDocument/2006/relationships/slideLayout" Target="../slideLayouts/slideLayout72.xml"/><Relationship Id="rId54" Type="http://schemas.openxmlformats.org/officeDocument/2006/relationships/slideLayout" Target="../slideLayouts/slideLayout85.xml"/><Relationship Id="rId62" Type="http://schemas.openxmlformats.org/officeDocument/2006/relationships/slideLayout" Target="../slideLayouts/slideLayout93.xml"/><Relationship Id="rId70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theme" Target="../theme/theme6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image" Target="../media/image18.emf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oleObject" Target="../embeddings/oleObject37.bin"/><Relationship Id="rId5" Type="http://schemas.openxmlformats.org/officeDocument/2006/relationships/slideLayout" Target="../slideLayouts/slideLayout133.xml"/><Relationship Id="rId10" Type="http://schemas.openxmlformats.org/officeDocument/2006/relationships/tags" Target="../tags/tag271.xml"/><Relationship Id="rId4" Type="http://schemas.openxmlformats.org/officeDocument/2006/relationships/slideLayout" Target="../slideLayouts/slideLayout132.xml"/><Relationship Id="rId9" Type="http://schemas.openxmlformats.org/officeDocument/2006/relationships/vmlDrawing" Target="../drawings/vmlDrawing32.v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9" Type="http://schemas.openxmlformats.org/officeDocument/2006/relationships/slideLayout" Target="../slideLayouts/slideLayout174.xml"/><Relationship Id="rId21" Type="http://schemas.openxmlformats.org/officeDocument/2006/relationships/slideLayout" Target="../slideLayouts/slideLayout156.xml"/><Relationship Id="rId34" Type="http://schemas.openxmlformats.org/officeDocument/2006/relationships/slideLayout" Target="../slideLayouts/slideLayout169.xml"/><Relationship Id="rId42" Type="http://schemas.openxmlformats.org/officeDocument/2006/relationships/slideLayout" Target="../slideLayouts/slideLayout177.xml"/><Relationship Id="rId47" Type="http://schemas.openxmlformats.org/officeDocument/2006/relationships/slideLayout" Target="../slideLayouts/slideLayout182.xml"/><Relationship Id="rId50" Type="http://schemas.openxmlformats.org/officeDocument/2006/relationships/slideLayout" Target="../slideLayouts/slideLayout185.xml"/><Relationship Id="rId55" Type="http://schemas.openxmlformats.org/officeDocument/2006/relationships/slideLayout" Target="../slideLayouts/slideLayout190.xml"/><Relationship Id="rId63" Type="http://schemas.openxmlformats.org/officeDocument/2006/relationships/slideLayout" Target="../slideLayouts/slideLayout198.xml"/><Relationship Id="rId68" Type="http://schemas.openxmlformats.org/officeDocument/2006/relationships/tags" Target="../tags/tag275.xml"/><Relationship Id="rId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9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37" Type="http://schemas.openxmlformats.org/officeDocument/2006/relationships/slideLayout" Target="../slideLayouts/slideLayout172.xml"/><Relationship Id="rId40" Type="http://schemas.openxmlformats.org/officeDocument/2006/relationships/slideLayout" Target="../slideLayouts/slideLayout175.xml"/><Relationship Id="rId45" Type="http://schemas.openxmlformats.org/officeDocument/2006/relationships/slideLayout" Target="../slideLayouts/slideLayout180.xml"/><Relationship Id="rId53" Type="http://schemas.openxmlformats.org/officeDocument/2006/relationships/slideLayout" Target="../slideLayouts/slideLayout188.xml"/><Relationship Id="rId58" Type="http://schemas.openxmlformats.org/officeDocument/2006/relationships/slideLayout" Target="../slideLayouts/slideLayout193.xml"/><Relationship Id="rId66" Type="http://schemas.openxmlformats.org/officeDocument/2006/relationships/theme" Target="../theme/theme8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36" Type="http://schemas.openxmlformats.org/officeDocument/2006/relationships/slideLayout" Target="../slideLayouts/slideLayout171.xml"/><Relationship Id="rId49" Type="http://schemas.openxmlformats.org/officeDocument/2006/relationships/slideLayout" Target="../slideLayouts/slideLayout184.xml"/><Relationship Id="rId57" Type="http://schemas.openxmlformats.org/officeDocument/2006/relationships/slideLayout" Target="../slideLayouts/slideLayout192.xml"/><Relationship Id="rId61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66.xml"/><Relationship Id="rId44" Type="http://schemas.openxmlformats.org/officeDocument/2006/relationships/slideLayout" Target="../slideLayouts/slideLayout179.xml"/><Relationship Id="rId52" Type="http://schemas.openxmlformats.org/officeDocument/2006/relationships/slideLayout" Target="../slideLayouts/slideLayout187.xml"/><Relationship Id="rId60" Type="http://schemas.openxmlformats.org/officeDocument/2006/relationships/slideLayout" Target="../slideLayouts/slideLayout195.xml"/><Relationship Id="rId65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slideLayout" Target="../slideLayouts/slideLayout170.xml"/><Relationship Id="rId43" Type="http://schemas.openxmlformats.org/officeDocument/2006/relationships/slideLayout" Target="../slideLayouts/slideLayout178.xml"/><Relationship Id="rId48" Type="http://schemas.openxmlformats.org/officeDocument/2006/relationships/slideLayout" Target="../slideLayouts/slideLayout183.xml"/><Relationship Id="rId56" Type="http://schemas.openxmlformats.org/officeDocument/2006/relationships/slideLayout" Target="../slideLayouts/slideLayout191.xml"/><Relationship Id="rId64" Type="http://schemas.openxmlformats.org/officeDocument/2006/relationships/slideLayout" Target="../slideLayouts/slideLayout199.xml"/><Relationship Id="rId69" Type="http://schemas.openxmlformats.org/officeDocument/2006/relationships/oleObject" Target="../embeddings/oleObject41.bin"/><Relationship Id="rId8" Type="http://schemas.openxmlformats.org/officeDocument/2006/relationships/slideLayout" Target="../slideLayouts/slideLayout143.xml"/><Relationship Id="rId51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38" Type="http://schemas.openxmlformats.org/officeDocument/2006/relationships/slideLayout" Target="../slideLayouts/slideLayout173.xml"/><Relationship Id="rId46" Type="http://schemas.openxmlformats.org/officeDocument/2006/relationships/slideLayout" Target="../slideLayouts/slideLayout181.xml"/><Relationship Id="rId59" Type="http://schemas.openxmlformats.org/officeDocument/2006/relationships/slideLayout" Target="../slideLayouts/slideLayout194.xml"/><Relationship Id="rId67" Type="http://schemas.openxmlformats.org/officeDocument/2006/relationships/vmlDrawing" Target="../drawings/vmlDrawing36.vml"/><Relationship Id="rId20" Type="http://schemas.openxmlformats.org/officeDocument/2006/relationships/slideLayout" Target="../slideLayouts/slideLayout155.xml"/><Relationship Id="rId41" Type="http://schemas.openxmlformats.org/officeDocument/2006/relationships/slideLayout" Target="../slideLayouts/slideLayout176.xml"/><Relationship Id="rId54" Type="http://schemas.openxmlformats.org/officeDocument/2006/relationships/slideLayout" Target="../slideLayouts/slideLayout189.xml"/><Relationship Id="rId62" Type="http://schemas.openxmlformats.org/officeDocument/2006/relationships/slideLayout" Target="../slideLayouts/slideLayout197.xml"/><Relationship Id="rId70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3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9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2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3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14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2238" y="176215"/>
            <a:ext cx="879316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2243" y="5834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2238" y="425059"/>
            <a:ext cx="87931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6151" name="Slide Elements" hidden="1"/>
          <p:cNvGrpSpPr>
            <a:grpSpLocks/>
          </p:cNvGrpSpPr>
          <p:nvPr/>
        </p:nvGrpSpPr>
        <p:grpSpPr bwMode="auto">
          <a:xfrm>
            <a:off x="122238" y="4797751"/>
            <a:ext cx="8793162" cy="276701"/>
            <a:chOff x="119063" y="6269509"/>
            <a:chExt cx="8618537" cy="361874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9509"/>
              <a:ext cx="8618537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6202" name="5. Source"/>
            <p:cNvSpPr>
              <a:spLocks noChangeArrowheads="1"/>
            </p:cNvSpPr>
            <p:nvPr/>
          </p:nvSpPr>
          <p:spPr bwMode="gray">
            <a:xfrm>
              <a:off x="119063" y="6470376"/>
              <a:ext cx="7200000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643" indent="-620643" defTabSz="912709" fontAlgn="base">
                <a:spcBef>
                  <a:spcPct val="0"/>
                </a:spcBef>
                <a:spcAft>
                  <a:spcPct val="0"/>
                </a:spcAft>
                <a:tabLst>
                  <a:tab pos="623817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615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725" y="1493044"/>
            <a:ext cx="4389438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153" name="ACET" hidden="1"/>
          <p:cNvGrpSpPr>
            <a:grpSpLocks/>
          </p:cNvGrpSpPr>
          <p:nvPr/>
        </p:nvGrpSpPr>
        <p:grpSpPr bwMode="auto">
          <a:xfrm>
            <a:off x="1482727" y="840363"/>
            <a:ext cx="4349750" cy="511002"/>
            <a:chOff x="915" y="610"/>
            <a:chExt cx="2686" cy="420"/>
          </a:xfrm>
        </p:grpSpPr>
        <p:cxnSp>
          <p:nvCxnSpPr>
            <p:cNvPr id="16" name="AutoShape 249"/>
            <p:cNvCxnSpPr>
              <a:cxnSpLocks noChangeShapeType="1"/>
              <a:stCxn id="6200" idx="4"/>
              <a:endCxn id="620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00" name="AutoShape 250"/>
            <p:cNvSpPr>
              <a:spLocks noChangeArrowheads="1"/>
            </p:cNvSpPr>
            <p:nvPr/>
          </p:nvSpPr>
          <p:spPr bwMode="gray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6154" name="McKSticker" hidden="1"/>
          <p:cNvGrpSpPr>
            <a:grpSpLocks/>
          </p:cNvGrpSpPr>
          <p:nvPr/>
        </p:nvGrpSpPr>
        <p:grpSpPr bwMode="auto">
          <a:xfrm>
            <a:off x="8442087" y="219081"/>
            <a:ext cx="473335" cy="150811"/>
            <a:chOff x="8276527" y="285750"/>
            <a:chExt cx="464248" cy="196934"/>
          </a:xfrm>
        </p:grpSpPr>
        <p:sp>
          <p:nvSpPr>
            <p:cNvPr id="6196" name="StickerRectangle"/>
            <p:cNvSpPr>
              <a:spLocks noChangeArrowheads="1"/>
            </p:cNvSpPr>
            <p:nvPr/>
          </p:nvSpPr>
          <p:spPr bwMode="gray">
            <a:xfrm>
              <a:off x="8276527" y="285750"/>
              <a:ext cx="464248" cy="196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6196" idx="2"/>
              <a:endCxn id="6196" idx="4"/>
            </p:cNvCxnSpPr>
            <p:nvPr/>
          </p:nvCxnSpPr>
          <p:spPr bwMode="gray">
            <a:xfrm>
              <a:off x="8276527" y="285750"/>
              <a:ext cx="0" cy="19693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6196" idx="4"/>
              <a:endCxn id="6196" idx="6"/>
            </p:cNvCxnSpPr>
            <p:nvPr/>
          </p:nvCxnSpPr>
          <p:spPr bwMode="gray">
            <a:xfrm>
              <a:off x="8276527" y="482684"/>
              <a:ext cx="46424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8609016" y="4730354"/>
            <a:ext cx="47625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5" tIns="46643" rIns="93285" bIns="4664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6156" name="LegendBoxes" hidden="1"/>
          <p:cNvGrpSpPr>
            <a:grpSpLocks/>
          </p:cNvGrpSpPr>
          <p:nvPr/>
        </p:nvGrpSpPr>
        <p:grpSpPr bwMode="auto">
          <a:xfrm>
            <a:off x="8070829" y="214315"/>
            <a:ext cx="768450" cy="806562"/>
            <a:chOff x="7835905" y="279400"/>
            <a:chExt cx="754502" cy="1054154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92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3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4" name="Legend3"/>
            <p:cNvSpPr>
              <a:spLocks noChangeArrowheads="1"/>
            </p:cNvSpPr>
            <p:nvPr/>
          </p:nvSpPr>
          <p:spPr bwMode="gray">
            <a:xfrm>
              <a:off x="8089905" y="820739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5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7" name="LegendLines" hidden="1"/>
          <p:cNvGrpSpPr>
            <a:grpSpLocks/>
          </p:cNvGrpSpPr>
          <p:nvPr/>
        </p:nvGrpSpPr>
        <p:grpSpPr bwMode="auto">
          <a:xfrm>
            <a:off x="7756522" y="214314"/>
            <a:ext cx="1082553" cy="602255"/>
            <a:chOff x="7540629" y="279400"/>
            <a:chExt cx="1062098" cy="78759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85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6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7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8" name="LegendMoons" hidden="1"/>
          <p:cNvGrpSpPr>
            <a:grpSpLocks/>
          </p:cNvGrpSpPr>
          <p:nvPr/>
        </p:nvGrpSpPr>
        <p:grpSpPr bwMode="auto">
          <a:xfrm>
            <a:off x="8002596" y="191691"/>
            <a:ext cx="836496" cy="1034104"/>
            <a:chOff x="7769225" y="250825"/>
            <a:chExt cx="820966" cy="1350905"/>
          </a:xfrm>
        </p:grpSpPr>
        <p:grpSp>
          <p:nvGrpSpPr>
            <p:cNvPr id="6162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3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4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5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6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616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9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0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1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0291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6159" name="Working Draft" hidden="1"/>
          <p:cNvSpPr txBox="1">
            <a:spLocks noChangeArrowheads="1"/>
          </p:cNvSpPr>
          <p:nvPr/>
        </p:nvSpPr>
        <p:spPr bwMode="auto">
          <a:xfrm rot="5400000">
            <a:off x="8108157" y="1875110"/>
            <a:ext cx="194310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160" name="Printed" hidden="1"/>
          <p:cNvSpPr txBox="1">
            <a:spLocks noChangeArrowheads="1"/>
          </p:cNvSpPr>
          <p:nvPr/>
        </p:nvSpPr>
        <p:spPr bwMode="auto">
          <a:xfrm rot="5400000">
            <a:off x="8593138" y="3286269"/>
            <a:ext cx="971550" cy="37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8812282" y="4938564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7278345-CA79-463A-A6A4-E0F8DDFC3A41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048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ftr="0" dt="0"/>
  <p:txStyles>
    <p:titleStyle>
      <a:lvl1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Arial" charset="0"/>
        </a:defRPr>
      </a:lvl2pPr>
      <a:lvl3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Arial" charset="0"/>
        </a:defRPr>
      </a:lvl3pPr>
      <a:lvl4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Arial" charset="0"/>
        </a:defRPr>
      </a:lvl4pPr>
      <a:lvl5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Arial" charset="0"/>
        </a:defRPr>
      </a:lvl5pPr>
      <a:lvl6pPr marL="466428" algn="l" defTabSz="91342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56" algn="l" defTabSz="91342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83" algn="l" defTabSz="91342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13" algn="l" defTabSz="91342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100000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96828" indent="-195241"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n-lt"/>
        </a:defRPr>
      </a:lvl2pPr>
      <a:lvl3pPr marL="465085" indent="-266670"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n-lt"/>
        </a:defRPr>
      </a:lvl3pPr>
      <a:lvl4pPr marL="625404" indent="-157145"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n-lt"/>
        </a:defRPr>
      </a:lvl4pPr>
      <a:lvl5pPr marL="763501" indent="-131748"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5pPr>
      <a:lvl6pPr marL="764942" indent="-132803" algn="l" defTabSz="9134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2" indent="-132803" algn="l" defTabSz="9134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2" indent="-132803" algn="l" defTabSz="9134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2" indent="-132803" algn="l" defTabSz="9134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28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56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83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13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41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69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96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24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886216"/>
              </p:ext>
            </p:extLst>
          </p:nvPr>
        </p:nvGraphicFramePr>
        <p:xfrm>
          <a:off x="1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92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1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178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518" y="176149"/>
            <a:ext cx="8794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6" y="57979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1780" fontAlgn="base">
              <a:spcBef>
                <a:spcPct val="0"/>
              </a:spcBef>
              <a:spcAft>
                <a:spcPct val="0"/>
              </a:spcAft>
            </a:pPr>
            <a:r>
              <a:rPr lang="en-US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518" y="424607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21518" y="4797163"/>
            <a:ext cx="8794113" cy="277392"/>
            <a:chOff x="119063" y="6268889"/>
            <a:chExt cx="8618537" cy="362494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8889"/>
              <a:ext cx="8618537" cy="1608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70502"/>
              <a:ext cx="7200000" cy="1608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193" indent="-620193" defTabSz="910906" fontAlgn="base">
                <a:spcBef>
                  <a:spcPct val="0"/>
                </a:spcBef>
                <a:spcAft>
                  <a:spcPct val="0"/>
                </a:spcAft>
                <a:tabLst>
                  <a:tab pos="623422" algn="l"/>
                </a:tabLst>
              </a:pPr>
              <a:r>
                <a:rPr lang="en-US" sz="800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60" y="1493262"/>
            <a:ext cx="4389768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ACET" hidden="1"/>
          <p:cNvGrpSpPr>
            <a:grpSpLocks/>
          </p:cNvGrpSpPr>
          <p:nvPr/>
        </p:nvGrpSpPr>
        <p:grpSpPr bwMode="gray">
          <a:xfrm>
            <a:off x="1482165" y="839782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9" name="McKSticker" hidden="1"/>
          <p:cNvGrpSpPr/>
          <p:nvPr/>
        </p:nvGrpSpPr>
        <p:grpSpPr bwMode="gray">
          <a:xfrm>
            <a:off x="8442320" y="218683"/>
            <a:ext cx="473335" cy="150811"/>
            <a:chOff x="8276891" y="285750"/>
            <a:chExt cx="463884" cy="19707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6891" y="285750"/>
              <a:ext cx="463884" cy="1970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6891" y="285750"/>
              <a:ext cx="0" cy="19707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6891" y="482829"/>
              <a:ext cx="46388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 userDrawn="1"/>
        </p:nvSpPr>
        <p:spPr>
          <a:xfrm>
            <a:off x="8609437" y="4730768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025" tIns="46516" rIns="93025" bIns="46516" rtlCol="0" anchor="ctr"/>
          <a:lstStyle/>
          <a:p>
            <a:pPr algn="ctr" defTabSz="91178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2" name="LegendBoxes" hidden="1"/>
          <p:cNvGrpSpPr/>
          <p:nvPr userDrawn="1"/>
        </p:nvGrpSpPr>
        <p:grpSpPr bwMode="gray">
          <a:xfrm>
            <a:off x="8070152" y="213827"/>
            <a:ext cx="768929" cy="806648"/>
            <a:chOff x="7835905" y="279400"/>
            <a:chExt cx="753578" cy="105412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9957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49957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9957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49957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5" name="LegendLines" hidden="1"/>
          <p:cNvGrpSpPr/>
          <p:nvPr userDrawn="1"/>
        </p:nvGrpSpPr>
        <p:grpSpPr bwMode="gray">
          <a:xfrm>
            <a:off x="7756105" y="213806"/>
            <a:ext cx="1083178" cy="602562"/>
            <a:chOff x="7540629" y="279400"/>
            <a:chExt cx="1061554" cy="78742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178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99579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99579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99579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7" name="LegendMoons" hidden="1"/>
          <p:cNvGrpSpPr/>
          <p:nvPr userDrawn="1"/>
        </p:nvGrpSpPr>
        <p:grpSpPr bwMode="gray">
          <a:xfrm>
            <a:off x="8002157" y="191940"/>
            <a:ext cx="836963" cy="1033820"/>
            <a:chOff x="7769225" y="250825"/>
            <a:chExt cx="820254" cy="1350984"/>
          </a:xfrm>
        </p:grpSpPr>
        <p:grpSp>
          <p:nvGrpSpPr>
            <p:cNvPr id="24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7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499579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99579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99579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99579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99579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9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" name="Working Draft" hidden="1"/>
          <p:cNvSpPr txBox="1"/>
          <p:nvPr userDrawn="1"/>
        </p:nvSpPr>
        <p:spPr>
          <a:xfrm rot="5400000">
            <a:off x="8107359" y="1875050"/>
            <a:ext cx="1943694" cy="278606"/>
          </a:xfrm>
          <a:prstGeom prst="rect">
            <a:avLst/>
          </a:prstGeom>
          <a:noFill/>
        </p:spPr>
        <p:txBody>
          <a:bodyPr vert="horz" lIns="93025" tIns="46516" rIns="93025" bIns="46516" rtlCol="0">
            <a:spAutoFit/>
          </a:bodyPr>
          <a:lstStyle/>
          <a:p>
            <a:pPr defTabSz="911780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</a:rPr>
              <a:t>Last Modified 13.06.2017 14:55 Central Asia Standard Time</a:t>
            </a:r>
            <a:endParaRPr lang="ru-RU" sz="600">
              <a:solidFill>
                <a:srgbClr val="808080"/>
              </a:solidFill>
            </a:endParaRPr>
          </a:p>
        </p:txBody>
      </p:sp>
      <p:sp>
        <p:nvSpPr>
          <p:cNvPr id="7" name="Printed" hidden="1"/>
          <p:cNvSpPr txBox="1"/>
          <p:nvPr userDrawn="1"/>
        </p:nvSpPr>
        <p:spPr>
          <a:xfrm rot="5400000">
            <a:off x="8593284" y="3286657"/>
            <a:ext cx="971847" cy="370939"/>
          </a:xfrm>
          <a:prstGeom prst="rect">
            <a:avLst/>
          </a:prstGeom>
          <a:noFill/>
        </p:spPr>
        <p:txBody>
          <a:bodyPr vert="horz" lIns="93025" tIns="46516" rIns="93025" bIns="46516" rtlCol="0">
            <a:spAutoFit/>
          </a:bodyPr>
          <a:lstStyle/>
          <a:p>
            <a:pPr defTabSz="911780"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8811964" y="493804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1780"/>
            <a:fld id="{42C328C1-A84F-4A39-A664-DBA00541A8C6}" type="slidenum">
              <a:rPr>
                <a:solidFill>
                  <a:srgbClr val="808080"/>
                </a:solidFill>
              </a:rPr>
              <a:pPr defTabSz="911780"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747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</p:sldLayoutIdLst>
  <p:hf hdr="0" ftr="0" dt="0"/>
  <p:txStyles>
    <p:titleStyle>
      <a:lvl1pPr algn="l" defTabSz="910906" rtl="0" eaLnBrk="1" fontAlgn="base" hangingPunct="1">
        <a:spcBef>
          <a:spcPct val="0"/>
        </a:spcBef>
        <a:spcAft>
          <a:spcPct val="0"/>
        </a:spcAft>
        <a:tabLst>
          <a:tab pos="274564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09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9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9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9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128" algn="l" defTabSz="9109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0287" algn="l" defTabSz="9109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5434" algn="l" defTabSz="9109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0574" algn="l" defTabSz="9109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041" indent="-195427" algn="l" defTabSz="910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65128" indent="-266490" algn="l" defTabSz="910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5039" indent="-158282" algn="l" defTabSz="910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62837" indent="-132436" algn="l" defTabSz="910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2837" indent="-132436" algn="l" defTabSz="910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837" indent="-132436" algn="l" defTabSz="910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837" indent="-132436" algn="l" defTabSz="910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837" indent="-132436" algn="l" defTabSz="910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2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128" algn="l" defTabSz="9302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0287" algn="l" defTabSz="9302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434" algn="l" defTabSz="9302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0574" algn="l" defTabSz="9302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5723" algn="l" defTabSz="9302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0866" algn="l" defTabSz="9302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6010" algn="l" defTabSz="9302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1156" algn="l" defTabSz="9302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3" y="3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89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3" y="3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14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2238" y="176215"/>
            <a:ext cx="879316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2241" y="583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2238" y="425056"/>
            <a:ext cx="87931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6151" name="Slide Elements" hidden="1"/>
          <p:cNvGrpSpPr>
            <a:grpSpLocks/>
          </p:cNvGrpSpPr>
          <p:nvPr/>
        </p:nvGrpSpPr>
        <p:grpSpPr bwMode="auto">
          <a:xfrm>
            <a:off x="122238" y="4797748"/>
            <a:ext cx="8793162" cy="276701"/>
            <a:chOff x="119063" y="6269509"/>
            <a:chExt cx="8618537" cy="361874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9509"/>
              <a:ext cx="8618537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6202" name="5. Source"/>
            <p:cNvSpPr>
              <a:spLocks noChangeArrowheads="1"/>
            </p:cNvSpPr>
            <p:nvPr/>
          </p:nvSpPr>
          <p:spPr bwMode="gray">
            <a:xfrm>
              <a:off x="119063" y="6470376"/>
              <a:ext cx="7200000" cy="161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643" indent="-620643" defTabSz="912709" fontAlgn="base">
                <a:spcBef>
                  <a:spcPct val="0"/>
                </a:spcBef>
                <a:spcAft>
                  <a:spcPct val="0"/>
                </a:spcAft>
                <a:tabLst>
                  <a:tab pos="623817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615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725" y="1493044"/>
            <a:ext cx="4389438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153" name="ACET" hidden="1"/>
          <p:cNvGrpSpPr>
            <a:grpSpLocks/>
          </p:cNvGrpSpPr>
          <p:nvPr/>
        </p:nvGrpSpPr>
        <p:grpSpPr bwMode="auto">
          <a:xfrm>
            <a:off x="1482727" y="840360"/>
            <a:ext cx="4349750" cy="511002"/>
            <a:chOff x="915" y="610"/>
            <a:chExt cx="2686" cy="420"/>
          </a:xfrm>
        </p:grpSpPr>
        <p:cxnSp>
          <p:nvCxnSpPr>
            <p:cNvPr id="16" name="AutoShape 249"/>
            <p:cNvCxnSpPr>
              <a:cxnSpLocks noChangeShapeType="1"/>
              <a:stCxn id="6200" idx="4"/>
              <a:endCxn id="620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00" name="AutoShape 250"/>
            <p:cNvSpPr>
              <a:spLocks noChangeArrowheads="1"/>
            </p:cNvSpPr>
            <p:nvPr/>
          </p:nvSpPr>
          <p:spPr bwMode="gray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6154" name="McKSticker" hidden="1"/>
          <p:cNvGrpSpPr>
            <a:grpSpLocks/>
          </p:cNvGrpSpPr>
          <p:nvPr/>
        </p:nvGrpSpPr>
        <p:grpSpPr bwMode="auto">
          <a:xfrm>
            <a:off x="8442063" y="219078"/>
            <a:ext cx="473335" cy="150811"/>
            <a:chOff x="8276527" y="285750"/>
            <a:chExt cx="464248" cy="196934"/>
          </a:xfrm>
        </p:grpSpPr>
        <p:sp>
          <p:nvSpPr>
            <p:cNvPr id="6196" name="StickerRectangle"/>
            <p:cNvSpPr>
              <a:spLocks noChangeArrowheads="1"/>
            </p:cNvSpPr>
            <p:nvPr/>
          </p:nvSpPr>
          <p:spPr bwMode="gray">
            <a:xfrm>
              <a:off x="8276527" y="285750"/>
              <a:ext cx="464248" cy="196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6196" idx="2"/>
              <a:endCxn id="6196" idx="4"/>
            </p:cNvCxnSpPr>
            <p:nvPr/>
          </p:nvCxnSpPr>
          <p:spPr bwMode="gray">
            <a:xfrm>
              <a:off x="8276527" y="285750"/>
              <a:ext cx="0" cy="19693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6196" idx="4"/>
              <a:endCxn id="6196" idx="6"/>
            </p:cNvCxnSpPr>
            <p:nvPr/>
          </p:nvCxnSpPr>
          <p:spPr bwMode="gray">
            <a:xfrm>
              <a:off x="8276527" y="482684"/>
              <a:ext cx="46424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8609015" y="4730354"/>
            <a:ext cx="47625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5" tIns="46643" rIns="93285" bIns="4664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6156" name="LegendBoxes" hidden="1"/>
          <p:cNvGrpSpPr>
            <a:grpSpLocks/>
          </p:cNvGrpSpPr>
          <p:nvPr/>
        </p:nvGrpSpPr>
        <p:grpSpPr bwMode="auto">
          <a:xfrm>
            <a:off x="8070845" y="214315"/>
            <a:ext cx="768451" cy="806562"/>
            <a:chOff x="7835905" y="279400"/>
            <a:chExt cx="754502" cy="1054154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92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3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4" name="Legend3"/>
            <p:cNvSpPr>
              <a:spLocks noChangeArrowheads="1"/>
            </p:cNvSpPr>
            <p:nvPr/>
          </p:nvSpPr>
          <p:spPr bwMode="gray">
            <a:xfrm>
              <a:off x="8089905" y="820739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5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0502" cy="241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7" name="LegendLines" hidden="1"/>
          <p:cNvGrpSpPr>
            <a:grpSpLocks/>
          </p:cNvGrpSpPr>
          <p:nvPr/>
        </p:nvGrpSpPr>
        <p:grpSpPr bwMode="auto">
          <a:xfrm>
            <a:off x="7756525" y="214314"/>
            <a:ext cx="1082553" cy="602255"/>
            <a:chOff x="7540629" y="279400"/>
            <a:chExt cx="1062098" cy="78759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85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6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7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0123" cy="2414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8" name="LegendMoons" hidden="1"/>
          <p:cNvGrpSpPr>
            <a:grpSpLocks/>
          </p:cNvGrpSpPr>
          <p:nvPr/>
        </p:nvGrpSpPr>
        <p:grpSpPr bwMode="auto">
          <a:xfrm>
            <a:off x="8002595" y="191691"/>
            <a:ext cx="836496" cy="1034104"/>
            <a:chOff x="7769225" y="250825"/>
            <a:chExt cx="820967" cy="1350905"/>
          </a:xfrm>
        </p:grpSpPr>
        <p:grpSp>
          <p:nvGrpSpPr>
            <p:cNvPr id="6162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3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4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5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6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616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9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0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1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0292" cy="241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70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6159" name="Working Draft" hidden="1"/>
          <p:cNvSpPr txBox="1">
            <a:spLocks noChangeArrowheads="1"/>
          </p:cNvSpPr>
          <p:nvPr/>
        </p:nvSpPr>
        <p:spPr bwMode="auto">
          <a:xfrm rot="5400000">
            <a:off x="8108157" y="1875108"/>
            <a:ext cx="194310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160" name="Printed" hidden="1"/>
          <p:cNvSpPr txBox="1">
            <a:spLocks noChangeArrowheads="1"/>
          </p:cNvSpPr>
          <p:nvPr/>
        </p:nvSpPr>
        <p:spPr bwMode="auto">
          <a:xfrm rot="5400000">
            <a:off x="8593138" y="3286266"/>
            <a:ext cx="971550" cy="37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5" tIns="46643" rIns="93285" bIns="4664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8812282" y="4938564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7278345-CA79-463A-A6A4-E0F8DDFC3A41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541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hf hdr="0" ftr="0" dt="0"/>
  <p:txStyles>
    <p:titleStyle>
      <a:lvl1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Arial" charset="0"/>
        </a:defRPr>
      </a:lvl2pPr>
      <a:lvl3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Arial" charset="0"/>
        </a:defRPr>
      </a:lvl3pPr>
      <a:lvl4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Arial" charset="0"/>
        </a:defRPr>
      </a:lvl4pPr>
      <a:lvl5pPr algn="l" defTabSz="912709" rtl="0" fontAlgn="base">
        <a:spcBef>
          <a:spcPct val="0"/>
        </a:spcBef>
        <a:spcAft>
          <a:spcPct val="0"/>
        </a:spcAft>
        <a:tabLst>
          <a:tab pos="274607" algn="l"/>
        </a:tabLst>
        <a:defRPr sz="2000">
          <a:solidFill>
            <a:schemeClr val="tx2"/>
          </a:solidFill>
          <a:latin typeface="Arial" charset="0"/>
        </a:defRPr>
      </a:lvl5pPr>
      <a:lvl6pPr marL="466428" algn="l" defTabSz="91342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56" algn="l" defTabSz="91342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83" algn="l" defTabSz="91342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13" algn="l" defTabSz="91342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100000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96828" indent="-195241"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n-lt"/>
        </a:defRPr>
      </a:lvl2pPr>
      <a:lvl3pPr marL="465085" indent="-266670"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n-lt"/>
        </a:defRPr>
      </a:lvl3pPr>
      <a:lvl4pPr marL="625404" indent="-157145"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n-lt"/>
        </a:defRPr>
      </a:lvl4pPr>
      <a:lvl5pPr marL="763501" indent="-131748" algn="l" defTabSz="912709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5pPr>
      <a:lvl6pPr marL="764942" indent="-132803" algn="l" defTabSz="9134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2" indent="-132803" algn="l" defTabSz="9134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2" indent="-132803" algn="l" defTabSz="9134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2" indent="-132803" algn="l" defTabSz="9134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28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56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83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13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41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69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96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24" algn="l" defTabSz="9328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68572" tIns="34286" rIns="68572" bIns="34286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68572" tIns="34286" rIns="68572" bIns="34286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68572" tIns="34286" rIns="68572" bIns="34286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22"/>
            <a:fld id="{E58988F9-211B-41A2-AD94-FB13CB6C9E0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722"/>
              <a:t>1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68572" tIns="34286" rIns="68572" bIns="34286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22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68572" tIns="34286" rIns="68572" bIns="34286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22"/>
            <a:fld id="{69A46176-393C-4D51-B1E2-92410EE855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722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631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4" r:id="rId13"/>
    <p:sldLayoutId id="2147483695" r:id="rId14"/>
    <p:sldLayoutId id="2147483816" r:id="rId15"/>
  </p:sldLayoutIdLst>
  <p:txStyles>
    <p:titleStyle>
      <a:lvl1pPr algn="ctr" defTabSz="685722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45" indent="-257145" algn="l" defTabSz="68572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50" indent="-214288" algn="l" defTabSz="685722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52" indent="-171430" algn="l" defTabSz="685722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13" indent="-171430" algn="l" defTabSz="685722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75" indent="-171430" algn="l" defTabSz="685722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35" indent="-171430" algn="l" defTabSz="685722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97" indent="-171430" algn="l" defTabSz="685722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57" indent="-171430" algn="l" defTabSz="685722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19" indent="-171430" algn="l" defTabSz="685722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1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2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3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4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5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6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7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8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4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ge"/>
          <p:cNvSpPr txBox="1"/>
          <p:nvPr userDrawn="1"/>
        </p:nvSpPr>
        <p:spPr>
          <a:xfrm>
            <a:off x="8264494" y="4796082"/>
            <a:ext cx="2857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685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96082"/>
            <a:ext cx="95372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2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38" y="1560600"/>
            <a:ext cx="7982031" cy="284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38" y="467102"/>
            <a:ext cx="7982031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2275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  <p:sldLayoutId id="2147483720" r:id="rId24"/>
    <p:sldLayoutId id="2147483721" r:id="rId25"/>
    <p:sldLayoutId id="2147483722" r:id="rId26"/>
    <p:sldLayoutId id="2147483723" r:id="rId27"/>
    <p:sldLayoutId id="2147483724" r:id="rId28"/>
    <p:sldLayoutId id="2147483725" r:id="rId29"/>
    <p:sldLayoutId id="2147483726" r:id="rId30"/>
    <p:sldLayoutId id="2147483727" r:id="rId31"/>
    <p:sldLayoutId id="2147483728" r:id="rId32"/>
    <p:sldLayoutId id="2147483729" r:id="rId33"/>
    <p:sldLayoutId id="2147483730" r:id="rId34"/>
    <p:sldLayoutId id="2147483731" r:id="rId35"/>
    <p:sldLayoutId id="2147483732" r:id="rId36"/>
    <p:sldLayoutId id="2147483733" r:id="rId37"/>
    <p:sldLayoutId id="2147483734" r:id="rId38"/>
    <p:sldLayoutId id="2147483735" r:id="rId39"/>
    <p:sldLayoutId id="2147483736" r:id="rId40"/>
    <p:sldLayoutId id="2147483737" r:id="rId41"/>
    <p:sldLayoutId id="2147483738" r:id="rId42"/>
    <p:sldLayoutId id="2147483739" r:id="rId43"/>
    <p:sldLayoutId id="2147483740" r:id="rId44"/>
    <p:sldLayoutId id="2147483741" r:id="rId45"/>
    <p:sldLayoutId id="2147483742" r:id="rId46"/>
    <p:sldLayoutId id="2147483743" r:id="rId47"/>
    <p:sldLayoutId id="2147483744" r:id="rId48"/>
    <p:sldLayoutId id="2147483745" r:id="rId49"/>
    <p:sldLayoutId id="2147483746" r:id="rId50"/>
    <p:sldLayoutId id="2147483747" r:id="rId51"/>
    <p:sldLayoutId id="2147483748" r:id="rId52"/>
    <p:sldLayoutId id="2147483749" r:id="rId53"/>
    <p:sldLayoutId id="2147483750" r:id="rId54"/>
    <p:sldLayoutId id="2147483751" r:id="rId55"/>
    <p:sldLayoutId id="2147483752" r:id="rId56"/>
    <p:sldLayoutId id="2147483753" r:id="rId57"/>
    <p:sldLayoutId id="2147483754" r:id="rId58"/>
    <p:sldLayoutId id="2147483755" r:id="rId59"/>
    <p:sldLayoutId id="2147483756" r:id="rId60"/>
    <p:sldLayoutId id="2147483757" r:id="rId61"/>
    <p:sldLayoutId id="2147483758" r:id="rId62"/>
    <p:sldLayoutId id="2147483759" r:id="rId63"/>
    <p:sldLayoutId id="2147483760" r:id="rId64"/>
    <p:sldLayoutId id="2147483761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722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722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276" indent="-129586" algn="l" defTabSz="685722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356" indent="-124186" algn="l" defTabSz="685722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722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722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383" indent="-114287" algn="l" defTabSz="685722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722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722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1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722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1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2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3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4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5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6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7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8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310">
          <p15:clr>
            <a:srgbClr val="F26B43"/>
          </p15:clr>
        </p15:guide>
        <p15:guide id="2" pos="395">
          <p15:clr>
            <a:srgbClr val="F26B43"/>
          </p15:clr>
        </p15:guide>
        <p15:guide id="3" pos="5845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xmlns="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4745737"/>
            <a:ext cx="402336" cy="309650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xmlns="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xmlns="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xmlns="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xmlns="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4887342"/>
            <a:ext cx="1191258" cy="135000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marL="0" algn="l" defTabSz="685722" rtl="0" eaLnBrk="1" latinLnBrk="0" hangingPunct="1">
              <a:defRPr lang="en-IN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C60616C-F738-4195-9CBC-57322DFDB528}" type="datetime3">
              <a:rPr lang="en-US" smtClean="0">
                <a:solidFill>
                  <a:srgbClr val="2E2E38"/>
                </a:solidFill>
              </a:rPr>
              <a:pPr/>
              <a:t>12 September 2019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xmlns="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2" y="4887342"/>
            <a:ext cx="3086100" cy="135000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marL="0" algn="l" defTabSz="685722" rtl="0" eaLnBrk="1" latinLnBrk="0" hangingPunct="1">
              <a:defRPr lang="en-IN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2E2E38"/>
                </a:solidFill>
              </a:rPr>
              <a:t>Presentation title</a:t>
            </a:r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xmlns="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4887342"/>
            <a:ext cx="663066" cy="135000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marL="0" algn="l" defTabSz="685722" rtl="0" eaLnBrk="1" latinLnBrk="0" hangingPunct="1">
              <a:defRPr lang="en-GB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>
                <a:solidFill>
                  <a:srgbClr val="2E2E38"/>
                </a:solidFill>
              </a:rPr>
              <a:t>Стр. </a:t>
            </a:r>
            <a:fld id="{F1BC30E3-FFE5-4B91-AA19-87A149EBB9EE}" type="slidenum">
              <a:rPr smtClean="0">
                <a:solidFill>
                  <a:srgbClr val="2E2E38"/>
                </a:solidFill>
              </a:rPr>
              <a:pPr/>
              <a:t>‹#›</a:t>
            </a:fld>
            <a:endParaRPr dirty="0">
              <a:solidFill>
                <a:srgbClr val="2E2E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134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  <p:sldLayoutId id="2147483794" r:id="rId32"/>
  </p:sldLayoutIdLst>
  <p:hf hdr="0"/>
  <p:txStyles>
    <p:titleStyle>
      <a:lvl1pPr algn="l" defTabSz="514017" rtl="0" eaLnBrk="1" latinLnBrk="0" hangingPunct="1">
        <a:lnSpc>
          <a:spcPct val="85000"/>
        </a:lnSpc>
        <a:spcBef>
          <a:spcPct val="0"/>
        </a:spcBef>
        <a:buNone/>
        <a:defRPr sz="18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00466" indent="-200466" algn="l" defTabSz="514017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400934" indent="-200466" algn="l" defTabSz="514017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601401" indent="-200466" algn="l" defTabSz="514017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801867" indent="-200466" algn="l" defTabSz="514017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002334" indent="-200466" algn="l" defTabSz="514017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413548" indent="-128504" algn="l" defTabSz="514017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70556" indent="-128504" algn="l" defTabSz="514017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927565" indent="-128504" algn="l" defTabSz="514017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84574" indent="-128504" algn="l" defTabSz="514017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01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009" algn="l" defTabSz="51401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017" algn="l" defTabSz="51401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025" algn="l" defTabSz="51401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034" algn="l" defTabSz="51401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043" algn="l" defTabSz="51401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052" algn="l" defTabSz="51401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99061" algn="l" defTabSz="51401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6069" algn="l" defTabSz="51401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90" y="1590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7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922907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000" b="0" i="0" u="none" strike="noStrike" cap="none">
          <a:solidFill>
            <a:srgbClr val="000000"/>
          </a:solidFill>
          <a:latin typeface="Calibri" panose="020F0502020204030204" pitchFamily="34" charset="0"/>
          <a:ea typeface="MS Mincho" panose="02020609040205080304" pitchFamily="49" charset="-128"/>
          <a:cs typeface="MoolBoran" panose="020B0100010101010101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0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93319183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51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ge"/>
          <p:cNvSpPr txBox="1"/>
          <p:nvPr/>
        </p:nvSpPr>
        <p:spPr>
          <a:xfrm>
            <a:off x="8264493" y="4780694"/>
            <a:ext cx="28575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779252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779252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4780694"/>
            <a:ext cx="95372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779252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38" y="1560600"/>
            <a:ext cx="7982031" cy="284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38" y="467101"/>
            <a:ext cx="798203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5078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  <p:sldLayoutId id="2147483843" r:id="rId26"/>
    <p:sldLayoutId id="2147483844" r:id="rId27"/>
    <p:sldLayoutId id="2147483845" r:id="rId28"/>
    <p:sldLayoutId id="2147483846" r:id="rId29"/>
    <p:sldLayoutId id="2147483847" r:id="rId30"/>
    <p:sldLayoutId id="2147483848" r:id="rId31"/>
    <p:sldLayoutId id="2147483849" r:id="rId32"/>
    <p:sldLayoutId id="2147483850" r:id="rId33"/>
    <p:sldLayoutId id="2147483851" r:id="rId34"/>
    <p:sldLayoutId id="2147483852" r:id="rId35"/>
    <p:sldLayoutId id="2147483853" r:id="rId36"/>
    <p:sldLayoutId id="2147483854" r:id="rId37"/>
    <p:sldLayoutId id="2147483855" r:id="rId38"/>
    <p:sldLayoutId id="2147483856" r:id="rId39"/>
    <p:sldLayoutId id="2147483857" r:id="rId40"/>
    <p:sldLayoutId id="2147483858" r:id="rId41"/>
    <p:sldLayoutId id="2147483859" r:id="rId42"/>
    <p:sldLayoutId id="2147483860" r:id="rId43"/>
    <p:sldLayoutId id="2147483861" r:id="rId44"/>
    <p:sldLayoutId id="2147483862" r:id="rId45"/>
    <p:sldLayoutId id="2147483863" r:id="rId46"/>
    <p:sldLayoutId id="2147483864" r:id="rId47"/>
    <p:sldLayoutId id="2147483865" r:id="rId48"/>
    <p:sldLayoutId id="2147483866" r:id="rId49"/>
    <p:sldLayoutId id="2147483867" r:id="rId50"/>
    <p:sldLayoutId id="2147483868" r:id="rId51"/>
    <p:sldLayoutId id="2147483869" r:id="rId52"/>
    <p:sldLayoutId id="2147483870" r:id="rId53"/>
    <p:sldLayoutId id="2147483871" r:id="rId54"/>
    <p:sldLayoutId id="2147483872" r:id="rId55"/>
    <p:sldLayoutId id="2147483873" r:id="rId56"/>
    <p:sldLayoutId id="2147483874" r:id="rId57"/>
    <p:sldLayoutId id="2147483875" r:id="rId58"/>
    <p:sldLayoutId id="2147483876" r:id="rId59"/>
    <p:sldLayoutId id="2147483877" r:id="rId60"/>
    <p:sldLayoutId id="2147483878" r:id="rId61"/>
    <p:sldLayoutId id="2147483879" r:id="rId62"/>
    <p:sldLayoutId id="2147483880" r:id="rId63"/>
    <p:sldLayoutId id="2147483881" r:id="rId64"/>
    <p:sldLayoutId id="2147483882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779252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779252" rtl="0" eaLnBrk="1" latinLnBrk="0" hangingPunct="1">
        <a:lnSpc>
          <a:spcPct val="110000"/>
        </a:lnSpc>
        <a:spcBef>
          <a:spcPts val="511"/>
        </a:spcBef>
        <a:spcAft>
          <a:spcPts val="256"/>
        </a:spcAft>
        <a:buFont typeface="Arial" panose="020B0604020202020204" pitchFamily="34" charset="0"/>
        <a:buChar char="​"/>
        <a:defRPr lang="en-US" sz="10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42366" indent="-147260" algn="l" defTabSz="779252" rtl="0" eaLnBrk="1" latinLnBrk="0" hangingPunct="1">
        <a:lnSpc>
          <a:spcPct val="90000"/>
        </a:lnSpc>
        <a:spcBef>
          <a:spcPts val="0"/>
        </a:spcBef>
        <a:spcAft>
          <a:spcPts val="256"/>
        </a:spcAft>
        <a:buClr>
          <a:schemeClr val="tx2"/>
        </a:buClr>
        <a:buFont typeface="Arial" panose="020B0604020202020204" pitchFamily="34" charset="0"/>
        <a:buChar char="•"/>
        <a:defRPr lang="en-US" sz="10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35645" indent="-141124" algn="l" defTabSz="779252" rtl="0" eaLnBrk="1" latinLnBrk="0" hangingPunct="1">
        <a:lnSpc>
          <a:spcPct val="90000"/>
        </a:lnSpc>
        <a:spcBef>
          <a:spcPts val="0"/>
        </a:spcBef>
        <a:spcAft>
          <a:spcPts val="256"/>
        </a:spcAft>
        <a:buClr>
          <a:schemeClr val="tx2"/>
        </a:buClr>
        <a:buFont typeface="Trebuchet MS" panose="020B0603020202020204" pitchFamily="34" charset="0"/>
        <a:buChar char="–"/>
        <a:defRPr lang="en-US" sz="10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779252" rtl="0" eaLnBrk="1" latinLnBrk="0" hangingPunct="1">
        <a:lnSpc>
          <a:spcPct val="110000"/>
        </a:lnSpc>
        <a:spcBef>
          <a:spcPts val="256"/>
        </a:spcBef>
        <a:spcAft>
          <a:spcPts val="256"/>
        </a:spcAft>
        <a:buClr>
          <a:schemeClr val="tx2"/>
        </a:buClr>
        <a:buFont typeface="Arial" panose="020B0604020202020204" pitchFamily="34" charset="0"/>
        <a:buChar char="​"/>
        <a:defRPr lang="en-US" sz="14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779252" rtl="0" eaLnBrk="1" latinLnBrk="0" hangingPunct="1">
        <a:lnSpc>
          <a:spcPct val="100000"/>
        </a:lnSpc>
        <a:spcBef>
          <a:spcPts val="0"/>
        </a:spcBef>
        <a:spcAft>
          <a:spcPts val="256"/>
        </a:spcAft>
        <a:buClrTx/>
        <a:buFont typeface="Arial" panose="020B0604020202020204" pitchFamily="34" charset="0"/>
        <a:buChar char="​"/>
        <a:defRPr lang="en-US" sz="14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29987" indent="-129875" algn="l" defTabSz="779252" rtl="0" eaLnBrk="1" latinLnBrk="0" hangingPunct="1">
        <a:lnSpc>
          <a:spcPct val="90000"/>
        </a:lnSpc>
        <a:spcBef>
          <a:spcPts val="0"/>
        </a:spcBef>
        <a:spcAft>
          <a:spcPts val="511"/>
        </a:spcAft>
        <a:buClr>
          <a:schemeClr val="tx2"/>
        </a:buClr>
        <a:buFont typeface="Arial" panose="020B0604020202020204" pitchFamily="34" charset="0"/>
        <a:buChar char="•"/>
        <a:defRPr lang="en-US" sz="14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779252" rtl="0" eaLnBrk="1" latinLnBrk="0" hangingPunct="1">
        <a:lnSpc>
          <a:spcPct val="90000"/>
        </a:lnSpc>
        <a:spcBef>
          <a:spcPts val="767"/>
        </a:spcBef>
        <a:spcAft>
          <a:spcPts val="767"/>
        </a:spcAft>
        <a:buFont typeface="Arial" panose="020B0604020202020204" pitchFamily="34" charset="0"/>
        <a:buChar char="​"/>
        <a:defRPr lang="en-US" sz="37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779252" rtl="0" eaLnBrk="1" latinLnBrk="0" hangingPunct="1">
        <a:lnSpc>
          <a:spcPct val="90000"/>
        </a:lnSpc>
        <a:spcBef>
          <a:spcPts val="767"/>
        </a:spcBef>
        <a:spcAft>
          <a:spcPts val="0"/>
        </a:spcAft>
        <a:buFont typeface="Arial" panose="020B0604020202020204" pitchFamily="34" charset="0"/>
        <a:buChar char="​"/>
        <a:defRPr lang="en-US" sz="46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779252" rtl="0" eaLnBrk="1" latinLnBrk="0" hangingPunct="1">
        <a:lnSpc>
          <a:spcPct val="100000"/>
        </a:lnSpc>
        <a:spcBef>
          <a:spcPts val="0"/>
        </a:spcBef>
        <a:spcAft>
          <a:spcPts val="767"/>
        </a:spcAft>
        <a:buFont typeface="Arial" panose="020B0604020202020204" pitchFamily="34" charset="0"/>
        <a:buChar char="​"/>
        <a:defRPr lang="en-US" sz="20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310" userDrawn="1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5845" userDrawn="1">
          <p15:clr>
            <a:srgbClr val="F26B43"/>
          </p15:clr>
        </p15:guide>
        <p15:guide id="4" orient="horz" pos="38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27.png"/><Relationship Id="rId7" Type="http://schemas.openxmlformats.org/officeDocument/2006/relationships/image" Target="../media/image5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4.xml"/><Relationship Id="rId1" Type="http://schemas.openxmlformats.org/officeDocument/2006/relationships/tags" Target="../tags/tag357.xml"/><Relationship Id="rId4" Type="http://schemas.openxmlformats.org/officeDocument/2006/relationships/image" Target="../media/image2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369.xml"/><Relationship Id="rId7" Type="http://schemas.openxmlformats.org/officeDocument/2006/relationships/oleObject" Target="../embeddings/oleObject56.bin"/><Relationship Id="rId2" Type="http://schemas.openxmlformats.org/officeDocument/2006/relationships/tags" Target="../tags/tag368.xml"/><Relationship Id="rId1" Type="http://schemas.openxmlformats.org/officeDocument/2006/relationships/vmlDrawing" Target="../drawings/vmlDrawing51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9.xml"/><Relationship Id="rId4" Type="http://schemas.openxmlformats.org/officeDocument/2006/relationships/tags" Target="../tags/tag37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4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35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47.vml"/><Relationship Id="rId6" Type="http://schemas.openxmlformats.org/officeDocument/2006/relationships/slideLayout" Target="../slideLayouts/slideLayout30.xml"/><Relationship Id="rId5" Type="http://schemas.openxmlformats.org/officeDocument/2006/relationships/tags" Target="../tags/tag361.xml"/><Relationship Id="rId4" Type="http://schemas.openxmlformats.org/officeDocument/2006/relationships/tags" Target="../tags/tag360.xml"/><Relationship Id="rId9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7" Type="http://schemas.openxmlformats.org/officeDocument/2006/relationships/image" Target="../media/image25.emf"/><Relationship Id="rId2" Type="http://schemas.openxmlformats.org/officeDocument/2006/relationships/tags" Target="../tags/tag362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5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6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54.bin"/><Relationship Id="rId4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67.xml"/><Relationship Id="rId7" Type="http://schemas.openxmlformats.org/officeDocument/2006/relationships/image" Target="../media/image25.emf"/><Relationship Id="rId2" Type="http://schemas.openxmlformats.org/officeDocument/2006/relationships/tags" Target="../tags/tag366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7.png"/><Relationship Id="rId7" Type="http://schemas.openxmlformats.org/officeDocument/2006/relationships/image" Target="../media/image3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8.png"/><Relationship Id="rId5" Type="http://schemas.openxmlformats.org/officeDocument/2006/relationships/image" Target="../media/image33.pn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7.png"/><Relationship Id="rId7" Type="http://schemas.openxmlformats.org/officeDocument/2006/relationships/image" Target="../media/image4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F087CBFD-CFD6-4DD8-AD23-33BC35F8AA03}"/>
              </a:ext>
            </a:extLst>
          </p:cNvPr>
          <p:cNvSpPr/>
          <p:nvPr/>
        </p:nvSpPr>
        <p:spPr>
          <a:xfrm>
            <a:off x="1763688" y="1995687"/>
            <a:ext cx="5976664" cy="1152128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</a:rPr>
              <a:t>МОДЕРНИЗАЦИЯ РЫНКА ТРУДА </a:t>
            </a:r>
            <a:endParaRPr lang="x-none" sz="3200" b="1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AFDB835-E0E2-4979-86A1-B5D2F27A4F55}"/>
              </a:ext>
            </a:extLst>
          </p:cNvPr>
          <p:cNvSpPr txBox="1"/>
          <p:nvPr/>
        </p:nvSpPr>
        <p:spPr>
          <a:xfrm>
            <a:off x="1527132" y="235119"/>
            <a:ext cx="7432899" cy="78482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kk-KZ" sz="1500" dirty="0"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ЕҢБЕК РЕСУРСТАНЫНЫҢ ДАМУ ОРТАЛЫҒЫ</a:t>
            </a:r>
            <a:endParaRPr lang="en-US" sz="1500" dirty="0">
              <a:latin typeface="Open Sans Light" panose="020B0604020202020204" charset="0"/>
              <a:ea typeface="Open Sans Light" panose="020B0604020202020204" charset="0"/>
              <a:cs typeface="Open Sans Light" panose="020B0604020202020204" charset="0"/>
            </a:endParaRPr>
          </a:p>
          <a:p>
            <a:r>
              <a:rPr lang="ru-RU" sz="1500" dirty="0"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ЦЕНТР РАЗВИТИЯ ТРУДОВЫХ РЕСУРСОВ</a:t>
            </a:r>
          </a:p>
          <a:p>
            <a:r>
              <a:rPr lang="en-US" sz="1500" dirty="0"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WORK</a:t>
            </a:r>
            <a:r>
              <a:rPr lang="ru-RU" sz="1500" dirty="0"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 </a:t>
            </a:r>
            <a:r>
              <a:rPr lang="en-US" sz="1500" dirty="0"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FORCE DEVELOPMENT CENTER</a:t>
            </a:r>
            <a:endParaRPr lang="ru-RU" sz="1500" dirty="0">
              <a:latin typeface="Open Sans Light" panose="020B0604020202020204" charset="0"/>
              <a:ea typeface="Open Sans Light" panose="020B0604020202020204" charset="0"/>
              <a:cs typeface="Open Sans Light" panose="020B0604020202020204" charset="0"/>
            </a:endParaRPr>
          </a:p>
        </p:txBody>
      </p:sp>
      <p:pic>
        <p:nvPicPr>
          <p:cNvPr id="4" name="test_img" descr="test_img">
            <a:extLst>
              <a:ext uri="{FF2B5EF4-FFF2-40B4-BE49-F238E27FC236}">
                <a16:creationId xmlns:a16="http://schemas.microsoft.com/office/drawing/2014/main" xmlns="" id="{352115E6-2041-40F3-99DA-9E1AA5F994D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5553"/>
          <a:stretch/>
        </p:blipFill>
        <p:spPr>
          <a:xfrm>
            <a:off x="755577" y="267494"/>
            <a:ext cx="764497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714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9" name="Freeform 3889"/>
          <p:cNvSpPr/>
          <p:nvPr/>
        </p:nvSpPr>
        <p:spPr>
          <a:xfrm flipV="1">
            <a:off x="0" y="0"/>
            <a:ext cx="9143999" cy="5143499"/>
          </a:xfrm>
          <a:custGeom>
            <a:avLst/>
            <a:gdLst/>
            <a:ahLst/>
            <a:cxnLst/>
            <a:rect l="0" t="0" r="0" b="0"/>
            <a:pathLst>
              <a:path w="9143999" h="5143499">
                <a:moveTo>
                  <a:pt x="0" y="5143499"/>
                </a:moveTo>
                <a:lnTo>
                  <a:pt x="9143999" y="5143499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90" name="Freeform 3890"/>
          <p:cNvSpPr/>
          <p:nvPr/>
        </p:nvSpPr>
        <p:spPr>
          <a:xfrm flipV="1">
            <a:off x="0" y="237369"/>
            <a:ext cx="333299" cy="0"/>
          </a:xfrm>
          <a:custGeom>
            <a:avLst/>
            <a:gdLst/>
            <a:ahLst/>
            <a:cxnLst/>
            <a:rect l="0" t="0" r="0" b="0"/>
            <a:pathLst>
              <a:path w="169316400">
                <a:moveTo>
                  <a:pt x="0" y="0"/>
                </a:moveTo>
                <a:lnTo>
                  <a:pt x="1693164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891" name="Picture 389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99269"/>
            <a:ext cx="371400" cy="76200"/>
          </a:xfrm>
          <a:prstGeom prst="rect">
            <a:avLst/>
          </a:prstGeom>
          <a:noFill/>
        </p:spPr>
      </p:pic>
      <p:sp>
        <p:nvSpPr>
          <p:cNvPr id="3892" name="Freeform 3892"/>
          <p:cNvSpPr/>
          <p:nvPr/>
        </p:nvSpPr>
        <p:spPr>
          <a:xfrm flipV="1">
            <a:off x="8810624" y="237369"/>
            <a:ext cx="333299" cy="0"/>
          </a:xfrm>
          <a:custGeom>
            <a:avLst/>
            <a:gdLst/>
            <a:ahLst/>
            <a:cxnLst/>
            <a:rect l="0" t="0" r="0" b="0"/>
            <a:pathLst>
              <a:path w="169316400">
                <a:moveTo>
                  <a:pt x="0" y="0"/>
                </a:moveTo>
                <a:lnTo>
                  <a:pt x="1693164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893" name="Picture 389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72525" y="199269"/>
            <a:ext cx="371475" cy="76200"/>
          </a:xfrm>
          <a:prstGeom prst="rect">
            <a:avLst/>
          </a:prstGeom>
          <a:noFill/>
        </p:spPr>
      </p:pic>
      <p:sp>
        <p:nvSpPr>
          <p:cNvPr id="3894" name="Freeform 3894"/>
          <p:cNvSpPr/>
          <p:nvPr/>
        </p:nvSpPr>
        <p:spPr>
          <a:xfrm flipV="1">
            <a:off x="431799" y="129647"/>
            <a:ext cx="7769099" cy="215399"/>
          </a:xfrm>
          <a:custGeom>
            <a:avLst/>
            <a:gdLst/>
            <a:ahLst/>
            <a:cxnLst/>
            <a:rect l="0" t="0" r="0" b="0"/>
            <a:pathLst>
              <a:path w="7769099" h="215399">
                <a:moveTo>
                  <a:pt x="0" y="215399"/>
                </a:moveTo>
                <a:lnTo>
                  <a:pt x="7769099" y="215399"/>
                </a:lnTo>
                <a:lnTo>
                  <a:pt x="77690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95" name="Freeform 3895"/>
          <p:cNvSpPr/>
          <p:nvPr/>
        </p:nvSpPr>
        <p:spPr>
          <a:xfrm flipV="1">
            <a:off x="1903108" y="3026557"/>
            <a:ext cx="2285999" cy="0"/>
          </a:xfrm>
          <a:custGeom>
            <a:avLst/>
            <a:gdLst/>
            <a:ahLst/>
            <a:cxnLst/>
            <a:rect l="0" t="0" r="0" b="0"/>
            <a:pathLst>
              <a:path w="1161288000">
                <a:moveTo>
                  <a:pt x="0" y="0"/>
                </a:moveTo>
                <a:lnTo>
                  <a:pt x="11612880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96" name="Freeform 3896"/>
          <p:cNvSpPr/>
          <p:nvPr/>
        </p:nvSpPr>
        <p:spPr>
          <a:xfrm flipV="1">
            <a:off x="1903108" y="3026557"/>
            <a:ext cx="2285999" cy="0"/>
          </a:xfrm>
          <a:custGeom>
            <a:avLst/>
            <a:gdLst/>
            <a:ahLst/>
            <a:cxnLst/>
            <a:rect l="0" t="0" r="0" b="0"/>
            <a:pathLst>
              <a:path w="1161288000">
                <a:moveTo>
                  <a:pt x="0" y="0"/>
                </a:moveTo>
                <a:lnTo>
                  <a:pt x="1161288000" y="0"/>
                </a:lnTo>
              </a:path>
            </a:pathLst>
          </a:custGeom>
          <a:noFill/>
          <a:ln w="292099" cap="flat" cmpd="sng">
            <a:solidFill>
              <a:srgbClr val="1C45DF">
                <a:alpha val="666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97" name="Freeform 3897"/>
          <p:cNvSpPr/>
          <p:nvPr/>
        </p:nvSpPr>
        <p:spPr>
          <a:xfrm flipV="1">
            <a:off x="1887933" y="1675377"/>
            <a:ext cx="2308122" cy="1224743"/>
          </a:xfrm>
          <a:custGeom>
            <a:avLst/>
            <a:gdLst/>
            <a:ahLst/>
            <a:cxnLst/>
            <a:rect l="0" t="0" r="0" b="0"/>
            <a:pathLst>
              <a:path w="1172526012" h="622169725">
                <a:moveTo>
                  <a:pt x="0" y="2210593"/>
                </a:moveTo>
                <a:cubicBezTo>
                  <a:pt x="656815029" y="0"/>
                  <a:pt x="669301708" y="621064627"/>
                  <a:pt x="1172526012" y="622169725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98" name="Freeform 3898"/>
          <p:cNvSpPr/>
          <p:nvPr/>
        </p:nvSpPr>
        <p:spPr>
          <a:xfrm flipV="1">
            <a:off x="1887933" y="1675377"/>
            <a:ext cx="2308122" cy="1224743"/>
          </a:xfrm>
          <a:custGeom>
            <a:avLst/>
            <a:gdLst/>
            <a:ahLst/>
            <a:cxnLst/>
            <a:rect l="0" t="0" r="0" b="0"/>
            <a:pathLst>
              <a:path w="1172526012" h="622169725">
                <a:moveTo>
                  <a:pt x="0" y="2210593"/>
                </a:moveTo>
                <a:cubicBezTo>
                  <a:pt x="656815029" y="0"/>
                  <a:pt x="669301708" y="621064627"/>
                  <a:pt x="1172526012" y="622169725"/>
                </a:cubicBezTo>
              </a:path>
            </a:pathLst>
          </a:custGeom>
          <a:noFill/>
          <a:ln w="292099" cap="flat" cmpd="sng">
            <a:solidFill>
              <a:srgbClr val="1C45DF">
                <a:alpha val="666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99" name="Freeform 3899"/>
          <p:cNvSpPr/>
          <p:nvPr/>
        </p:nvSpPr>
        <p:spPr>
          <a:xfrm flipV="1">
            <a:off x="1887933" y="2364466"/>
            <a:ext cx="2308122" cy="608912"/>
          </a:xfrm>
          <a:custGeom>
            <a:avLst/>
            <a:gdLst/>
            <a:ahLst/>
            <a:cxnLst/>
            <a:rect l="0" t="0" r="0" b="0"/>
            <a:pathLst>
              <a:path w="1172526012" h="309327352">
                <a:moveTo>
                  <a:pt x="0" y="1099046"/>
                </a:moveTo>
                <a:cubicBezTo>
                  <a:pt x="656815029" y="0"/>
                  <a:pt x="669301708" y="308777977"/>
                  <a:pt x="1172526012" y="309327352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0" name="Freeform 3900"/>
          <p:cNvSpPr/>
          <p:nvPr/>
        </p:nvSpPr>
        <p:spPr>
          <a:xfrm flipV="1">
            <a:off x="1887933" y="2364466"/>
            <a:ext cx="2308122" cy="608912"/>
          </a:xfrm>
          <a:custGeom>
            <a:avLst/>
            <a:gdLst/>
            <a:ahLst/>
            <a:cxnLst/>
            <a:rect l="0" t="0" r="0" b="0"/>
            <a:pathLst>
              <a:path w="1172526012" h="309327352">
                <a:moveTo>
                  <a:pt x="0" y="1099046"/>
                </a:moveTo>
                <a:cubicBezTo>
                  <a:pt x="656815029" y="0"/>
                  <a:pt x="669301708" y="308777977"/>
                  <a:pt x="1172526012" y="309327352"/>
                </a:cubicBezTo>
              </a:path>
            </a:pathLst>
          </a:custGeom>
          <a:noFill/>
          <a:ln w="292099" cap="flat" cmpd="sng">
            <a:solidFill>
              <a:srgbClr val="1C45DF">
                <a:alpha val="666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1" name="Freeform 3901"/>
          <p:cNvSpPr/>
          <p:nvPr/>
        </p:nvSpPr>
        <p:spPr>
          <a:xfrm flipV="1">
            <a:off x="1887933" y="3176432"/>
            <a:ext cx="2308122" cy="1210904"/>
          </a:xfrm>
          <a:custGeom>
            <a:avLst/>
            <a:gdLst/>
            <a:ahLst/>
            <a:cxnLst/>
            <a:rect l="0" t="0" r="0" b="0"/>
            <a:pathLst>
              <a:path w="1172526012" h="615139581">
                <a:moveTo>
                  <a:pt x="0" y="612953991"/>
                </a:moveTo>
                <a:cubicBezTo>
                  <a:pt x="656815029" y="615139581"/>
                  <a:pt x="669301708" y="1092597"/>
                  <a:pt x="1172526012" y="0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2" name="Freeform 3902"/>
          <p:cNvSpPr/>
          <p:nvPr/>
        </p:nvSpPr>
        <p:spPr>
          <a:xfrm flipV="1">
            <a:off x="1887933" y="3176432"/>
            <a:ext cx="2308122" cy="1210904"/>
          </a:xfrm>
          <a:custGeom>
            <a:avLst/>
            <a:gdLst/>
            <a:ahLst/>
            <a:cxnLst/>
            <a:rect l="0" t="0" r="0" b="0"/>
            <a:pathLst>
              <a:path w="1172526012" h="615139581">
                <a:moveTo>
                  <a:pt x="0" y="612953991"/>
                </a:moveTo>
                <a:cubicBezTo>
                  <a:pt x="656815029" y="615139581"/>
                  <a:pt x="669301708" y="1092597"/>
                  <a:pt x="1172526012" y="0"/>
                </a:cubicBezTo>
              </a:path>
            </a:pathLst>
          </a:custGeom>
          <a:noFill/>
          <a:ln w="292099" cap="flat" cmpd="sng">
            <a:solidFill>
              <a:srgbClr val="1C45DF">
                <a:alpha val="666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3" name="Freeform 3903"/>
          <p:cNvSpPr/>
          <p:nvPr/>
        </p:nvSpPr>
        <p:spPr>
          <a:xfrm flipV="1">
            <a:off x="1887933" y="3104688"/>
            <a:ext cx="2308122" cy="598532"/>
          </a:xfrm>
          <a:custGeom>
            <a:avLst/>
            <a:gdLst/>
            <a:ahLst/>
            <a:cxnLst/>
            <a:rect l="0" t="0" r="0" b="0"/>
            <a:pathLst>
              <a:path w="1172526012" h="304054669">
                <a:moveTo>
                  <a:pt x="0" y="302974375"/>
                </a:moveTo>
                <a:cubicBezTo>
                  <a:pt x="656815029" y="304054669"/>
                  <a:pt x="669301708" y="539949"/>
                  <a:pt x="1172526012" y="0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4" name="Freeform 3904"/>
          <p:cNvSpPr/>
          <p:nvPr/>
        </p:nvSpPr>
        <p:spPr>
          <a:xfrm flipV="1">
            <a:off x="1887933" y="3104688"/>
            <a:ext cx="2308122" cy="598532"/>
          </a:xfrm>
          <a:custGeom>
            <a:avLst/>
            <a:gdLst/>
            <a:ahLst/>
            <a:cxnLst/>
            <a:rect l="0" t="0" r="0" b="0"/>
            <a:pathLst>
              <a:path w="1172526012" h="304054669">
                <a:moveTo>
                  <a:pt x="0" y="302974375"/>
                </a:moveTo>
                <a:cubicBezTo>
                  <a:pt x="656815029" y="304054669"/>
                  <a:pt x="669301708" y="539949"/>
                  <a:pt x="1172526012" y="0"/>
                </a:cubicBezTo>
              </a:path>
            </a:pathLst>
          </a:custGeom>
          <a:noFill/>
          <a:ln w="292099" cap="flat" cmpd="sng">
            <a:solidFill>
              <a:srgbClr val="1C45DF">
                <a:alpha val="666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5" name="Freeform 3905"/>
          <p:cNvSpPr/>
          <p:nvPr/>
        </p:nvSpPr>
        <p:spPr>
          <a:xfrm flipV="1">
            <a:off x="1134558" y="717636"/>
            <a:ext cx="7208099" cy="657000"/>
          </a:xfrm>
          <a:custGeom>
            <a:avLst/>
            <a:gdLst/>
            <a:ahLst/>
            <a:cxnLst/>
            <a:rect l="0" t="0" r="0" b="0"/>
            <a:pathLst>
              <a:path w="7208099" h="657000">
                <a:moveTo>
                  <a:pt x="0" y="657000"/>
                </a:moveTo>
                <a:lnTo>
                  <a:pt x="7208099" y="657000"/>
                </a:lnTo>
                <a:lnTo>
                  <a:pt x="72080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6" name="Freeform 3906"/>
          <p:cNvSpPr/>
          <p:nvPr/>
        </p:nvSpPr>
        <p:spPr>
          <a:xfrm flipV="1">
            <a:off x="1903108" y="3007507"/>
            <a:ext cx="2285999" cy="0"/>
          </a:xfrm>
          <a:custGeom>
            <a:avLst/>
            <a:gdLst/>
            <a:ahLst/>
            <a:cxnLst/>
            <a:rect l="0" t="0" r="0" b="0"/>
            <a:pathLst>
              <a:path w="1161288000">
                <a:moveTo>
                  <a:pt x="0" y="0"/>
                </a:moveTo>
                <a:lnTo>
                  <a:pt x="11612880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7" name="Freeform 3907"/>
          <p:cNvSpPr/>
          <p:nvPr/>
        </p:nvSpPr>
        <p:spPr>
          <a:xfrm flipV="1">
            <a:off x="1903108" y="3007507"/>
            <a:ext cx="2285999" cy="0"/>
          </a:xfrm>
          <a:custGeom>
            <a:avLst/>
            <a:gdLst/>
            <a:ahLst/>
            <a:cxnLst/>
            <a:rect l="0" t="0" r="0" b="0"/>
            <a:pathLst>
              <a:path w="1161288000">
                <a:moveTo>
                  <a:pt x="0" y="0"/>
                </a:moveTo>
                <a:lnTo>
                  <a:pt x="1161288000" y="0"/>
                </a:lnTo>
              </a:path>
            </a:pathLst>
          </a:custGeom>
          <a:noFill/>
          <a:ln w="111124" cap="flat" cmpd="sng">
            <a:solidFill>
              <a:srgbClr val="1C45DF">
                <a:alpha val="549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8" name="Freeform 3908"/>
          <p:cNvSpPr/>
          <p:nvPr/>
        </p:nvSpPr>
        <p:spPr>
          <a:xfrm flipV="1">
            <a:off x="1887933" y="1656327"/>
            <a:ext cx="2308122" cy="1224743"/>
          </a:xfrm>
          <a:custGeom>
            <a:avLst/>
            <a:gdLst/>
            <a:ahLst/>
            <a:cxnLst/>
            <a:rect l="0" t="0" r="0" b="0"/>
            <a:pathLst>
              <a:path w="1172526012" h="622169725">
                <a:moveTo>
                  <a:pt x="0" y="2210593"/>
                </a:moveTo>
                <a:cubicBezTo>
                  <a:pt x="656815029" y="0"/>
                  <a:pt x="669301708" y="621064627"/>
                  <a:pt x="1172526012" y="622169725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09" name="Freeform 3909"/>
          <p:cNvSpPr/>
          <p:nvPr/>
        </p:nvSpPr>
        <p:spPr>
          <a:xfrm flipV="1">
            <a:off x="1887933" y="1656327"/>
            <a:ext cx="2308122" cy="1224743"/>
          </a:xfrm>
          <a:custGeom>
            <a:avLst/>
            <a:gdLst/>
            <a:ahLst/>
            <a:cxnLst/>
            <a:rect l="0" t="0" r="0" b="0"/>
            <a:pathLst>
              <a:path w="1172526012" h="622169725">
                <a:moveTo>
                  <a:pt x="0" y="2210593"/>
                </a:moveTo>
                <a:cubicBezTo>
                  <a:pt x="656815029" y="0"/>
                  <a:pt x="669301708" y="621064627"/>
                  <a:pt x="1172526012" y="622169725"/>
                </a:cubicBezTo>
              </a:path>
            </a:pathLst>
          </a:custGeom>
          <a:noFill/>
          <a:ln w="111124" cap="flat" cmpd="sng">
            <a:solidFill>
              <a:srgbClr val="1C45DF">
                <a:alpha val="549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0" name="Freeform 3910"/>
          <p:cNvSpPr/>
          <p:nvPr/>
        </p:nvSpPr>
        <p:spPr>
          <a:xfrm flipV="1">
            <a:off x="1887933" y="2345416"/>
            <a:ext cx="2308122" cy="608912"/>
          </a:xfrm>
          <a:custGeom>
            <a:avLst/>
            <a:gdLst/>
            <a:ahLst/>
            <a:cxnLst/>
            <a:rect l="0" t="0" r="0" b="0"/>
            <a:pathLst>
              <a:path w="1172526012" h="309327352">
                <a:moveTo>
                  <a:pt x="0" y="1099046"/>
                </a:moveTo>
                <a:cubicBezTo>
                  <a:pt x="656815029" y="0"/>
                  <a:pt x="669301708" y="308777977"/>
                  <a:pt x="1172526012" y="309327352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1" name="Freeform 3911"/>
          <p:cNvSpPr/>
          <p:nvPr/>
        </p:nvSpPr>
        <p:spPr>
          <a:xfrm flipV="1">
            <a:off x="1887933" y="2345416"/>
            <a:ext cx="2308122" cy="608912"/>
          </a:xfrm>
          <a:custGeom>
            <a:avLst/>
            <a:gdLst/>
            <a:ahLst/>
            <a:cxnLst/>
            <a:rect l="0" t="0" r="0" b="0"/>
            <a:pathLst>
              <a:path w="1172526012" h="309327352">
                <a:moveTo>
                  <a:pt x="0" y="1099046"/>
                </a:moveTo>
                <a:cubicBezTo>
                  <a:pt x="656815029" y="0"/>
                  <a:pt x="669301708" y="308777977"/>
                  <a:pt x="1172526012" y="309327352"/>
                </a:cubicBezTo>
              </a:path>
            </a:pathLst>
          </a:custGeom>
          <a:noFill/>
          <a:ln w="111124" cap="flat" cmpd="sng">
            <a:solidFill>
              <a:srgbClr val="1C45DF">
                <a:alpha val="549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2" name="Freeform 3912"/>
          <p:cNvSpPr/>
          <p:nvPr/>
        </p:nvSpPr>
        <p:spPr>
          <a:xfrm flipV="1">
            <a:off x="1887933" y="3157382"/>
            <a:ext cx="2308122" cy="1210904"/>
          </a:xfrm>
          <a:custGeom>
            <a:avLst/>
            <a:gdLst/>
            <a:ahLst/>
            <a:cxnLst/>
            <a:rect l="0" t="0" r="0" b="0"/>
            <a:pathLst>
              <a:path w="1172526012" h="615139581">
                <a:moveTo>
                  <a:pt x="0" y="612953991"/>
                </a:moveTo>
                <a:cubicBezTo>
                  <a:pt x="656815029" y="615139581"/>
                  <a:pt x="669301708" y="1092597"/>
                  <a:pt x="1172526012" y="0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3" name="Freeform 3913"/>
          <p:cNvSpPr/>
          <p:nvPr/>
        </p:nvSpPr>
        <p:spPr>
          <a:xfrm flipV="1">
            <a:off x="1887933" y="3157382"/>
            <a:ext cx="2308122" cy="1210904"/>
          </a:xfrm>
          <a:custGeom>
            <a:avLst/>
            <a:gdLst/>
            <a:ahLst/>
            <a:cxnLst/>
            <a:rect l="0" t="0" r="0" b="0"/>
            <a:pathLst>
              <a:path w="1172526012" h="615139581">
                <a:moveTo>
                  <a:pt x="0" y="612953991"/>
                </a:moveTo>
                <a:cubicBezTo>
                  <a:pt x="656815029" y="615139581"/>
                  <a:pt x="669301708" y="1092597"/>
                  <a:pt x="1172526012" y="0"/>
                </a:cubicBezTo>
              </a:path>
            </a:pathLst>
          </a:custGeom>
          <a:noFill/>
          <a:ln w="111124" cap="flat" cmpd="sng">
            <a:solidFill>
              <a:srgbClr val="1C45DF">
                <a:alpha val="549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4" name="Freeform 3914"/>
          <p:cNvSpPr/>
          <p:nvPr/>
        </p:nvSpPr>
        <p:spPr>
          <a:xfrm flipV="1">
            <a:off x="1887933" y="3085638"/>
            <a:ext cx="2308122" cy="598532"/>
          </a:xfrm>
          <a:custGeom>
            <a:avLst/>
            <a:gdLst/>
            <a:ahLst/>
            <a:cxnLst/>
            <a:rect l="0" t="0" r="0" b="0"/>
            <a:pathLst>
              <a:path w="1172526012" h="304054669">
                <a:moveTo>
                  <a:pt x="0" y="302974375"/>
                </a:moveTo>
                <a:cubicBezTo>
                  <a:pt x="656815029" y="304054669"/>
                  <a:pt x="669301708" y="539949"/>
                  <a:pt x="1172526012" y="0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5" name="Freeform 3915"/>
          <p:cNvSpPr/>
          <p:nvPr/>
        </p:nvSpPr>
        <p:spPr>
          <a:xfrm flipV="1">
            <a:off x="1887933" y="3085638"/>
            <a:ext cx="2308122" cy="598532"/>
          </a:xfrm>
          <a:custGeom>
            <a:avLst/>
            <a:gdLst/>
            <a:ahLst/>
            <a:cxnLst/>
            <a:rect l="0" t="0" r="0" b="0"/>
            <a:pathLst>
              <a:path w="1172526012" h="304054669">
                <a:moveTo>
                  <a:pt x="0" y="302974375"/>
                </a:moveTo>
                <a:cubicBezTo>
                  <a:pt x="656815029" y="304054669"/>
                  <a:pt x="669301708" y="539949"/>
                  <a:pt x="1172526012" y="0"/>
                </a:cubicBezTo>
              </a:path>
            </a:pathLst>
          </a:custGeom>
          <a:noFill/>
          <a:ln w="111124" cap="flat" cmpd="sng">
            <a:solidFill>
              <a:srgbClr val="1C45DF">
                <a:alpha val="549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6" name="Freeform 3916"/>
          <p:cNvSpPr/>
          <p:nvPr/>
        </p:nvSpPr>
        <p:spPr>
          <a:xfrm flipV="1">
            <a:off x="1903108" y="3026557"/>
            <a:ext cx="2285999" cy="0"/>
          </a:xfrm>
          <a:custGeom>
            <a:avLst/>
            <a:gdLst/>
            <a:ahLst/>
            <a:cxnLst/>
            <a:rect l="0" t="0" r="0" b="0"/>
            <a:pathLst>
              <a:path w="1161288000">
                <a:moveTo>
                  <a:pt x="0" y="0"/>
                </a:moveTo>
                <a:lnTo>
                  <a:pt x="11612880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7" name="Freeform 3917"/>
          <p:cNvSpPr/>
          <p:nvPr/>
        </p:nvSpPr>
        <p:spPr>
          <a:xfrm flipV="1">
            <a:off x="1903108" y="3026557"/>
            <a:ext cx="2285999" cy="0"/>
          </a:xfrm>
          <a:custGeom>
            <a:avLst/>
            <a:gdLst/>
            <a:ahLst/>
            <a:cxnLst/>
            <a:rect l="0" t="0" r="0" b="0"/>
            <a:pathLst>
              <a:path w="1161288000">
                <a:moveTo>
                  <a:pt x="0" y="0"/>
                </a:moveTo>
                <a:lnTo>
                  <a:pt x="1161288000" y="0"/>
                </a:ln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8" name="Freeform 3918"/>
          <p:cNvSpPr/>
          <p:nvPr/>
        </p:nvSpPr>
        <p:spPr>
          <a:xfrm flipV="1">
            <a:off x="1887933" y="1675377"/>
            <a:ext cx="2308122" cy="1224743"/>
          </a:xfrm>
          <a:custGeom>
            <a:avLst/>
            <a:gdLst/>
            <a:ahLst/>
            <a:cxnLst/>
            <a:rect l="0" t="0" r="0" b="0"/>
            <a:pathLst>
              <a:path w="1172526012" h="622169725">
                <a:moveTo>
                  <a:pt x="0" y="2210593"/>
                </a:moveTo>
                <a:cubicBezTo>
                  <a:pt x="656815029" y="0"/>
                  <a:pt x="669301708" y="621064627"/>
                  <a:pt x="1172526012" y="622169725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19" name="Freeform 3919"/>
          <p:cNvSpPr/>
          <p:nvPr/>
        </p:nvSpPr>
        <p:spPr>
          <a:xfrm flipV="1">
            <a:off x="1887933" y="1675377"/>
            <a:ext cx="2308122" cy="1224743"/>
          </a:xfrm>
          <a:custGeom>
            <a:avLst/>
            <a:gdLst/>
            <a:ahLst/>
            <a:cxnLst/>
            <a:rect l="0" t="0" r="0" b="0"/>
            <a:pathLst>
              <a:path w="1172526012" h="622169725">
                <a:moveTo>
                  <a:pt x="0" y="2210593"/>
                </a:moveTo>
                <a:cubicBezTo>
                  <a:pt x="656815029" y="0"/>
                  <a:pt x="669301708" y="621064627"/>
                  <a:pt x="1172526012" y="622169725"/>
                </a:cubicBez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0" name="Freeform 3920"/>
          <p:cNvSpPr/>
          <p:nvPr/>
        </p:nvSpPr>
        <p:spPr>
          <a:xfrm flipV="1">
            <a:off x="1887933" y="2364466"/>
            <a:ext cx="2308122" cy="608912"/>
          </a:xfrm>
          <a:custGeom>
            <a:avLst/>
            <a:gdLst/>
            <a:ahLst/>
            <a:cxnLst/>
            <a:rect l="0" t="0" r="0" b="0"/>
            <a:pathLst>
              <a:path w="1172526012" h="309327352">
                <a:moveTo>
                  <a:pt x="0" y="1099046"/>
                </a:moveTo>
                <a:cubicBezTo>
                  <a:pt x="656815029" y="0"/>
                  <a:pt x="669301708" y="308777977"/>
                  <a:pt x="1172526012" y="309327352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1" name="Freeform 3921"/>
          <p:cNvSpPr/>
          <p:nvPr/>
        </p:nvSpPr>
        <p:spPr>
          <a:xfrm flipV="1">
            <a:off x="1887933" y="2364466"/>
            <a:ext cx="2308122" cy="608912"/>
          </a:xfrm>
          <a:custGeom>
            <a:avLst/>
            <a:gdLst/>
            <a:ahLst/>
            <a:cxnLst/>
            <a:rect l="0" t="0" r="0" b="0"/>
            <a:pathLst>
              <a:path w="1172526012" h="309327352">
                <a:moveTo>
                  <a:pt x="0" y="1099046"/>
                </a:moveTo>
                <a:cubicBezTo>
                  <a:pt x="656815029" y="0"/>
                  <a:pt x="669301708" y="308777977"/>
                  <a:pt x="1172526012" y="309327352"/>
                </a:cubicBez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2" name="Freeform 3922"/>
          <p:cNvSpPr/>
          <p:nvPr/>
        </p:nvSpPr>
        <p:spPr>
          <a:xfrm flipV="1">
            <a:off x="1887933" y="3176432"/>
            <a:ext cx="2308122" cy="1210904"/>
          </a:xfrm>
          <a:custGeom>
            <a:avLst/>
            <a:gdLst/>
            <a:ahLst/>
            <a:cxnLst/>
            <a:rect l="0" t="0" r="0" b="0"/>
            <a:pathLst>
              <a:path w="1172526012" h="615139581">
                <a:moveTo>
                  <a:pt x="0" y="612953991"/>
                </a:moveTo>
                <a:cubicBezTo>
                  <a:pt x="656815029" y="615139581"/>
                  <a:pt x="669301708" y="1092597"/>
                  <a:pt x="1172526012" y="0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3" name="Freeform 3923"/>
          <p:cNvSpPr/>
          <p:nvPr/>
        </p:nvSpPr>
        <p:spPr>
          <a:xfrm flipV="1">
            <a:off x="1887933" y="3176432"/>
            <a:ext cx="2308122" cy="1210904"/>
          </a:xfrm>
          <a:custGeom>
            <a:avLst/>
            <a:gdLst/>
            <a:ahLst/>
            <a:cxnLst/>
            <a:rect l="0" t="0" r="0" b="0"/>
            <a:pathLst>
              <a:path w="1172526012" h="615139581">
                <a:moveTo>
                  <a:pt x="0" y="612953991"/>
                </a:moveTo>
                <a:cubicBezTo>
                  <a:pt x="656815029" y="615139581"/>
                  <a:pt x="669301708" y="1092597"/>
                  <a:pt x="1172526012" y="0"/>
                </a:cubicBez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4" name="Freeform 3924"/>
          <p:cNvSpPr/>
          <p:nvPr/>
        </p:nvSpPr>
        <p:spPr>
          <a:xfrm flipV="1">
            <a:off x="1887933" y="3104688"/>
            <a:ext cx="2308122" cy="598532"/>
          </a:xfrm>
          <a:custGeom>
            <a:avLst/>
            <a:gdLst/>
            <a:ahLst/>
            <a:cxnLst/>
            <a:rect l="0" t="0" r="0" b="0"/>
            <a:pathLst>
              <a:path w="1172526012" h="304054669">
                <a:moveTo>
                  <a:pt x="0" y="302974375"/>
                </a:moveTo>
                <a:cubicBezTo>
                  <a:pt x="656815029" y="304054669"/>
                  <a:pt x="669301708" y="539949"/>
                  <a:pt x="1172526012" y="0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5" name="Freeform 3925"/>
          <p:cNvSpPr/>
          <p:nvPr/>
        </p:nvSpPr>
        <p:spPr>
          <a:xfrm flipV="1">
            <a:off x="1887933" y="3104688"/>
            <a:ext cx="2308122" cy="598532"/>
          </a:xfrm>
          <a:custGeom>
            <a:avLst/>
            <a:gdLst/>
            <a:ahLst/>
            <a:cxnLst/>
            <a:rect l="0" t="0" r="0" b="0"/>
            <a:pathLst>
              <a:path w="1172526012" h="304054669">
                <a:moveTo>
                  <a:pt x="0" y="302974375"/>
                </a:moveTo>
                <a:cubicBezTo>
                  <a:pt x="656815029" y="304054669"/>
                  <a:pt x="669301708" y="539949"/>
                  <a:pt x="1172526012" y="0"/>
                </a:cubicBez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6" name="Freeform 3926"/>
          <p:cNvSpPr/>
          <p:nvPr/>
        </p:nvSpPr>
        <p:spPr>
          <a:xfrm flipV="1">
            <a:off x="4762899" y="1473185"/>
            <a:ext cx="3715499" cy="557099"/>
          </a:xfrm>
          <a:custGeom>
            <a:avLst/>
            <a:gdLst/>
            <a:ahLst/>
            <a:cxnLst/>
            <a:rect l="0" t="0" r="0" b="0"/>
            <a:pathLst>
              <a:path w="1887474000" h="283006800">
                <a:moveTo>
                  <a:pt x="0" y="283006800"/>
                </a:moveTo>
                <a:lnTo>
                  <a:pt x="1887474000" y="283006800"/>
                </a:lnTo>
                <a:lnTo>
                  <a:pt x="1887474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7" name="Freeform 3927"/>
          <p:cNvSpPr/>
          <p:nvPr/>
        </p:nvSpPr>
        <p:spPr>
          <a:xfrm flipV="1">
            <a:off x="4181926" y="1433542"/>
            <a:ext cx="25199" cy="503999"/>
          </a:xfrm>
          <a:custGeom>
            <a:avLst/>
            <a:gdLst/>
            <a:ahLst/>
            <a:cxnLst/>
            <a:rect l="0" t="0" r="0" b="0"/>
            <a:pathLst>
              <a:path w="12801600" h="256032000">
                <a:moveTo>
                  <a:pt x="0" y="256032000"/>
                </a:moveTo>
                <a:lnTo>
                  <a:pt x="12801600" y="256032000"/>
                </a:lnTo>
                <a:lnTo>
                  <a:pt x="128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8" name="Freeform 3928"/>
          <p:cNvSpPr/>
          <p:nvPr/>
        </p:nvSpPr>
        <p:spPr>
          <a:xfrm flipV="1">
            <a:off x="4762899" y="2111725"/>
            <a:ext cx="4013699" cy="609599"/>
          </a:xfrm>
          <a:custGeom>
            <a:avLst/>
            <a:gdLst/>
            <a:ahLst/>
            <a:cxnLst/>
            <a:rect l="0" t="0" r="0" b="0"/>
            <a:pathLst>
              <a:path w="2038959600" h="309676800">
                <a:moveTo>
                  <a:pt x="0" y="309676800"/>
                </a:moveTo>
                <a:lnTo>
                  <a:pt x="2038959600" y="309676800"/>
                </a:lnTo>
                <a:lnTo>
                  <a:pt x="2038959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29" name="Freeform 3929"/>
          <p:cNvSpPr/>
          <p:nvPr/>
        </p:nvSpPr>
        <p:spPr>
          <a:xfrm flipV="1">
            <a:off x="4181926" y="2107692"/>
            <a:ext cx="25199" cy="503999"/>
          </a:xfrm>
          <a:custGeom>
            <a:avLst/>
            <a:gdLst/>
            <a:ahLst/>
            <a:cxnLst/>
            <a:rect l="0" t="0" r="0" b="0"/>
            <a:pathLst>
              <a:path w="12801600" h="256032000">
                <a:moveTo>
                  <a:pt x="0" y="256032000"/>
                </a:moveTo>
                <a:lnTo>
                  <a:pt x="12801600" y="256032000"/>
                </a:lnTo>
                <a:lnTo>
                  <a:pt x="128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0" name="Freeform 3930"/>
          <p:cNvSpPr/>
          <p:nvPr/>
        </p:nvSpPr>
        <p:spPr>
          <a:xfrm flipV="1">
            <a:off x="4762899" y="2726550"/>
            <a:ext cx="3753299" cy="609599"/>
          </a:xfrm>
          <a:custGeom>
            <a:avLst/>
            <a:gdLst/>
            <a:ahLst/>
            <a:cxnLst/>
            <a:rect l="0" t="0" r="0" b="0"/>
            <a:pathLst>
              <a:path w="1906676400" h="309676800">
                <a:moveTo>
                  <a:pt x="0" y="309676800"/>
                </a:moveTo>
                <a:lnTo>
                  <a:pt x="1906676400" y="309676800"/>
                </a:lnTo>
                <a:lnTo>
                  <a:pt x="19066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1" name="Freeform 3931"/>
          <p:cNvSpPr/>
          <p:nvPr/>
        </p:nvSpPr>
        <p:spPr>
          <a:xfrm flipV="1">
            <a:off x="4181926" y="2781842"/>
            <a:ext cx="25199" cy="504000"/>
          </a:xfrm>
          <a:custGeom>
            <a:avLst/>
            <a:gdLst/>
            <a:ahLst/>
            <a:cxnLst/>
            <a:rect l="0" t="0" r="0" b="0"/>
            <a:pathLst>
              <a:path w="12801600" h="256032099">
                <a:moveTo>
                  <a:pt x="0" y="256032099"/>
                </a:moveTo>
                <a:lnTo>
                  <a:pt x="12801600" y="256032099"/>
                </a:lnTo>
                <a:lnTo>
                  <a:pt x="128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2" name="Freeform 3932"/>
          <p:cNvSpPr/>
          <p:nvPr/>
        </p:nvSpPr>
        <p:spPr>
          <a:xfrm flipV="1">
            <a:off x="4762905" y="3480895"/>
            <a:ext cx="3485700" cy="461699"/>
          </a:xfrm>
          <a:custGeom>
            <a:avLst/>
            <a:gdLst/>
            <a:ahLst/>
            <a:cxnLst/>
            <a:rect l="0" t="0" r="0" b="0"/>
            <a:pathLst>
              <a:path w="1770735799" h="234543600">
                <a:moveTo>
                  <a:pt x="0" y="234543600"/>
                </a:moveTo>
                <a:lnTo>
                  <a:pt x="1770735799" y="234543600"/>
                </a:lnTo>
                <a:lnTo>
                  <a:pt x="17707357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3" name="Freeform 3933"/>
          <p:cNvSpPr/>
          <p:nvPr/>
        </p:nvSpPr>
        <p:spPr>
          <a:xfrm flipV="1">
            <a:off x="4181926" y="3459727"/>
            <a:ext cx="25199" cy="503999"/>
          </a:xfrm>
          <a:custGeom>
            <a:avLst/>
            <a:gdLst/>
            <a:ahLst/>
            <a:cxnLst/>
            <a:rect l="0" t="0" r="0" b="0"/>
            <a:pathLst>
              <a:path w="12801600" h="256032000">
                <a:moveTo>
                  <a:pt x="0" y="256032000"/>
                </a:moveTo>
                <a:lnTo>
                  <a:pt x="12801600" y="256032000"/>
                </a:lnTo>
                <a:lnTo>
                  <a:pt x="128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4" name="Freeform 3934"/>
          <p:cNvSpPr/>
          <p:nvPr/>
        </p:nvSpPr>
        <p:spPr>
          <a:xfrm flipV="1">
            <a:off x="4762899" y="4184825"/>
            <a:ext cx="3949199" cy="609599"/>
          </a:xfrm>
          <a:custGeom>
            <a:avLst/>
            <a:gdLst/>
            <a:ahLst/>
            <a:cxnLst/>
            <a:rect l="0" t="0" r="0" b="0"/>
            <a:pathLst>
              <a:path w="2006193600" h="309676800">
                <a:moveTo>
                  <a:pt x="0" y="309676800"/>
                </a:moveTo>
                <a:lnTo>
                  <a:pt x="2006193600" y="309676800"/>
                </a:lnTo>
                <a:lnTo>
                  <a:pt x="2006193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5" name="Freeform 3935"/>
          <p:cNvSpPr/>
          <p:nvPr/>
        </p:nvSpPr>
        <p:spPr>
          <a:xfrm flipV="1">
            <a:off x="4181926" y="4137613"/>
            <a:ext cx="25199" cy="503999"/>
          </a:xfrm>
          <a:custGeom>
            <a:avLst/>
            <a:gdLst/>
            <a:ahLst/>
            <a:cxnLst/>
            <a:rect l="0" t="0" r="0" b="0"/>
            <a:pathLst>
              <a:path w="12801600" h="256032000">
                <a:moveTo>
                  <a:pt x="0" y="256032000"/>
                </a:moveTo>
                <a:lnTo>
                  <a:pt x="12801600" y="256032000"/>
                </a:lnTo>
                <a:lnTo>
                  <a:pt x="128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6" name="Freeform 3936"/>
          <p:cNvSpPr/>
          <p:nvPr/>
        </p:nvSpPr>
        <p:spPr>
          <a:xfrm flipV="1">
            <a:off x="4330065" y="1500876"/>
            <a:ext cx="400199" cy="369299"/>
          </a:xfrm>
          <a:custGeom>
            <a:avLst/>
            <a:gdLst/>
            <a:ahLst/>
            <a:cxnLst/>
            <a:rect l="0" t="0" r="0" b="0"/>
            <a:pathLst>
              <a:path w="203301600" h="187604400">
                <a:moveTo>
                  <a:pt x="0" y="187604400"/>
                </a:moveTo>
                <a:lnTo>
                  <a:pt x="203301600" y="187604400"/>
                </a:lnTo>
                <a:lnTo>
                  <a:pt x="2033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7" name="Freeform 3937"/>
          <p:cNvSpPr/>
          <p:nvPr/>
        </p:nvSpPr>
        <p:spPr>
          <a:xfrm flipV="1">
            <a:off x="4330065" y="2175026"/>
            <a:ext cx="400199" cy="369299"/>
          </a:xfrm>
          <a:custGeom>
            <a:avLst/>
            <a:gdLst/>
            <a:ahLst/>
            <a:cxnLst/>
            <a:rect l="0" t="0" r="0" b="0"/>
            <a:pathLst>
              <a:path w="203301600" h="187604400">
                <a:moveTo>
                  <a:pt x="0" y="187604400"/>
                </a:moveTo>
                <a:lnTo>
                  <a:pt x="203301600" y="187604400"/>
                </a:lnTo>
                <a:lnTo>
                  <a:pt x="2033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8" name="Freeform 3938"/>
          <p:cNvSpPr/>
          <p:nvPr/>
        </p:nvSpPr>
        <p:spPr>
          <a:xfrm flipV="1">
            <a:off x="4330065" y="2849176"/>
            <a:ext cx="400199" cy="369299"/>
          </a:xfrm>
          <a:custGeom>
            <a:avLst/>
            <a:gdLst/>
            <a:ahLst/>
            <a:cxnLst/>
            <a:rect l="0" t="0" r="0" b="0"/>
            <a:pathLst>
              <a:path w="203301600" h="187604400">
                <a:moveTo>
                  <a:pt x="0" y="187604400"/>
                </a:moveTo>
                <a:lnTo>
                  <a:pt x="203301600" y="187604400"/>
                </a:lnTo>
                <a:lnTo>
                  <a:pt x="2033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39" name="Freeform 3939"/>
          <p:cNvSpPr/>
          <p:nvPr/>
        </p:nvSpPr>
        <p:spPr>
          <a:xfrm flipV="1">
            <a:off x="4330065" y="3527061"/>
            <a:ext cx="400199" cy="369299"/>
          </a:xfrm>
          <a:custGeom>
            <a:avLst/>
            <a:gdLst/>
            <a:ahLst/>
            <a:cxnLst/>
            <a:rect l="0" t="0" r="0" b="0"/>
            <a:pathLst>
              <a:path w="203301600" h="187604400">
                <a:moveTo>
                  <a:pt x="0" y="187604400"/>
                </a:moveTo>
                <a:lnTo>
                  <a:pt x="203301600" y="187604400"/>
                </a:lnTo>
                <a:lnTo>
                  <a:pt x="2033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0" name="Freeform 3940"/>
          <p:cNvSpPr/>
          <p:nvPr/>
        </p:nvSpPr>
        <p:spPr>
          <a:xfrm flipV="1">
            <a:off x="4330065" y="4204947"/>
            <a:ext cx="400199" cy="369299"/>
          </a:xfrm>
          <a:custGeom>
            <a:avLst/>
            <a:gdLst/>
            <a:ahLst/>
            <a:cxnLst/>
            <a:rect l="0" t="0" r="0" b="0"/>
            <a:pathLst>
              <a:path w="203301600" h="187604400">
                <a:moveTo>
                  <a:pt x="0" y="187604400"/>
                </a:moveTo>
                <a:lnTo>
                  <a:pt x="203301600" y="187604400"/>
                </a:lnTo>
                <a:lnTo>
                  <a:pt x="20330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1" name="Freeform 3941"/>
          <p:cNvSpPr/>
          <p:nvPr/>
        </p:nvSpPr>
        <p:spPr>
          <a:xfrm flipV="1">
            <a:off x="4137751" y="1628791"/>
            <a:ext cx="113388" cy="113388"/>
          </a:xfrm>
          <a:custGeom>
            <a:avLst/>
            <a:gdLst/>
            <a:ahLst/>
            <a:cxnLst/>
            <a:rect l="0" t="0" r="0" b="0"/>
            <a:pathLst>
              <a:path w="57601247" h="57601247">
                <a:moveTo>
                  <a:pt x="0" y="28800624"/>
                </a:moveTo>
                <a:lnTo>
                  <a:pt x="0" y="28800624"/>
                </a:lnTo>
                <a:cubicBezTo>
                  <a:pt x="0" y="44706778"/>
                  <a:pt x="12894469" y="57601247"/>
                  <a:pt x="28800624" y="57601247"/>
                </a:cubicBezTo>
                <a:lnTo>
                  <a:pt x="28800624" y="57601247"/>
                </a:lnTo>
                <a:cubicBezTo>
                  <a:pt x="36439078" y="57601247"/>
                  <a:pt x="43764597" y="54566939"/>
                  <a:pt x="49165669" y="49165768"/>
                </a:cubicBezTo>
                <a:cubicBezTo>
                  <a:pt x="54566939" y="43764597"/>
                  <a:pt x="57601247" y="36438979"/>
                  <a:pt x="57601247" y="28800624"/>
                </a:cubicBezTo>
                <a:lnTo>
                  <a:pt x="57601247" y="28800624"/>
                </a:lnTo>
                <a:cubicBezTo>
                  <a:pt x="57601247" y="12894469"/>
                  <a:pt x="44706778" y="0"/>
                  <a:pt x="28800624" y="0"/>
                </a:cubicBezTo>
                <a:lnTo>
                  <a:pt x="28800624" y="0"/>
                </a:lnTo>
                <a:cubicBezTo>
                  <a:pt x="12894469" y="0"/>
                  <a:pt x="0" y="12894469"/>
                  <a:pt x="0" y="28800624"/>
                </a:cubicBezTo>
                <a:close/>
              </a:path>
            </a:pathLst>
          </a:custGeom>
          <a:solidFill>
            <a:srgbClr val="1C45DF">
              <a:alpha val="4156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2" name="Freeform 3942"/>
          <p:cNvSpPr/>
          <p:nvPr/>
        </p:nvSpPr>
        <p:spPr>
          <a:xfrm flipV="1">
            <a:off x="4164228" y="1655268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707">
                <a:moveTo>
                  <a:pt x="0" y="15353903"/>
                </a:moveTo>
                <a:lnTo>
                  <a:pt x="0" y="15353903"/>
                </a:lnTo>
                <a:cubicBezTo>
                  <a:pt x="0" y="23833534"/>
                  <a:pt x="6874074" y="30707707"/>
                  <a:pt x="15353904" y="30707707"/>
                </a:cubicBezTo>
                <a:lnTo>
                  <a:pt x="15353904" y="30707707"/>
                </a:lnTo>
                <a:cubicBezTo>
                  <a:pt x="19425841" y="30707707"/>
                  <a:pt x="23331290" y="29090044"/>
                  <a:pt x="26210618" y="26210617"/>
                </a:cubicBezTo>
                <a:cubicBezTo>
                  <a:pt x="29089946" y="23331289"/>
                  <a:pt x="30707608" y="19425940"/>
                  <a:pt x="30707608" y="15353903"/>
                </a:cubicBezTo>
                <a:lnTo>
                  <a:pt x="30707608" y="15353903"/>
                </a:lnTo>
                <a:cubicBezTo>
                  <a:pt x="30707608" y="6874172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172"/>
                  <a:pt x="0" y="15353903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3" name="Freeform 3943"/>
          <p:cNvSpPr/>
          <p:nvPr/>
        </p:nvSpPr>
        <p:spPr>
          <a:xfrm flipV="1">
            <a:off x="4164228" y="1655268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707">
                <a:moveTo>
                  <a:pt x="0" y="15353903"/>
                </a:moveTo>
                <a:lnTo>
                  <a:pt x="0" y="15353903"/>
                </a:lnTo>
                <a:cubicBezTo>
                  <a:pt x="0" y="23833534"/>
                  <a:pt x="6874074" y="30707707"/>
                  <a:pt x="15353904" y="30707707"/>
                </a:cubicBezTo>
                <a:lnTo>
                  <a:pt x="15353904" y="30707707"/>
                </a:lnTo>
                <a:cubicBezTo>
                  <a:pt x="19425841" y="30707707"/>
                  <a:pt x="23331290" y="29090044"/>
                  <a:pt x="26210618" y="26210617"/>
                </a:cubicBezTo>
                <a:cubicBezTo>
                  <a:pt x="29089946" y="23331289"/>
                  <a:pt x="30707608" y="19425940"/>
                  <a:pt x="30707608" y="15353903"/>
                </a:cubicBezTo>
                <a:lnTo>
                  <a:pt x="30707608" y="15353903"/>
                </a:lnTo>
                <a:cubicBezTo>
                  <a:pt x="30707608" y="6874172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172"/>
                  <a:pt x="0" y="15353903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4" name="Freeform 3944"/>
          <p:cNvSpPr/>
          <p:nvPr/>
        </p:nvSpPr>
        <p:spPr>
          <a:xfrm flipV="1">
            <a:off x="4137751" y="2302941"/>
            <a:ext cx="113388" cy="113388"/>
          </a:xfrm>
          <a:custGeom>
            <a:avLst/>
            <a:gdLst/>
            <a:ahLst/>
            <a:cxnLst/>
            <a:rect l="0" t="0" r="0" b="0"/>
            <a:pathLst>
              <a:path w="57601247" h="57601247">
                <a:moveTo>
                  <a:pt x="0" y="28800624"/>
                </a:moveTo>
                <a:lnTo>
                  <a:pt x="0" y="28800624"/>
                </a:lnTo>
                <a:cubicBezTo>
                  <a:pt x="0" y="44706778"/>
                  <a:pt x="12894469" y="57601247"/>
                  <a:pt x="28800624" y="57601247"/>
                </a:cubicBezTo>
                <a:lnTo>
                  <a:pt x="28800624" y="57601247"/>
                </a:lnTo>
                <a:cubicBezTo>
                  <a:pt x="36439078" y="57601247"/>
                  <a:pt x="43764597" y="54566939"/>
                  <a:pt x="49165669" y="49165768"/>
                </a:cubicBezTo>
                <a:cubicBezTo>
                  <a:pt x="54566939" y="43764597"/>
                  <a:pt x="57601247" y="36438979"/>
                  <a:pt x="57601247" y="28800624"/>
                </a:cubicBezTo>
                <a:lnTo>
                  <a:pt x="57601247" y="28800624"/>
                </a:lnTo>
                <a:cubicBezTo>
                  <a:pt x="57601247" y="12894469"/>
                  <a:pt x="44706778" y="0"/>
                  <a:pt x="28800624" y="0"/>
                </a:cubicBezTo>
                <a:lnTo>
                  <a:pt x="28800624" y="0"/>
                </a:lnTo>
                <a:cubicBezTo>
                  <a:pt x="12894469" y="0"/>
                  <a:pt x="0" y="12894469"/>
                  <a:pt x="0" y="28800624"/>
                </a:cubicBezTo>
                <a:close/>
              </a:path>
            </a:pathLst>
          </a:custGeom>
          <a:solidFill>
            <a:srgbClr val="1C45DF">
              <a:alpha val="4156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5" name="Freeform 3945"/>
          <p:cNvSpPr/>
          <p:nvPr/>
        </p:nvSpPr>
        <p:spPr>
          <a:xfrm flipV="1">
            <a:off x="4164228" y="2329418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707">
                <a:moveTo>
                  <a:pt x="0" y="15353903"/>
                </a:moveTo>
                <a:lnTo>
                  <a:pt x="0" y="15353903"/>
                </a:lnTo>
                <a:cubicBezTo>
                  <a:pt x="0" y="23833534"/>
                  <a:pt x="6874074" y="30707707"/>
                  <a:pt x="15353904" y="30707707"/>
                </a:cubicBezTo>
                <a:lnTo>
                  <a:pt x="15353904" y="30707707"/>
                </a:lnTo>
                <a:cubicBezTo>
                  <a:pt x="19425841" y="30707707"/>
                  <a:pt x="23331290" y="29090044"/>
                  <a:pt x="26210618" y="26210617"/>
                </a:cubicBezTo>
                <a:cubicBezTo>
                  <a:pt x="29089946" y="23331289"/>
                  <a:pt x="30707608" y="19425940"/>
                  <a:pt x="30707608" y="15353903"/>
                </a:cubicBezTo>
                <a:lnTo>
                  <a:pt x="30707608" y="15353903"/>
                </a:lnTo>
                <a:cubicBezTo>
                  <a:pt x="30707608" y="6874172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172"/>
                  <a:pt x="0" y="15353903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6" name="Freeform 3946"/>
          <p:cNvSpPr/>
          <p:nvPr/>
        </p:nvSpPr>
        <p:spPr>
          <a:xfrm flipV="1">
            <a:off x="4164228" y="2329418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707">
                <a:moveTo>
                  <a:pt x="0" y="15353903"/>
                </a:moveTo>
                <a:lnTo>
                  <a:pt x="0" y="15353903"/>
                </a:lnTo>
                <a:cubicBezTo>
                  <a:pt x="0" y="23833534"/>
                  <a:pt x="6874074" y="30707707"/>
                  <a:pt x="15353904" y="30707707"/>
                </a:cubicBezTo>
                <a:lnTo>
                  <a:pt x="15353904" y="30707707"/>
                </a:lnTo>
                <a:cubicBezTo>
                  <a:pt x="19425841" y="30707707"/>
                  <a:pt x="23331290" y="29090044"/>
                  <a:pt x="26210618" y="26210617"/>
                </a:cubicBezTo>
                <a:cubicBezTo>
                  <a:pt x="29089946" y="23331289"/>
                  <a:pt x="30707608" y="19425940"/>
                  <a:pt x="30707608" y="15353903"/>
                </a:cubicBezTo>
                <a:lnTo>
                  <a:pt x="30707608" y="15353903"/>
                </a:lnTo>
                <a:cubicBezTo>
                  <a:pt x="30707608" y="6874172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172"/>
                  <a:pt x="0" y="15353903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7" name="Freeform 3947"/>
          <p:cNvSpPr/>
          <p:nvPr/>
        </p:nvSpPr>
        <p:spPr>
          <a:xfrm flipV="1">
            <a:off x="4137751" y="2977091"/>
            <a:ext cx="113388" cy="113388"/>
          </a:xfrm>
          <a:custGeom>
            <a:avLst/>
            <a:gdLst/>
            <a:ahLst/>
            <a:cxnLst/>
            <a:rect l="0" t="0" r="0" b="0"/>
            <a:pathLst>
              <a:path w="57601247" h="57601346">
                <a:moveTo>
                  <a:pt x="0" y="28800624"/>
                </a:moveTo>
                <a:lnTo>
                  <a:pt x="0" y="28800624"/>
                </a:lnTo>
                <a:cubicBezTo>
                  <a:pt x="0" y="44706778"/>
                  <a:pt x="12894469" y="57601346"/>
                  <a:pt x="28800624" y="57601346"/>
                </a:cubicBezTo>
                <a:lnTo>
                  <a:pt x="28800624" y="57601346"/>
                </a:lnTo>
                <a:cubicBezTo>
                  <a:pt x="36439078" y="57601346"/>
                  <a:pt x="43764597" y="54566939"/>
                  <a:pt x="49165669" y="49165768"/>
                </a:cubicBezTo>
                <a:cubicBezTo>
                  <a:pt x="54566939" y="43764597"/>
                  <a:pt x="57601247" y="36439078"/>
                  <a:pt x="57601247" y="28800624"/>
                </a:cubicBezTo>
                <a:lnTo>
                  <a:pt x="57601247" y="28800624"/>
                </a:lnTo>
                <a:cubicBezTo>
                  <a:pt x="57601247" y="12894469"/>
                  <a:pt x="44706778" y="0"/>
                  <a:pt x="28800624" y="0"/>
                </a:cubicBezTo>
                <a:lnTo>
                  <a:pt x="28800624" y="0"/>
                </a:lnTo>
                <a:cubicBezTo>
                  <a:pt x="12894469" y="0"/>
                  <a:pt x="0" y="12894469"/>
                  <a:pt x="0" y="28800624"/>
                </a:cubicBezTo>
                <a:close/>
              </a:path>
            </a:pathLst>
          </a:custGeom>
          <a:solidFill>
            <a:srgbClr val="1C45DF">
              <a:alpha val="4156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8" name="Freeform 3948"/>
          <p:cNvSpPr/>
          <p:nvPr/>
        </p:nvSpPr>
        <p:spPr>
          <a:xfrm flipV="1">
            <a:off x="4164228" y="3003568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608">
                <a:moveTo>
                  <a:pt x="0" y="15353804"/>
                </a:moveTo>
                <a:lnTo>
                  <a:pt x="0" y="15353804"/>
                </a:lnTo>
                <a:cubicBezTo>
                  <a:pt x="0" y="23833534"/>
                  <a:pt x="6874074" y="30707608"/>
                  <a:pt x="15353904" y="30707608"/>
                </a:cubicBezTo>
                <a:lnTo>
                  <a:pt x="15353904" y="30707608"/>
                </a:lnTo>
                <a:cubicBezTo>
                  <a:pt x="19425841" y="30707608"/>
                  <a:pt x="23331290" y="29090044"/>
                  <a:pt x="26210618" y="26210617"/>
                </a:cubicBezTo>
                <a:cubicBezTo>
                  <a:pt x="29089946" y="23331190"/>
                  <a:pt x="30707608" y="19425940"/>
                  <a:pt x="30707608" y="15353804"/>
                </a:cubicBezTo>
                <a:lnTo>
                  <a:pt x="30707608" y="15353804"/>
                </a:lnTo>
                <a:cubicBezTo>
                  <a:pt x="30707608" y="6874172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172"/>
                  <a:pt x="0" y="1535380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49" name="Freeform 3949"/>
          <p:cNvSpPr/>
          <p:nvPr/>
        </p:nvSpPr>
        <p:spPr>
          <a:xfrm flipV="1">
            <a:off x="4164228" y="3003568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608">
                <a:moveTo>
                  <a:pt x="0" y="15353804"/>
                </a:moveTo>
                <a:lnTo>
                  <a:pt x="0" y="15353804"/>
                </a:lnTo>
                <a:cubicBezTo>
                  <a:pt x="0" y="23833534"/>
                  <a:pt x="6874074" y="30707608"/>
                  <a:pt x="15353904" y="30707608"/>
                </a:cubicBezTo>
                <a:lnTo>
                  <a:pt x="15353904" y="30707608"/>
                </a:lnTo>
                <a:cubicBezTo>
                  <a:pt x="19425841" y="30707608"/>
                  <a:pt x="23331290" y="29090044"/>
                  <a:pt x="26210618" y="26210617"/>
                </a:cubicBezTo>
                <a:cubicBezTo>
                  <a:pt x="29089946" y="23331190"/>
                  <a:pt x="30707608" y="19425940"/>
                  <a:pt x="30707608" y="15353804"/>
                </a:cubicBezTo>
                <a:lnTo>
                  <a:pt x="30707608" y="15353804"/>
                </a:lnTo>
                <a:cubicBezTo>
                  <a:pt x="30707608" y="6874172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172"/>
                  <a:pt x="0" y="15353804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0" name="Freeform 3950"/>
          <p:cNvSpPr/>
          <p:nvPr/>
        </p:nvSpPr>
        <p:spPr>
          <a:xfrm flipV="1">
            <a:off x="4137751" y="3654976"/>
            <a:ext cx="113388" cy="113388"/>
          </a:xfrm>
          <a:custGeom>
            <a:avLst/>
            <a:gdLst/>
            <a:ahLst/>
            <a:cxnLst/>
            <a:rect l="0" t="0" r="0" b="0"/>
            <a:pathLst>
              <a:path w="57601247" h="57601247">
                <a:moveTo>
                  <a:pt x="0" y="28800624"/>
                </a:moveTo>
                <a:lnTo>
                  <a:pt x="0" y="28800624"/>
                </a:lnTo>
                <a:cubicBezTo>
                  <a:pt x="0" y="44706778"/>
                  <a:pt x="12894469" y="57601247"/>
                  <a:pt x="28800624" y="57601247"/>
                </a:cubicBezTo>
                <a:lnTo>
                  <a:pt x="28800624" y="57601247"/>
                </a:lnTo>
                <a:cubicBezTo>
                  <a:pt x="36439078" y="57601247"/>
                  <a:pt x="43764597" y="54566939"/>
                  <a:pt x="49165669" y="49165669"/>
                </a:cubicBezTo>
                <a:cubicBezTo>
                  <a:pt x="54566939" y="43764597"/>
                  <a:pt x="57601247" y="36438880"/>
                  <a:pt x="57601247" y="28800624"/>
                </a:cubicBezTo>
                <a:lnTo>
                  <a:pt x="57601247" y="28800624"/>
                </a:lnTo>
                <a:cubicBezTo>
                  <a:pt x="57601247" y="12894469"/>
                  <a:pt x="44706778" y="0"/>
                  <a:pt x="28800624" y="0"/>
                </a:cubicBezTo>
                <a:lnTo>
                  <a:pt x="28800624" y="0"/>
                </a:lnTo>
                <a:cubicBezTo>
                  <a:pt x="12894469" y="0"/>
                  <a:pt x="0" y="12894469"/>
                  <a:pt x="0" y="28800624"/>
                </a:cubicBezTo>
                <a:close/>
              </a:path>
            </a:pathLst>
          </a:custGeom>
          <a:solidFill>
            <a:srgbClr val="1C45DF">
              <a:alpha val="4156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1" name="Freeform 3951"/>
          <p:cNvSpPr/>
          <p:nvPr/>
        </p:nvSpPr>
        <p:spPr>
          <a:xfrm flipV="1">
            <a:off x="4164228" y="3681453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607">
                <a:moveTo>
                  <a:pt x="0" y="15353903"/>
                </a:moveTo>
                <a:lnTo>
                  <a:pt x="0" y="15353903"/>
                </a:lnTo>
                <a:cubicBezTo>
                  <a:pt x="0" y="23833534"/>
                  <a:pt x="6874074" y="30707607"/>
                  <a:pt x="15353904" y="30707607"/>
                </a:cubicBezTo>
                <a:lnTo>
                  <a:pt x="15353904" y="30707607"/>
                </a:lnTo>
                <a:cubicBezTo>
                  <a:pt x="19425841" y="30707607"/>
                  <a:pt x="23331290" y="29089945"/>
                  <a:pt x="26210618" y="26210617"/>
                </a:cubicBezTo>
                <a:cubicBezTo>
                  <a:pt x="29089946" y="23331289"/>
                  <a:pt x="30707608" y="19425840"/>
                  <a:pt x="30707608" y="15353903"/>
                </a:cubicBezTo>
                <a:lnTo>
                  <a:pt x="30707608" y="15353903"/>
                </a:lnTo>
                <a:cubicBezTo>
                  <a:pt x="30707608" y="6874073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073"/>
                  <a:pt x="0" y="15353903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2" name="Freeform 3952"/>
          <p:cNvSpPr/>
          <p:nvPr/>
        </p:nvSpPr>
        <p:spPr>
          <a:xfrm flipV="1">
            <a:off x="4164228" y="3681453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607">
                <a:moveTo>
                  <a:pt x="0" y="15353903"/>
                </a:moveTo>
                <a:lnTo>
                  <a:pt x="0" y="15353903"/>
                </a:lnTo>
                <a:cubicBezTo>
                  <a:pt x="0" y="23833534"/>
                  <a:pt x="6874074" y="30707607"/>
                  <a:pt x="15353904" y="30707607"/>
                </a:cubicBezTo>
                <a:lnTo>
                  <a:pt x="15353904" y="30707607"/>
                </a:lnTo>
                <a:cubicBezTo>
                  <a:pt x="19425841" y="30707607"/>
                  <a:pt x="23331290" y="29089945"/>
                  <a:pt x="26210618" y="26210617"/>
                </a:cubicBezTo>
                <a:cubicBezTo>
                  <a:pt x="29089946" y="23331289"/>
                  <a:pt x="30707608" y="19425840"/>
                  <a:pt x="30707608" y="15353903"/>
                </a:cubicBezTo>
                <a:lnTo>
                  <a:pt x="30707608" y="15353903"/>
                </a:lnTo>
                <a:cubicBezTo>
                  <a:pt x="30707608" y="6874073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073"/>
                  <a:pt x="0" y="15353903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3" name="Freeform 3953"/>
          <p:cNvSpPr/>
          <p:nvPr/>
        </p:nvSpPr>
        <p:spPr>
          <a:xfrm flipV="1">
            <a:off x="4137751" y="4332861"/>
            <a:ext cx="113388" cy="113388"/>
          </a:xfrm>
          <a:custGeom>
            <a:avLst/>
            <a:gdLst/>
            <a:ahLst/>
            <a:cxnLst/>
            <a:rect l="0" t="0" r="0" b="0"/>
            <a:pathLst>
              <a:path w="57601247" h="57601247">
                <a:moveTo>
                  <a:pt x="0" y="28800623"/>
                </a:moveTo>
                <a:lnTo>
                  <a:pt x="0" y="28800623"/>
                </a:lnTo>
                <a:cubicBezTo>
                  <a:pt x="0" y="44706778"/>
                  <a:pt x="12894469" y="57601247"/>
                  <a:pt x="28800624" y="57601247"/>
                </a:cubicBezTo>
                <a:lnTo>
                  <a:pt x="28800624" y="57601247"/>
                </a:lnTo>
                <a:cubicBezTo>
                  <a:pt x="36439078" y="57601247"/>
                  <a:pt x="43764597" y="54566939"/>
                  <a:pt x="49165669" y="49165867"/>
                </a:cubicBezTo>
                <a:cubicBezTo>
                  <a:pt x="54566939" y="43764597"/>
                  <a:pt x="57601247" y="36439078"/>
                  <a:pt x="57601247" y="28800623"/>
                </a:cubicBezTo>
                <a:lnTo>
                  <a:pt x="57601247" y="28800623"/>
                </a:lnTo>
                <a:cubicBezTo>
                  <a:pt x="57601247" y="12894469"/>
                  <a:pt x="44706778" y="0"/>
                  <a:pt x="28800624" y="0"/>
                </a:cubicBezTo>
                <a:lnTo>
                  <a:pt x="28800624" y="0"/>
                </a:lnTo>
                <a:cubicBezTo>
                  <a:pt x="12894469" y="0"/>
                  <a:pt x="0" y="12894469"/>
                  <a:pt x="0" y="28800623"/>
                </a:cubicBezTo>
                <a:close/>
              </a:path>
            </a:pathLst>
          </a:custGeom>
          <a:solidFill>
            <a:srgbClr val="1C45DF">
              <a:alpha val="4156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4" name="Freeform 3954"/>
          <p:cNvSpPr/>
          <p:nvPr/>
        </p:nvSpPr>
        <p:spPr>
          <a:xfrm flipV="1">
            <a:off x="4164228" y="4359338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806">
                <a:moveTo>
                  <a:pt x="0" y="15353903"/>
                </a:moveTo>
                <a:lnTo>
                  <a:pt x="0" y="15353903"/>
                </a:lnTo>
                <a:cubicBezTo>
                  <a:pt x="0" y="23833535"/>
                  <a:pt x="6874074" y="30707806"/>
                  <a:pt x="15353904" y="30707806"/>
                </a:cubicBezTo>
                <a:lnTo>
                  <a:pt x="15353904" y="30707806"/>
                </a:lnTo>
                <a:cubicBezTo>
                  <a:pt x="19425841" y="30707806"/>
                  <a:pt x="23331290" y="29090144"/>
                  <a:pt x="26210618" y="26210617"/>
                </a:cubicBezTo>
                <a:cubicBezTo>
                  <a:pt x="29089946" y="23331289"/>
                  <a:pt x="30707608" y="19426039"/>
                  <a:pt x="30707608" y="15353903"/>
                </a:cubicBezTo>
                <a:lnTo>
                  <a:pt x="30707608" y="15353903"/>
                </a:lnTo>
                <a:cubicBezTo>
                  <a:pt x="30707608" y="6874272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272"/>
                  <a:pt x="0" y="15353903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5" name="Freeform 3955"/>
          <p:cNvSpPr/>
          <p:nvPr/>
        </p:nvSpPr>
        <p:spPr>
          <a:xfrm flipV="1">
            <a:off x="4164228" y="4359338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608" h="30707806">
                <a:moveTo>
                  <a:pt x="0" y="15353903"/>
                </a:moveTo>
                <a:lnTo>
                  <a:pt x="0" y="15353903"/>
                </a:lnTo>
                <a:cubicBezTo>
                  <a:pt x="0" y="23833535"/>
                  <a:pt x="6874074" y="30707806"/>
                  <a:pt x="15353904" y="30707806"/>
                </a:cubicBezTo>
                <a:lnTo>
                  <a:pt x="15353904" y="30707806"/>
                </a:lnTo>
                <a:cubicBezTo>
                  <a:pt x="19425841" y="30707806"/>
                  <a:pt x="23331290" y="29090144"/>
                  <a:pt x="26210618" y="26210617"/>
                </a:cubicBezTo>
                <a:cubicBezTo>
                  <a:pt x="29089946" y="23331289"/>
                  <a:pt x="30707608" y="19426039"/>
                  <a:pt x="30707608" y="15353903"/>
                </a:cubicBezTo>
                <a:lnTo>
                  <a:pt x="30707608" y="15353903"/>
                </a:lnTo>
                <a:cubicBezTo>
                  <a:pt x="30707608" y="6874272"/>
                  <a:pt x="23833535" y="0"/>
                  <a:pt x="15353904" y="0"/>
                </a:cubicBezTo>
                <a:lnTo>
                  <a:pt x="15353904" y="0"/>
                </a:lnTo>
                <a:cubicBezTo>
                  <a:pt x="6874074" y="0"/>
                  <a:pt x="0" y="6874272"/>
                  <a:pt x="0" y="15353903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6" name="Freeform 3956"/>
          <p:cNvSpPr/>
          <p:nvPr/>
        </p:nvSpPr>
        <p:spPr>
          <a:xfrm flipV="1">
            <a:off x="2060439" y="3147361"/>
            <a:ext cx="480896" cy="741476"/>
          </a:xfrm>
          <a:custGeom>
            <a:avLst/>
            <a:gdLst/>
            <a:ahLst/>
            <a:cxnLst/>
            <a:rect l="0" t="0" r="0" b="0"/>
            <a:pathLst>
              <a:path w="244295414" h="376669895">
                <a:moveTo>
                  <a:pt x="25481458" y="0"/>
                </a:moveTo>
                <a:lnTo>
                  <a:pt x="25481458" y="0"/>
                </a:lnTo>
                <a:cubicBezTo>
                  <a:pt x="147633134" y="87427395"/>
                  <a:pt x="227116977" y="222433356"/>
                  <a:pt x="244295414" y="371663119"/>
                </a:cubicBezTo>
                <a:lnTo>
                  <a:pt x="200801188" y="376669895"/>
                </a:lnTo>
                <a:cubicBezTo>
                  <a:pt x="185036916" y="239724803"/>
                  <a:pt x="112096252" y="115832533"/>
                  <a:pt x="0" y="35602069"/>
                </a:cubicBezTo>
                <a:close/>
              </a:path>
            </a:pathLst>
          </a:custGeom>
          <a:solidFill>
            <a:srgbClr val="1C45DF">
              <a:alpha val="2038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7" name="Freeform 3957"/>
          <p:cNvSpPr/>
          <p:nvPr/>
        </p:nvSpPr>
        <p:spPr>
          <a:xfrm flipV="1">
            <a:off x="2110107" y="2306216"/>
            <a:ext cx="506870" cy="1394950"/>
          </a:xfrm>
          <a:custGeom>
            <a:avLst/>
            <a:gdLst/>
            <a:ahLst/>
            <a:cxnLst/>
            <a:rect l="0" t="0" r="0" b="0"/>
            <a:pathLst>
              <a:path w="257490218" h="708635096">
                <a:moveTo>
                  <a:pt x="43945473" y="708635096"/>
                </a:moveTo>
                <a:lnTo>
                  <a:pt x="43945473" y="708635096"/>
                </a:lnTo>
                <a:cubicBezTo>
                  <a:pt x="243055081" y="519389023"/>
                  <a:pt x="257490218" y="206790330"/>
                  <a:pt x="76668610" y="0"/>
                </a:cubicBezTo>
                <a:lnTo>
                  <a:pt x="28649116" y="41989177"/>
                </a:lnTo>
                <a:cubicBezTo>
                  <a:pt x="186958387" y="223034225"/>
                  <a:pt x="174320498" y="496714264"/>
                  <a:pt x="0" y="662399258"/>
                </a:cubicBezTo>
                <a:close/>
              </a:path>
            </a:pathLst>
          </a:custGeom>
          <a:solidFill>
            <a:srgbClr val="1C45DF">
              <a:alpha val="2038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8" name="Freeform 3958"/>
          <p:cNvSpPr/>
          <p:nvPr/>
        </p:nvSpPr>
        <p:spPr>
          <a:xfrm flipV="1">
            <a:off x="646352" y="3452960"/>
            <a:ext cx="1108669" cy="685121"/>
          </a:xfrm>
          <a:custGeom>
            <a:avLst/>
            <a:gdLst/>
            <a:ahLst/>
            <a:cxnLst/>
            <a:rect l="0" t="0" r="0" b="0"/>
            <a:pathLst>
              <a:path w="563204296" h="348041913">
                <a:moveTo>
                  <a:pt x="563204296" y="54873922"/>
                </a:moveTo>
                <a:lnTo>
                  <a:pt x="563204296" y="54873922"/>
                </a:lnTo>
                <a:cubicBezTo>
                  <a:pt x="348272820" y="0"/>
                  <a:pt x="122179879" y="87369849"/>
                  <a:pt x="0" y="272515211"/>
                </a:cubicBezTo>
                <a:lnTo>
                  <a:pt x="114449548" y="348041913"/>
                </a:lnTo>
                <a:cubicBezTo>
                  <a:pt x="204442343" y="211671297"/>
                  <a:pt x="370973375" y="147318215"/>
                  <a:pt x="529283290" y="187736163"/>
                </a:cubicBezTo>
                <a:close/>
              </a:path>
            </a:pathLst>
          </a:custGeom>
          <a:solidFill>
            <a:srgbClr val="1C45DF">
              <a:alpha val="2038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59" name="Freeform 3959"/>
          <p:cNvSpPr/>
          <p:nvPr/>
        </p:nvSpPr>
        <p:spPr>
          <a:xfrm flipV="1">
            <a:off x="506028" y="2888392"/>
            <a:ext cx="1220963" cy="1154912"/>
          </a:xfrm>
          <a:custGeom>
            <a:avLst/>
            <a:gdLst/>
            <a:ahLst/>
            <a:cxnLst/>
            <a:rect l="0" t="0" r="0" b="0"/>
            <a:pathLst>
              <a:path w="620249223" h="586695649">
                <a:moveTo>
                  <a:pt x="620249223" y="38327608"/>
                </a:moveTo>
                <a:cubicBezTo>
                  <a:pt x="462275659" y="0"/>
                  <a:pt x="295598874" y="43156188"/>
                  <a:pt x="176076297" y="153333450"/>
                </a:cubicBezTo>
                <a:cubicBezTo>
                  <a:pt x="56553695" y="263510514"/>
                  <a:pt x="0" y="426130641"/>
                  <a:pt x="25367704" y="586695649"/>
                </a:cubicBezTo>
                <a:lnTo>
                  <a:pt x="52107752" y="582471014"/>
                </a:lnTo>
                <a:cubicBezTo>
                  <a:pt x="28152526" y="430846210"/>
                  <a:pt x="81557316" y="277280886"/>
                  <a:pt x="194424870" y="173238319"/>
                </a:cubicBezTo>
                <a:cubicBezTo>
                  <a:pt x="307292449" y="69195752"/>
                  <a:pt x="464688659" y="28442642"/>
                  <a:pt x="613866282" y="64636055"/>
                </a:cubicBezTo>
                <a:close/>
              </a:path>
            </a:pathLst>
          </a:custGeom>
          <a:solidFill>
            <a:srgbClr val="1C45DF">
              <a:alpha val="2038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60" name="Freeform 3960"/>
          <p:cNvSpPr/>
          <p:nvPr/>
        </p:nvSpPr>
        <p:spPr>
          <a:xfrm flipV="1">
            <a:off x="519410" y="2055456"/>
            <a:ext cx="1963916" cy="1963916"/>
          </a:xfrm>
          <a:custGeom>
            <a:avLst/>
            <a:gdLst/>
            <a:ahLst/>
            <a:cxnLst/>
            <a:rect l="0" t="0" r="0" b="0"/>
            <a:pathLst>
              <a:path w="997669609" h="997669535">
                <a:moveTo>
                  <a:pt x="0" y="498834768"/>
                </a:moveTo>
                <a:lnTo>
                  <a:pt x="0" y="498834768"/>
                </a:lnTo>
                <a:cubicBezTo>
                  <a:pt x="0" y="774333586"/>
                  <a:pt x="223335974" y="997669535"/>
                  <a:pt x="498834842" y="997669535"/>
                </a:cubicBezTo>
                <a:lnTo>
                  <a:pt x="498834842" y="997669535"/>
                </a:lnTo>
                <a:cubicBezTo>
                  <a:pt x="631134016" y="997669535"/>
                  <a:pt x="758014656" y="945113859"/>
                  <a:pt x="851564344" y="851564270"/>
                </a:cubicBezTo>
                <a:cubicBezTo>
                  <a:pt x="945114032" y="758014582"/>
                  <a:pt x="997669609" y="631133942"/>
                  <a:pt x="997669609" y="498834768"/>
                </a:cubicBezTo>
                <a:lnTo>
                  <a:pt x="997669609" y="498834768"/>
                </a:lnTo>
                <a:cubicBezTo>
                  <a:pt x="997669609" y="223335850"/>
                  <a:pt x="774333659" y="0"/>
                  <a:pt x="498834842" y="0"/>
                </a:cubicBezTo>
                <a:lnTo>
                  <a:pt x="498834842" y="0"/>
                </a:lnTo>
                <a:cubicBezTo>
                  <a:pt x="223335974" y="0"/>
                  <a:pt x="0" y="223335850"/>
                  <a:pt x="0" y="498834768"/>
                </a:cubicBezTo>
                <a:close/>
              </a:path>
            </a:pathLst>
          </a:custGeom>
          <a:solidFill>
            <a:srgbClr val="1C45DF">
              <a:alpha val="2549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961" name="Picture 3961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1509" y="2007194"/>
            <a:ext cx="2095190" cy="2095190"/>
          </a:xfrm>
          <a:prstGeom prst="rect">
            <a:avLst/>
          </a:prstGeom>
          <a:noFill/>
        </p:spPr>
      </p:pic>
      <p:sp>
        <p:nvSpPr>
          <p:cNvPr id="3962" name="Freeform 3962"/>
          <p:cNvSpPr/>
          <p:nvPr/>
        </p:nvSpPr>
        <p:spPr>
          <a:xfrm flipV="1">
            <a:off x="568073" y="2104119"/>
            <a:ext cx="1866590" cy="1866590"/>
          </a:xfrm>
          <a:custGeom>
            <a:avLst/>
            <a:gdLst/>
            <a:ahLst/>
            <a:cxnLst/>
            <a:rect l="0" t="0" r="0" b="0"/>
            <a:pathLst>
              <a:path w="948228087" h="948228136">
                <a:moveTo>
                  <a:pt x="0" y="474114118"/>
                </a:moveTo>
                <a:lnTo>
                  <a:pt x="0" y="474114118"/>
                </a:lnTo>
                <a:cubicBezTo>
                  <a:pt x="0" y="735960138"/>
                  <a:pt x="212268098" y="948228136"/>
                  <a:pt x="474114069" y="948228136"/>
                </a:cubicBezTo>
                <a:lnTo>
                  <a:pt x="474114069" y="948228136"/>
                </a:lnTo>
                <a:cubicBezTo>
                  <a:pt x="599856868" y="948228136"/>
                  <a:pt x="720449718" y="898277052"/>
                  <a:pt x="809363311" y="809363360"/>
                </a:cubicBezTo>
                <a:cubicBezTo>
                  <a:pt x="898276904" y="720449767"/>
                  <a:pt x="948228087" y="599857016"/>
                  <a:pt x="948228087" y="474114118"/>
                </a:cubicBezTo>
                <a:lnTo>
                  <a:pt x="948228087" y="474114118"/>
                </a:lnTo>
                <a:cubicBezTo>
                  <a:pt x="948228087" y="212268196"/>
                  <a:pt x="735959990" y="0"/>
                  <a:pt x="474114069" y="0"/>
                </a:cubicBezTo>
                <a:lnTo>
                  <a:pt x="474114069" y="0"/>
                </a:lnTo>
                <a:cubicBezTo>
                  <a:pt x="212268098" y="0"/>
                  <a:pt x="0" y="212268196"/>
                  <a:pt x="0" y="474114118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63" name="Freeform 3963"/>
          <p:cNvSpPr/>
          <p:nvPr/>
        </p:nvSpPr>
        <p:spPr>
          <a:xfrm flipV="1">
            <a:off x="567484" y="2103529"/>
            <a:ext cx="1867950" cy="1867949"/>
          </a:xfrm>
          <a:custGeom>
            <a:avLst/>
            <a:gdLst/>
            <a:ahLst/>
            <a:cxnLst/>
            <a:rect l="0" t="0" r="0" b="0"/>
            <a:pathLst>
              <a:path w="948918625" h="948918600">
                <a:moveTo>
                  <a:pt x="0" y="474459300"/>
                </a:moveTo>
                <a:lnTo>
                  <a:pt x="0" y="474459300"/>
                </a:lnTo>
                <a:cubicBezTo>
                  <a:pt x="0" y="736495920"/>
                  <a:pt x="212422656" y="948918600"/>
                  <a:pt x="474459325" y="948918600"/>
                </a:cubicBezTo>
                <a:lnTo>
                  <a:pt x="474459325" y="948918600"/>
                </a:lnTo>
                <a:cubicBezTo>
                  <a:pt x="600293703" y="948918600"/>
                  <a:pt x="720974362" y="898931003"/>
                  <a:pt x="809952745" y="809952720"/>
                </a:cubicBezTo>
                <a:cubicBezTo>
                  <a:pt x="898931127" y="720974337"/>
                  <a:pt x="948918625" y="600293678"/>
                  <a:pt x="948918625" y="474459300"/>
                </a:cubicBezTo>
                <a:lnTo>
                  <a:pt x="948918625" y="474459300"/>
                </a:lnTo>
                <a:cubicBezTo>
                  <a:pt x="948918625" y="212422581"/>
                  <a:pt x="736495945" y="0"/>
                  <a:pt x="474459325" y="0"/>
                </a:cubicBezTo>
                <a:lnTo>
                  <a:pt x="474459325" y="0"/>
                </a:lnTo>
                <a:cubicBezTo>
                  <a:pt x="212422656" y="0"/>
                  <a:pt x="0" y="212422581"/>
                  <a:pt x="0" y="474459300"/>
                </a:cubicBez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964" name="Picture 3964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4784" y="2573134"/>
            <a:ext cx="1893349" cy="1411045"/>
          </a:xfrm>
          <a:prstGeom prst="rect">
            <a:avLst/>
          </a:prstGeom>
          <a:noFill/>
        </p:spPr>
      </p:pic>
      <p:sp>
        <p:nvSpPr>
          <p:cNvPr id="3965" name="Freeform 3965"/>
          <p:cNvSpPr/>
          <p:nvPr/>
        </p:nvSpPr>
        <p:spPr>
          <a:xfrm flipV="1">
            <a:off x="630212" y="2166258"/>
            <a:ext cx="1742350" cy="1742350"/>
          </a:xfrm>
          <a:custGeom>
            <a:avLst/>
            <a:gdLst/>
            <a:ahLst/>
            <a:cxnLst/>
            <a:rect l="0" t="0" r="0" b="0"/>
            <a:pathLst>
              <a:path w="885114172" h="885114197">
                <a:moveTo>
                  <a:pt x="0" y="442557098"/>
                </a:moveTo>
                <a:lnTo>
                  <a:pt x="0" y="442557098"/>
                </a:lnTo>
                <a:cubicBezTo>
                  <a:pt x="0" y="686974651"/>
                  <a:pt x="198139571" y="885114197"/>
                  <a:pt x="442557074" y="885114197"/>
                </a:cubicBezTo>
                <a:lnTo>
                  <a:pt x="442557074" y="885114197"/>
                </a:lnTo>
                <a:cubicBezTo>
                  <a:pt x="559930573" y="885114197"/>
                  <a:pt x="672496626" y="838487833"/>
                  <a:pt x="755492217" y="755492242"/>
                </a:cubicBezTo>
                <a:cubicBezTo>
                  <a:pt x="838487809" y="672496651"/>
                  <a:pt x="885114172" y="559930598"/>
                  <a:pt x="885114172" y="442557098"/>
                </a:cubicBezTo>
                <a:lnTo>
                  <a:pt x="885114172" y="442557098"/>
                </a:lnTo>
                <a:cubicBezTo>
                  <a:pt x="885114172" y="198139645"/>
                  <a:pt x="686974626" y="0"/>
                  <a:pt x="442557074" y="0"/>
                </a:cubicBezTo>
                <a:lnTo>
                  <a:pt x="442557074" y="0"/>
                </a:lnTo>
                <a:cubicBezTo>
                  <a:pt x="198139571" y="0"/>
                  <a:pt x="0" y="198139645"/>
                  <a:pt x="0" y="442557098"/>
                </a:cubicBez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66" name="Freeform 3966"/>
          <p:cNvSpPr/>
          <p:nvPr/>
        </p:nvSpPr>
        <p:spPr>
          <a:xfrm flipV="1">
            <a:off x="630212" y="2166258"/>
            <a:ext cx="1742350" cy="1742350"/>
          </a:xfrm>
          <a:custGeom>
            <a:avLst/>
            <a:gdLst/>
            <a:ahLst/>
            <a:cxnLst/>
            <a:rect l="0" t="0" r="0" b="0"/>
            <a:pathLst>
              <a:path w="885114172" h="885114197">
                <a:moveTo>
                  <a:pt x="0" y="442557098"/>
                </a:moveTo>
                <a:lnTo>
                  <a:pt x="0" y="442557098"/>
                </a:lnTo>
                <a:cubicBezTo>
                  <a:pt x="0" y="686974651"/>
                  <a:pt x="198139571" y="885114197"/>
                  <a:pt x="442557074" y="885114197"/>
                </a:cubicBezTo>
                <a:lnTo>
                  <a:pt x="442557074" y="885114197"/>
                </a:lnTo>
                <a:cubicBezTo>
                  <a:pt x="559930573" y="885114197"/>
                  <a:pt x="672496626" y="838487833"/>
                  <a:pt x="755492217" y="755492242"/>
                </a:cubicBezTo>
                <a:cubicBezTo>
                  <a:pt x="838487809" y="672496651"/>
                  <a:pt x="885114172" y="559930598"/>
                  <a:pt x="885114172" y="442557098"/>
                </a:cubicBezTo>
                <a:lnTo>
                  <a:pt x="885114172" y="442557098"/>
                </a:lnTo>
                <a:cubicBezTo>
                  <a:pt x="885114172" y="198139645"/>
                  <a:pt x="686974626" y="0"/>
                  <a:pt x="442557074" y="0"/>
                </a:cubicBezTo>
                <a:lnTo>
                  <a:pt x="442557074" y="0"/>
                </a:lnTo>
                <a:cubicBezTo>
                  <a:pt x="198139571" y="0"/>
                  <a:pt x="0" y="198139645"/>
                  <a:pt x="0" y="442557098"/>
                </a:cubicBezTo>
                <a:close/>
              </a:path>
            </a:pathLst>
          </a:custGeom>
          <a:noFill/>
          <a:ln w="12699" cap="flat" cmpd="sng">
            <a:solidFill>
              <a:srgbClr val="FFFFFF">
                <a:alpha val="8274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67" name="Freeform 3967"/>
          <p:cNvSpPr/>
          <p:nvPr/>
        </p:nvSpPr>
        <p:spPr>
          <a:xfrm flipV="1">
            <a:off x="730555" y="2364243"/>
            <a:ext cx="1541718" cy="1346522"/>
          </a:xfrm>
          <a:custGeom>
            <a:avLst/>
            <a:gdLst/>
            <a:ahLst/>
            <a:cxnLst/>
            <a:rect l="0" t="0" r="0" b="0"/>
            <a:pathLst>
              <a:path w="783192827" h="684033510">
                <a:moveTo>
                  <a:pt x="0" y="684033510"/>
                </a:moveTo>
                <a:lnTo>
                  <a:pt x="783192827" y="684033510"/>
                </a:lnTo>
                <a:lnTo>
                  <a:pt x="783192827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68" name="Freeform 3968"/>
          <p:cNvSpPr/>
          <p:nvPr/>
        </p:nvSpPr>
        <p:spPr>
          <a:xfrm flipV="1">
            <a:off x="436558" y="1887252"/>
            <a:ext cx="1752648" cy="1913783"/>
          </a:xfrm>
          <a:custGeom>
            <a:avLst/>
            <a:gdLst/>
            <a:ahLst/>
            <a:cxnLst/>
            <a:rect l="0" t="0" r="0" b="0"/>
            <a:pathLst>
              <a:path w="890345307" h="972202066">
                <a:moveTo>
                  <a:pt x="231608560" y="0"/>
                </a:moveTo>
                <a:lnTo>
                  <a:pt x="231608560" y="0"/>
                </a:lnTo>
                <a:cubicBezTo>
                  <a:pt x="24421653" y="185968481"/>
                  <a:pt x="0" y="501946565"/>
                  <a:pt x="176150339" y="717542856"/>
                </a:cubicBezTo>
                <a:cubicBezTo>
                  <a:pt x="352300679" y="933139049"/>
                  <a:pt x="666804570" y="972202066"/>
                  <a:pt x="890345307" y="806249677"/>
                </a:cubicBezTo>
                <a:lnTo>
                  <a:pt x="579710202" y="387819007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69" name="Freeform 3969"/>
          <p:cNvSpPr/>
          <p:nvPr/>
        </p:nvSpPr>
        <p:spPr>
          <a:xfrm flipV="1">
            <a:off x="436558" y="1887252"/>
            <a:ext cx="1752648" cy="1913783"/>
          </a:xfrm>
          <a:custGeom>
            <a:avLst/>
            <a:gdLst/>
            <a:ahLst/>
            <a:cxnLst/>
            <a:rect l="0" t="0" r="0" b="0"/>
            <a:pathLst>
              <a:path w="890345307" h="972202066">
                <a:moveTo>
                  <a:pt x="231608560" y="0"/>
                </a:moveTo>
                <a:lnTo>
                  <a:pt x="231608560" y="0"/>
                </a:lnTo>
                <a:cubicBezTo>
                  <a:pt x="24421653" y="185968481"/>
                  <a:pt x="0" y="501946565"/>
                  <a:pt x="176150339" y="717542856"/>
                </a:cubicBezTo>
                <a:cubicBezTo>
                  <a:pt x="352300679" y="933139049"/>
                  <a:pt x="666804570" y="972202066"/>
                  <a:pt x="890345307" y="806249677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0" name="Freeform 3970"/>
          <p:cNvSpPr/>
          <p:nvPr/>
        </p:nvSpPr>
        <p:spPr>
          <a:xfrm flipV="1">
            <a:off x="436558" y="1887252"/>
            <a:ext cx="1752648" cy="1913783"/>
          </a:xfrm>
          <a:custGeom>
            <a:avLst/>
            <a:gdLst/>
            <a:ahLst/>
            <a:cxnLst/>
            <a:rect l="0" t="0" r="0" b="0"/>
            <a:pathLst>
              <a:path w="890345307" h="972202066">
                <a:moveTo>
                  <a:pt x="231608560" y="0"/>
                </a:moveTo>
                <a:lnTo>
                  <a:pt x="231608560" y="0"/>
                </a:lnTo>
                <a:cubicBezTo>
                  <a:pt x="24421653" y="185968481"/>
                  <a:pt x="0" y="501946565"/>
                  <a:pt x="176150339" y="717542856"/>
                </a:cubicBezTo>
                <a:cubicBezTo>
                  <a:pt x="352300679" y="933139049"/>
                  <a:pt x="666804570" y="972202066"/>
                  <a:pt x="890345307" y="806249677"/>
                </a:cubicBezTo>
              </a:path>
            </a:pathLst>
          </a:custGeom>
          <a:noFill/>
          <a:ln w="12699" cap="flat" cmpd="sng">
            <a:solidFill>
              <a:srgbClr val="1640DD">
                <a:alpha val="100000"/>
              </a:srgbClr>
            </a:solidFill>
            <a:custDash>
              <a:ds d="1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1" name="Freeform 3971"/>
          <p:cNvSpPr/>
          <p:nvPr/>
        </p:nvSpPr>
        <p:spPr>
          <a:xfrm flipV="1">
            <a:off x="444114" y="2059554"/>
            <a:ext cx="1057443" cy="1054296"/>
          </a:xfrm>
          <a:custGeom>
            <a:avLst/>
            <a:gdLst/>
            <a:ahLst/>
            <a:cxnLst/>
            <a:rect l="0" t="0" r="0" b="0"/>
            <a:pathLst>
              <a:path w="537181127" h="535582416">
                <a:moveTo>
                  <a:pt x="0" y="99695100"/>
                </a:moveTo>
                <a:lnTo>
                  <a:pt x="0" y="99695100"/>
                </a:lnTo>
                <a:cubicBezTo>
                  <a:pt x="40696902" y="318979848"/>
                  <a:pt x="210594625" y="491513912"/>
                  <a:pt x="429226712" y="535582416"/>
                </a:cubicBezTo>
                <a:lnTo>
                  <a:pt x="537181127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2" name="Freeform 3972"/>
          <p:cNvSpPr/>
          <p:nvPr/>
        </p:nvSpPr>
        <p:spPr>
          <a:xfrm flipV="1">
            <a:off x="444114" y="2059554"/>
            <a:ext cx="844934" cy="858045"/>
          </a:xfrm>
          <a:custGeom>
            <a:avLst/>
            <a:gdLst/>
            <a:ahLst/>
            <a:cxnLst/>
            <a:rect l="0" t="0" r="0" b="0"/>
            <a:pathLst>
              <a:path w="429226712" h="435887316">
                <a:moveTo>
                  <a:pt x="0" y="0"/>
                </a:moveTo>
                <a:lnTo>
                  <a:pt x="0" y="0"/>
                </a:lnTo>
                <a:cubicBezTo>
                  <a:pt x="40696902" y="219284748"/>
                  <a:pt x="210594625" y="391818812"/>
                  <a:pt x="429226712" y="435887316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3" name="Freeform 3973"/>
          <p:cNvSpPr/>
          <p:nvPr/>
        </p:nvSpPr>
        <p:spPr>
          <a:xfrm flipV="1">
            <a:off x="444114" y="2059554"/>
            <a:ext cx="844934" cy="858045"/>
          </a:xfrm>
          <a:custGeom>
            <a:avLst/>
            <a:gdLst/>
            <a:ahLst/>
            <a:cxnLst/>
            <a:rect l="0" t="0" r="0" b="0"/>
            <a:pathLst>
              <a:path w="429226712" h="435887316">
                <a:moveTo>
                  <a:pt x="0" y="0"/>
                </a:moveTo>
                <a:lnTo>
                  <a:pt x="0" y="0"/>
                </a:lnTo>
                <a:cubicBezTo>
                  <a:pt x="40696902" y="219284748"/>
                  <a:pt x="210594625" y="391818812"/>
                  <a:pt x="429226712" y="435887316"/>
                </a:cubicBezTo>
              </a:path>
            </a:pathLst>
          </a:custGeom>
          <a:noFill/>
          <a:ln w="92074" cap="flat" cmpd="sng">
            <a:solidFill>
              <a:srgbClr val="1640DD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4" name="Freeform 3974"/>
          <p:cNvSpPr/>
          <p:nvPr/>
        </p:nvSpPr>
        <p:spPr>
          <a:xfrm flipV="1">
            <a:off x="1449187" y="2260150"/>
            <a:ext cx="1082870" cy="1578601"/>
          </a:xfrm>
          <a:custGeom>
            <a:avLst/>
            <a:gdLst/>
            <a:ahLst/>
            <a:cxnLst/>
            <a:rect l="0" t="0" r="0" b="0"/>
            <a:pathLst>
              <a:path w="550098367" h="801929395">
                <a:moveTo>
                  <a:pt x="379473470" y="801929395"/>
                </a:moveTo>
                <a:lnTo>
                  <a:pt x="379473470" y="801929395"/>
                </a:lnTo>
                <a:cubicBezTo>
                  <a:pt x="489172796" y="696534675"/>
                  <a:pt x="550098367" y="550264906"/>
                  <a:pt x="547654907" y="398159585"/>
                </a:cubicBezTo>
                <a:cubicBezTo>
                  <a:pt x="545211546" y="246054364"/>
                  <a:pt x="479619420" y="101816892"/>
                  <a:pt x="366591503" y="0"/>
                </a:cubicBezTo>
                <a:lnTo>
                  <a:pt x="0" y="40695701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5" name="Freeform 3975"/>
          <p:cNvSpPr/>
          <p:nvPr/>
        </p:nvSpPr>
        <p:spPr>
          <a:xfrm flipV="1">
            <a:off x="2170823" y="2260150"/>
            <a:ext cx="361233" cy="1578601"/>
          </a:xfrm>
          <a:custGeom>
            <a:avLst/>
            <a:gdLst/>
            <a:ahLst/>
            <a:cxnLst/>
            <a:rect l="0" t="0" r="0" b="0"/>
            <a:pathLst>
              <a:path w="183506864" h="801929395">
                <a:moveTo>
                  <a:pt x="12881967" y="801929395"/>
                </a:moveTo>
                <a:lnTo>
                  <a:pt x="12881967" y="801929395"/>
                </a:lnTo>
                <a:cubicBezTo>
                  <a:pt x="122581293" y="696534675"/>
                  <a:pt x="183506864" y="550264906"/>
                  <a:pt x="181063404" y="398159585"/>
                </a:cubicBezTo>
                <a:cubicBezTo>
                  <a:pt x="178620043" y="246054364"/>
                  <a:pt x="113027917" y="101816892"/>
                  <a:pt x="0" y="0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6" name="Freeform 3976"/>
          <p:cNvSpPr/>
          <p:nvPr/>
        </p:nvSpPr>
        <p:spPr>
          <a:xfrm flipV="1">
            <a:off x="2170823" y="2260150"/>
            <a:ext cx="361233" cy="1578601"/>
          </a:xfrm>
          <a:custGeom>
            <a:avLst/>
            <a:gdLst/>
            <a:ahLst/>
            <a:cxnLst/>
            <a:rect l="0" t="0" r="0" b="0"/>
            <a:pathLst>
              <a:path w="183506864" h="801929395">
                <a:moveTo>
                  <a:pt x="12881967" y="801929395"/>
                </a:moveTo>
                <a:lnTo>
                  <a:pt x="12881967" y="801929395"/>
                </a:lnTo>
                <a:cubicBezTo>
                  <a:pt x="122581293" y="696534675"/>
                  <a:pt x="183506864" y="550264906"/>
                  <a:pt x="181063404" y="398159585"/>
                </a:cubicBezTo>
                <a:cubicBezTo>
                  <a:pt x="178620043" y="246054364"/>
                  <a:pt x="113027917" y="101816892"/>
                  <a:pt x="0" y="0"/>
                </a:cubicBezTo>
              </a:path>
            </a:pathLst>
          </a:custGeom>
          <a:noFill/>
          <a:ln w="12699" cap="flat" cmpd="sng">
            <a:solidFill>
              <a:srgbClr val="1C45D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7" name="Freeform 3977"/>
          <p:cNvSpPr/>
          <p:nvPr/>
        </p:nvSpPr>
        <p:spPr>
          <a:xfrm flipV="1">
            <a:off x="2520806" y="2980826"/>
            <a:ext cx="113388" cy="113388"/>
          </a:xfrm>
          <a:custGeom>
            <a:avLst/>
            <a:gdLst/>
            <a:ahLst/>
            <a:cxnLst/>
            <a:rect l="0" t="0" r="0" b="0"/>
            <a:pathLst>
              <a:path w="57601346" h="57601346">
                <a:moveTo>
                  <a:pt x="0" y="28800623"/>
                </a:moveTo>
                <a:lnTo>
                  <a:pt x="0" y="28800623"/>
                </a:lnTo>
                <a:cubicBezTo>
                  <a:pt x="0" y="44706778"/>
                  <a:pt x="12894567" y="57601346"/>
                  <a:pt x="28800722" y="57601346"/>
                </a:cubicBezTo>
                <a:lnTo>
                  <a:pt x="28800722" y="57601346"/>
                </a:lnTo>
                <a:cubicBezTo>
                  <a:pt x="36439078" y="57601346"/>
                  <a:pt x="43764696" y="54566939"/>
                  <a:pt x="49165867" y="49165768"/>
                </a:cubicBezTo>
                <a:cubicBezTo>
                  <a:pt x="54567038" y="43764597"/>
                  <a:pt x="57601346" y="36439078"/>
                  <a:pt x="57601346" y="28800623"/>
                </a:cubicBezTo>
                <a:lnTo>
                  <a:pt x="57601346" y="28800623"/>
                </a:lnTo>
                <a:cubicBezTo>
                  <a:pt x="57601346" y="12894469"/>
                  <a:pt x="44706877" y="0"/>
                  <a:pt x="28800722" y="0"/>
                </a:cubicBezTo>
                <a:lnTo>
                  <a:pt x="28800722" y="0"/>
                </a:lnTo>
                <a:cubicBezTo>
                  <a:pt x="12894567" y="0"/>
                  <a:pt x="0" y="12894469"/>
                  <a:pt x="0" y="28800623"/>
                </a:cubicBezTo>
                <a:close/>
              </a:path>
            </a:pathLst>
          </a:custGeom>
          <a:solidFill>
            <a:srgbClr val="1C45DF">
              <a:alpha val="41569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8" name="Freeform 3978"/>
          <p:cNvSpPr/>
          <p:nvPr/>
        </p:nvSpPr>
        <p:spPr>
          <a:xfrm flipV="1">
            <a:off x="2547283" y="3007303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707" h="30707607">
                <a:moveTo>
                  <a:pt x="0" y="15353804"/>
                </a:moveTo>
                <a:lnTo>
                  <a:pt x="0" y="15353804"/>
                </a:lnTo>
                <a:cubicBezTo>
                  <a:pt x="0" y="23833534"/>
                  <a:pt x="6874173" y="30707607"/>
                  <a:pt x="15353903" y="30707607"/>
                </a:cubicBezTo>
                <a:lnTo>
                  <a:pt x="15353903" y="30707607"/>
                </a:lnTo>
                <a:cubicBezTo>
                  <a:pt x="19425940" y="30707607"/>
                  <a:pt x="23331289" y="29090044"/>
                  <a:pt x="26210617" y="26210617"/>
                </a:cubicBezTo>
                <a:cubicBezTo>
                  <a:pt x="29090044" y="23331189"/>
                  <a:pt x="30707707" y="19425939"/>
                  <a:pt x="30707707" y="15353804"/>
                </a:cubicBezTo>
                <a:lnTo>
                  <a:pt x="30707707" y="15353804"/>
                </a:lnTo>
                <a:cubicBezTo>
                  <a:pt x="30707707" y="6874172"/>
                  <a:pt x="23833534" y="0"/>
                  <a:pt x="15353903" y="0"/>
                </a:cubicBezTo>
                <a:lnTo>
                  <a:pt x="15353903" y="0"/>
                </a:lnTo>
                <a:cubicBezTo>
                  <a:pt x="6874173" y="0"/>
                  <a:pt x="0" y="6874172"/>
                  <a:pt x="0" y="1535380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79" name="Freeform 3979"/>
          <p:cNvSpPr/>
          <p:nvPr/>
        </p:nvSpPr>
        <p:spPr>
          <a:xfrm flipV="1">
            <a:off x="2547283" y="3007303"/>
            <a:ext cx="60448" cy="60448"/>
          </a:xfrm>
          <a:custGeom>
            <a:avLst/>
            <a:gdLst/>
            <a:ahLst/>
            <a:cxnLst/>
            <a:rect l="0" t="0" r="0" b="0"/>
            <a:pathLst>
              <a:path w="30707707" h="30707607">
                <a:moveTo>
                  <a:pt x="0" y="15353804"/>
                </a:moveTo>
                <a:lnTo>
                  <a:pt x="0" y="15353804"/>
                </a:lnTo>
                <a:cubicBezTo>
                  <a:pt x="0" y="23833534"/>
                  <a:pt x="6874173" y="30707607"/>
                  <a:pt x="15353903" y="30707607"/>
                </a:cubicBezTo>
                <a:lnTo>
                  <a:pt x="15353903" y="30707607"/>
                </a:lnTo>
                <a:cubicBezTo>
                  <a:pt x="19425940" y="30707607"/>
                  <a:pt x="23331289" y="29090044"/>
                  <a:pt x="26210617" y="26210617"/>
                </a:cubicBezTo>
                <a:cubicBezTo>
                  <a:pt x="29090044" y="23331189"/>
                  <a:pt x="30707707" y="19425939"/>
                  <a:pt x="30707707" y="15353804"/>
                </a:cubicBezTo>
                <a:lnTo>
                  <a:pt x="30707707" y="15353804"/>
                </a:lnTo>
                <a:cubicBezTo>
                  <a:pt x="30707707" y="6874172"/>
                  <a:pt x="23833534" y="0"/>
                  <a:pt x="15353903" y="0"/>
                </a:cubicBezTo>
                <a:lnTo>
                  <a:pt x="15353903" y="0"/>
                </a:lnTo>
                <a:cubicBezTo>
                  <a:pt x="6874173" y="0"/>
                  <a:pt x="0" y="6874172"/>
                  <a:pt x="0" y="15353804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80" name="Freeform 3980"/>
          <p:cNvSpPr/>
          <p:nvPr/>
        </p:nvSpPr>
        <p:spPr>
          <a:xfrm flipV="1">
            <a:off x="2751149" y="2987619"/>
            <a:ext cx="45682" cy="99800"/>
          </a:xfrm>
          <a:custGeom>
            <a:avLst/>
            <a:gdLst/>
            <a:ahLst/>
            <a:cxnLst/>
            <a:rect l="0" t="0" r="0" b="0"/>
            <a:pathLst>
              <a:path w="23206670" h="50698797">
                <a:moveTo>
                  <a:pt x="0" y="50698797"/>
                </a:moveTo>
                <a:lnTo>
                  <a:pt x="23206670" y="25349299"/>
                </a:lnTo>
                <a:lnTo>
                  <a:pt x="0" y="0"/>
                </a:ln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81" name="Freeform 3981"/>
          <p:cNvSpPr/>
          <p:nvPr/>
        </p:nvSpPr>
        <p:spPr>
          <a:xfrm flipV="1">
            <a:off x="2751149" y="2987619"/>
            <a:ext cx="45682" cy="99800"/>
          </a:xfrm>
          <a:custGeom>
            <a:avLst/>
            <a:gdLst/>
            <a:ahLst/>
            <a:cxnLst/>
            <a:rect l="0" t="0" r="0" b="0"/>
            <a:pathLst>
              <a:path w="23206670" h="50698797">
                <a:moveTo>
                  <a:pt x="0" y="50698797"/>
                </a:moveTo>
                <a:lnTo>
                  <a:pt x="23206670" y="25349299"/>
                </a:lnTo>
                <a:lnTo>
                  <a:pt x="0" y="0"/>
                </a:lnTo>
              </a:path>
            </a:pathLst>
          </a:custGeom>
          <a:noFill/>
          <a:ln w="12699" cap="rnd" cmpd="sng">
            <a:solidFill>
              <a:srgbClr val="1C45D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82" name="Freeform 3982"/>
          <p:cNvSpPr/>
          <p:nvPr/>
        </p:nvSpPr>
        <p:spPr>
          <a:xfrm flipV="1">
            <a:off x="2697810" y="2987619"/>
            <a:ext cx="45682" cy="99800"/>
          </a:xfrm>
          <a:custGeom>
            <a:avLst/>
            <a:gdLst/>
            <a:ahLst/>
            <a:cxnLst/>
            <a:rect l="0" t="0" r="0" b="0"/>
            <a:pathLst>
              <a:path w="23206670" h="50698797">
                <a:moveTo>
                  <a:pt x="0" y="50698797"/>
                </a:moveTo>
                <a:lnTo>
                  <a:pt x="23206670" y="25349299"/>
                </a:lnTo>
                <a:lnTo>
                  <a:pt x="0" y="0"/>
                </a:ln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83" name="Freeform 3983"/>
          <p:cNvSpPr/>
          <p:nvPr/>
        </p:nvSpPr>
        <p:spPr>
          <a:xfrm flipV="1">
            <a:off x="2697810" y="2987619"/>
            <a:ext cx="45682" cy="99800"/>
          </a:xfrm>
          <a:custGeom>
            <a:avLst/>
            <a:gdLst/>
            <a:ahLst/>
            <a:cxnLst/>
            <a:rect l="0" t="0" r="0" b="0"/>
            <a:pathLst>
              <a:path w="23206670" h="50698797">
                <a:moveTo>
                  <a:pt x="0" y="50698797"/>
                </a:moveTo>
                <a:lnTo>
                  <a:pt x="23206670" y="25349299"/>
                </a:lnTo>
                <a:lnTo>
                  <a:pt x="0" y="0"/>
                </a:lnTo>
              </a:path>
            </a:pathLst>
          </a:custGeom>
          <a:noFill/>
          <a:ln w="12699" cap="rnd" cmpd="sng">
            <a:solidFill>
              <a:srgbClr val="1C45D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984" name="Picture 3984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506908"/>
            <a:ext cx="1444432" cy="1488250"/>
          </a:xfrm>
          <a:prstGeom prst="rect">
            <a:avLst/>
          </a:prstGeom>
          <a:noFill/>
        </p:spPr>
      </p:pic>
      <p:sp>
        <p:nvSpPr>
          <p:cNvPr id="3985" name="Freeform 3985"/>
          <p:cNvSpPr/>
          <p:nvPr/>
        </p:nvSpPr>
        <p:spPr>
          <a:xfrm flipV="1">
            <a:off x="162200" y="712926"/>
            <a:ext cx="878649" cy="878649"/>
          </a:xfrm>
          <a:custGeom>
            <a:avLst/>
            <a:gdLst/>
            <a:ahLst/>
            <a:cxnLst/>
            <a:rect l="0" t="0" r="0" b="0"/>
            <a:pathLst>
              <a:path w="446354182" h="446354176">
                <a:moveTo>
                  <a:pt x="0" y="446354176"/>
                </a:moveTo>
                <a:lnTo>
                  <a:pt x="446354182" y="446354176"/>
                </a:lnTo>
                <a:lnTo>
                  <a:pt x="44635418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986" name="Picture 3077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62200" y="712925"/>
            <a:ext cx="878649" cy="878649"/>
          </a:xfrm>
          <a:prstGeom prst="rect">
            <a:avLst/>
          </a:prstGeom>
          <a:noFill/>
        </p:spPr>
      </p:pic>
      <p:sp>
        <p:nvSpPr>
          <p:cNvPr id="3987" name="Freeform 3987"/>
          <p:cNvSpPr/>
          <p:nvPr/>
        </p:nvSpPr>
        <p:spPr>
          <a:xfrm flipV="1">
            <a:off x="3019475" y="4280778"/>
            <a:ext cx="471873" cy="459826"/>
          </a:xfrm>
          <a:custGeom>
            <a:avLst/>
            <a:gdLst/>
            <a:ahLst/>
            <a:cxnLst/>
            <a:rect l="0" t="0" r="0" b="0"/>
            <a:pathLst>
              <a:path w="239711806" h="233591695">
                <a:moveTo>
                  <a:pt x="0" y="233591695"/>
                </a:moveTo>
                <a:lnTo>
                  <a:pt x="239711806" y="233568280"/>
                </a:lnTo>
                <a:lnTo>
                  <a:pt x="239711806" y="0"/>
                </a:lnTo>
                <a:lnTo>
                  <a:pt x="0" y="23217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988" name="Picture 3988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006775" y="4268079"/>
            <a:ext cx="497273" cy="485225"/>
          </a:xfrm>
          <a:prstGeom prst="rect">
            <a:avLst/>
          </a:prstGeom>
          <a:noFill/>
        </p:spPr>
      </p:pic>
      <p:sp>
        <p:nvSpPr>
          <p:cNvPr id="3989" name="Freeform 3989"/>
          <p:cNvSpPr/>
          <p:nvPr/>
        </p:nvSpPr>
        <p:spPr>
          <a:xfrm flipV="1">
            <a:off x="2096644" y="4281097"/>
            <a:ext cx="471874" cy="459825"/>
          </a:xfrm>
          <a:custGeom>
            <a:avLst/>
            <a:gdLst/>
            <a:ahLst/>
            <a:cxnLst/>
            <a:rect l="0" t="0" r="0" b="0"/>
            <a:pathLst>
              <a:path w="239712004" h="233591496">
                <a:moveTo>
                  <a:pt x="0" y="233591496"/>
                </a:moveTo>
                <a:lnTo>
                  <a:pt x="239712004" y="233568279"/>
                </a:lnTo>
                <a:lnTo>
                  <a:pt x="239712004" y="0"/>
                </a:lnTo>
                <a:lnTo>
                  <a:pt x="0" y="23415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990" name="Picture 3990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83944" y="4268397"/>
            <a:ext cx="497273" cy="485225"/>
          </a:xfrm>
          <a:prstGeom prst="rect">
            <a:avLst/>
          </a:prstGeom>
          <a:noFill/>
        </p:spPr>
      </p:pic>
      <p:sp>
        <p:nvSpPr>
          <p:cNvPr id="3991" name="Freeform 3991"/>
          <p:cNvSpPr/>
          <p:nvPr/>
        </p:nvSpPr>
        <p:spPr>
          <a:xfrm flipV="1">
            <a:off x="1165024" y="4281082"/>
            <a:ext cx="496753" cy="459830"/>
          </a:xfrm>
          <a:custGeom>
            <a:avLst/>
            <a:gdLst/>
            <a:ahLst/>
            <a:cxnLst/>
            <a:rect l="0" t="0" r="0" b="0"/>
            <a:pathLst>
              <a:path w="252350836" h="233593878">
                <a:moveTo>
                  <a:pt x="0" y="233593878"/>
                </a:moveTo>
                <a:lnTo>
                  <a:pt x="252350836" y="233569272"/>
                </a:lnTo>
                <a:lnTo>
                  <a:pt x="252350836" y="0"/>
                </a:lnTo>
                <a:lnTo>
                  <a:pt x="0" y="24607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992" name="Picture 3992"/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52324" y="4268382"/>
            <a:ext cx="522153" cy="485230"/>
          </a:xfrm>
          <a:prstGeom prst="rect">
            <a:avLst/>
          </a:prstGeom>
          <a:noFill/>
        </p:spPr>
      </p:pic>
      <p:sp>
        <p:nvSpPr>
          <p:cNvPr id="3993" name="Freeform 3993"/>
          <p:cNvSpPr/>
          <p:nvPr/>
        </p:nvSpPr>
        <p:spPr>
          <a:xfrm flipV="1">
            <a:off x="260107" y="4280744"/>
            <a:ext cx="471877" cy="459828"/>
          </a:xfrm>
          <a:custGeom>
            <a:avLst/>
            <a:gdLst/>
            <a:ahLst/>
            <a:cxnLst/>
            <a:rect l="0" t="0" r="0" b="0"/>
            <a:pathLst>
              <a:path w="239713989" h="233592688">
                <a:moveTo>
                  <a:pt x="0" y="233592688"/>
                </a:moveTo>
                <a:lnTo>
                  <a:pt x="239713989" y="233569272"/>
                </a:lnTo>
                <a:lnTo>
                  <a:pt x="239713989" y="0"/>
                </a:lnTo>
                <a:lnTo>
                  <a:pt x="0" y="23416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994" name="Picture 3994"/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7407" y="4268044"/>
            <a:ext cx="497277" cy="485227"/>
          </a:xfrm>
          <a:prstGeom prst="rect">
            <a:avLst/>
          </a:prstGeom>
          <a:noFill/>
        </p:spPr>
      </p:pic>
      <p:sp>
        <p:nvSpPr>
          <p:cNvPr id="3995" name="Freeform 3995"/>
          <p:cNvSpPr/>
          <p:nvPr/>
        </p:nvSpPr>
        <p:spPr>
          <a:xfrm flipV="1">
            <a:off x="162194" y="4717224"/>
            <a:ext cx="667847" cy="170120"/>
          </a:xfrm>
          <a:custGeom>
            <a:avLst/>
            <a:gdLst/>
            <a:ahLst/>
            <a:cxnLst/>
            <a:rect l="0" t="0" r="0" b="0"/>
            <a:pathLst>
              <a:path w="339266740" h="86421119">
                <a:moveTo>
                  <a:pt x="0" y="86421119"/>
                </a:moveTo>
                <a:lnTo>
                  <a:pt x="339266740" y="86388178"/>
                </a:lnTo>
                <a:lnTo>
                  <a:pt x="339266740" y="0"/>
                </a:lnTo>
                <a:lnTo>
                  <a:pt x="0" y="32941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96" name="Freeform 3996"/>
          <p:cNvSpPr/>
          <p:nvPr/>
        </p:nvSpPr>
        <p:spPr>
          <a:xfrm flipV="1">
            <a:off x="978325" y="4688310"/>
            <a:ext cx="865145" cy="254649"/>
          </a:xfrm>
          <a:custGeom>
            <a:avLst/>
            <a:gdLst/>
            <a:ahLst/>
            <a:cxnLst/>
            <a:rect l="0" t="0" r="0" b="0"/>
            <a:pathLst>
              <a:path w="439493967" h="129362002">
                <a:moveTo>
                  <a:pt x="0" y="129362002"/>
                </a:moveTo>
                <a:lnTo>
                  <a:pt x="439493967" y="129319337"/>
                </a:lnTo>
                <a:lnTo>
                  <a:pt x="439493967" y="0"/>
                </a:lnTo>
                <a:lnTo>
                  <a:pt x="0" y="4266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97" name="Freeform 3997"/>
          <p:cNvSpPr/>
          <p:nvPr/>
        </p:nvSpPr>
        <p:spPr>
          <a:xfrm flipV="1">
            <a:off x="1991772" y="4710025"/>
            <a:ext cx="724042" cy="170125"/>
          </a:xfrm>
          <a:custGeom>
            <a:avLst/>
            <a:gdLst/>
            <a:ahLst/>
            <a:cxnLst/>
            <a:rect l="0" t="0" r="0" b="0"/>
            <a:pathLst>
              <a:path w="367813431" h="86423897">
                <a:moveTo>
                  <a:pt x="0" y="86423897"/>
                </a:moveTo>
                <a:lnTo>
                  <a:pt x="367813431" y="86388179"/>
                </a:lnTo>
                <a:lnTo>
                  <a:pt x="367813431" y="0"/>
                </a:lnTo>
                <a:lnTo>
                  <a:pt x="0" y="35719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98" name="Freeform 3998"/>
          <p:cNvSpPr/>
          <p:nvPr/>
        </p:nvSpPr>
        <p:spPr>
          <a:xfrm flipV="1">
            <a:off x="2742394" y="4723255"/>
            <a:ext cx="1131605" cy="254675"/>
          </a:xfrm>
          <a:custGeom>
            <a:avLst/>
            <a:gdLst/>
            <a:ahLst/>
            <a:cxnLst/>
            <a:rect l="0" t="0" r="0" b="0"/>
            <a:pathLst>
              <a:path w="574855479" h="129375297">
                <a:moveTo>
                  <a:pt x="0" y="129375297"/>
                </a:moveTo>
                <a:lnTo>
                  <a:pt x="574855479" y="129319338"/>
                </a:lnTo>
                <a:lnTo>
                  <a:pt x="574855479" y="0"/>
                </a:lnTo>
                <a:lnTo>
                  <a:pt x="0" y="55761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999" name="Rectangle 3999"/>
          <p:cNvSpPr/>
          <p:nvPr/>
        </p:nvSpPr>
        <p:spPr>
          <a:xfrm>
            <a:off x="431800" y="131299"/>
            <a:ext cx="7576935" cy="398145"/>
          </a:xfrm>
          <a:prstGeom prst="rect">
            <a:avLst/>
          </a:prstGeom>
        </p:spPr>
      </p:sp>
      <p:sp>
        <p:nvSpPr>
          <p:cNvPr id="4000" name="Freeform 4000"/>
          <p:cNvSpPr/>
          <p:nvPr/>
        </p:nvSpPr>
        <p:spPr>
          <a:xfrm>
            <a:off x="434219" y="170758"/>
            <a:ext cx="98268" cy="117386"/>
          </a:xfrm>
          <a:custGeom>
            <a:avLst/>
            <a:gdLst/>
            <a:ahLst/>
            <a:cxnLst/>
            <a:rect l="0" t="0" r="0" b="0"/>
            <a:pathLst>
              <a:path w="7559080" h="9029700">
                <a:moveTo>
                  <a:pt x="5829101" y="6493074"/>
                </a:moveTo>
                <a:lnTo>
                  <a:pt x="1729978" y="6493074"/>
                </a:lnTo>
                <a:lnTo>
                  <a:pt x="799901" y="9029700"/>
                </a:lnTo>
                <a:lnTo>
                  <a:pt x="0" y="9029700"/>
                </a:lnTo>
                <a:lnTo>
                  <a:pt x="3416697" y="0"/>
                </a:lnTo>
                <a:lnTo>
                  <a:pt x="4142383" y="0"/>
                </a:lnTo>
                <a:lnTo>
                  <a:pt x="7559080" y="9029700"/>
                </a:lnTo>
                <a:lnTo>
                  <a:pt x="6765330" y="9029700"/>
                </a:lnTo>
                <a:close/>
                <a:moveTo>
                  <a:pt x="1965722" y="5842000"/>
                </a:moveTo>
                <a:lnTo>
                  <a:pt x="5587206" y="5842000"/>
                </a:lnTo>
                <a:lnTo>
                  <a:pt x="3776464" y="930275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01" name="Freeform 4001"/>
          <p:cNvSpPr/>
          <p:nvPr/>
        </p:nvSpPr>
        <p:spPr>
          <a:xfrm>
            <a:off x="533754" y="200971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02" name="Freeform 4002"/>
          <p:cNvSpPr/>
          <p:nvPr/>
        </p:nvSpPr>
        <p:spPr>
          <a:xfrm>
            <a:off x="606060" y="200971"/>
            <a:ext cx="76100" cy="87172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03" name="Freeform 4003"/>
          <p:cNvSpPr/>
          <p:nvPr/>
        </p:nvSpPr>
        <p:spPr>
          <a:xfrm>
            <a:off x="703361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04" name="Freeform 4004"/>
          <p:cNvSpPr/>
          <p:nvPr/>
        </p:nvSpPr>
        <p:spPr>
          <a:xfrm>
            <a:off x="791207" y="199320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05" name="Freeform 4005"/>
          <p:cNvSpPr/>
          <p:nvPr/>
        </p:nvSpPr>
        <p:spPr>
          <a:xfrm>
            <a:off x="912723" y="232340"/>
            <a:ext cx="38615" cy="8141"/>
          </a:xfrm>
          <a:custGeom>
            <a:avLst/>
            <a:gdLst/>
            <a:ahLst/>
            <a:cxnLst/>
            <a:rect l="0" t="0" r="0" b="0"/>
            <a:pathLst>
              <a:path w="2970411" h="626269">
                <a:moveTo>
                  <a:pt x="2970411" y="626269"/>
                </a:moveTo>
                <a:lnTo>
                  <a:pt x="0" y="626269"/>
                </a:lnTo>
                <a:lnTo>
                  <a:pt x="0" y="0"/>
                </a:lnTo>
                <a:lnTo>
                  <a:pt x="29704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06" name="Freeform 4006"/>
          <p:cNvSpPr/>
          <p:nvPr/>
        </p:nvSpPr>
        <p:spPr>
          <a:xfrm>
            <a:off x="1009332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07" name="Freeform 4007"/>
          <p:cNvSpPr/>
          <p:nvPr/>
        </p:nvSpPr>
        <p:spPr>
          <a:xfrm>
            <a:off x="1102118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08" name="Freeform 4008"/>
          <p:cNvSpPr/>
          <p:nvPr/>
        </p:nvSpPr>
        <p:spPr>
          <a:xfrm>
            <a:off x="1189263" y="199320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09" name="Freeform 4009"/>
          <p:cNvSpPr/>
          <p:nvPr/>
        </p:nvSpPr>
        <p:spPr>
          <a:xfrm>
            <a:off x="1269935" y="200971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0" name="Freeform 4010"/>
          <p:cNvSpPr/>
          <p:nvPr/>
        </p:nvSpPr>
        <p:spPr>
          <a:xfrm>
            <a:off x="1357629" y="199320"/>
            <a:ext cx="70216" cy="122339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1" name="Freeform 4011"/>
          <p:cNvSpPr/>
          <p:nvPr/>
        </p:nvSpPr>
        <p:spPr>
          <a:xfrm>
            <a:off x="1438352" y="200971"/>
            <a:ext cx="73521" cy="122339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2" name="Freeform 4012"/>
          <p:cNvSpPr/>
          <p:nvPr/>
        </p:nvSpPr>
        <p:spPr>
          <a:xfrm>
            <a:off x="1527818" y="200971"/>
            <a:ext cx="93836" cy="87172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3" name="Freeform 4013"/>
          <p:cNvSpPr/>
          <p:nvPr/>
        </p:nvSpPr>
        <p:spPr>
          <a:xfrm>
            <a:off x="1641975" y="199320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4" name="Freeform 4014"/>
          <p:cNvSpPr/>
          <p:nvPr/>
        </p:nvSpPr>
        <p:spPr>
          <a:xfrm>
            <a:off x="1733131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5" name="Freeform 4015"/>
          <p:cNvSpPr/>
          <p:nvPr/>
        </p:nvSpPr>
        <p:spPr>
          <a:xfrm>
            <a:off x="1815920" y="200971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6" name="Freeform 4016"/>
          <p:cNvSpPr/>
          <p:nvPr/>
        </p:nvSpPr>
        <p:spPr>
          <a:xfrm>
            <a:off x="1944459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7" name="Freeform 4017"/>
          <p:cNvSpPr/>
          <p:nvPr/>
        </p:nvSpPr>
        <p:spPr>
          <a:xfrm>
            <a:off x="2032086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8" name="Freeform 4018"/>
          <p:cNvSpPr/>
          <p:nvPr/>
        </p:nvSpPr>
        <p:spPr>
          <a:xfrm>
            <a:off x="2125573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19" name="Freeform 4019"/>
          <p:cNvSpPr/>
          <p:nvPr/>
        </p:nvSpPr>
        <p:spPr>
          <a:xfrm>
            <a:off x="2217635" y="199320"/>
            <a:ext cx="70216" cy="122339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0" name="Freeform 4020"/>
          <p:cNvSpPr/>
          <p:nvPr/>
        </p:nvSpPr>
        <p:spPr>
          <a:xfrm>
            <a:off x="2304666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1" name="Freeform 4021"/>
          <p:cNvSpPr/>
          <p:nvPr/>
        </p:nvSpPr>
        <p:spPr>
          <a:xfrm>
            <a:off x="2398556" y="200971"/>
            <a:ext cx="69814" cy="87172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2" name="Freeform 4022"/>
          <p:cNvSpPr/>
          <p:nvPr/>
        </p:nvSpPr>
        <p:spPr>
          <a:xfrm>
            <a:off x="2480771" y="200971"/>
            <a:ext cx="76100" cy="87172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3" name="Freeform 4023"/>
          <p:cNvSpPr/>
          <p:nvPr/>
        </p:nvSpPr>
        <p:spPr>
          <a:xfrm>
            <a:off x="2577266" y="199320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4" name="Freeform 4024"/>
          <p:cNvSpPr/>
          <p:nvPr/>
        </p:nvSpPr>
        <p:spPr>
          <a:xfrm>
            <a:off x="2668422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5" name="Freeform 4025"/>
          <p:cNvSpPr/>
          <p:nvPr/>
        </p:nvSpPr>
        <p:spPr>
          <a:xfrm>
            <a:off x="2761208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6" name="Freeform 4026"/>
          <p:cNvSpPr/>
          <p:nvPr/>
        </p:nvSpPr>
        <p:spPr>
          <a:xfrm>
            <a:off x="2854397" y="200971"/>
            <a:ext cx="96093" cy="87172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7" name="Freeform 4027"/>
          <p:cNvSpPr/>
          <p:nvPr/>
        </p:nvSpPr>
        <p:spPr>
          <a:xfrm>
            <a:off x="2977820" y="169602"/>
            <a:ext cx="66346" cy="118541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8" name="Freeform 4028"/>
          <p:cNvSpPr/>
          <p:nvPr/>
        </p:nvSpPr>
        <p:spPr>
          <a:xfrm>
            <a:off x="3110725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29" name="Freeform 4029"/>
          <p:cNvSpPr/>
          <p:nvPr/>
        </p:nvSpPr>
        <p:spPr>
          <a:xfrm>
            <a:off x="3198352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0" name="Freeform 4030"/>
          <p:cNvSpPr/>
          <p:nvPr/>
        </p:nvSpPr>
        <p:spPr>
          <a:xfrm>
            <a:off x="3331234" y="199320"/>
            <a:ext cx="70216" cy="122339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1" name="Freeform 4031"/>
          <p:cNvSpPr/>
          <p:nvPr/>
        </p:nvSpPr>
        <p:spPr>
          <a:xfrm>
            <a:off x="3418265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2" name="Freeform 4032"/>
          <p:cNvSpPr/>
          <p:nvPr/>
        </p:nvSpPr>
        <p:spPr>
          <a:xfrm>
            <a:off x="3506434" y="199320"/>
            <a:ext cx="67071" cy="90309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3" name="Freeform 4033"/>
          <p:cNvSpPr/>
          <p:nvPr/>
        </p:nvSpPr>
        <p:spPr>
          <a:xfrm>
            <a:off x="3595696" y="200971"/>
            <a:ext cx="69814" cy="87172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4" name="Freeform 4034"/>
          <p:cNvSpPr/>
          <p:nvPr/>
        </p:nvSpPr>
        <p:spPr>
          <a:xfrm>
            <a:off x="3687584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5" name="Freeform 4035"/>
          <p:cNvSpPr/>
          <p:nvPr/>
        </p:nvSpPr>
        <p:spPr>
          <a:xfrm>
            <a:off x="3770374" y="200971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6" name="Freeform 4036"/>
          <p:cNvSpPr/>
          <p:nvPr/>
        </p:nvSpPr>
        <p:spPr>
          <a:xfrm>
            <a:off x="3858793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7" name="Freeform 4037"/>
          <p:cNvSpPr/>
          <p:nvPr/>
        </p:nvSpPr>
        <p:spPr>
          <a:xfrm>
            <a:off x="3945615" y="199320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8" name="Freeform 4038"/>
          <p:cNvSpPr/>
          <p:nvPr/>
        </p:nvSpPr>
        <p:spPr>
          <a:xfrm>
            <a:off x="4076890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39" name="Freeform 4039"/>
          <p:cNvSpPr/>
          <p:nvPr/>
        </p:nvSpPr>
        <p:spPr>
          <a:xfrm>
            <a:off x="4204637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0" name="Freeform 4040"/>
          <p:cNvSpPr/>
          <p:nvPr/>
        </p:nvSpPr>
        <p:spPr>
          <a:xfrm>
            <a:off x="4298044" y="200971"/>
            <a:ext cx="71101" cy="87172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1" name="Freeform 4041"/>
          <p:cNvSpPr/>
          <p:nvPr/>
        </p:nvSpPr>
        <p:spPr>
          <a:xfrm>
            <a:off x="4373650" y="200971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2" name="Freeform 4042"/>
          <p:cNvSpPr/>
          <p:nvPr/>
        </p:nvSpPr>
        <p:spPr>
          <a:xfrm>
            <a:off x="4462069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3" name="Freeform 4043"/>
          <p:cNvSpPr/>
          <p:nvPr/>
        </p:nvSpPr>
        <p:spPr>
          <a:xfrm>
            <a:off x="4555257" y="200971"/>
            <a:ext cx="69814" cy="87172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4" name="Freeform 4044"/>
          <p:cNvSpPr/>
          <p:nvPr/>
        </p:nvSpPr>
        <p:spPr>
          <a:xfrm>
            <a:off x="4647146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5" name="Freeform 4045"/>
          <p:cNvSpPr/>
          <p:nvPr/>
        </p:nvSpPr>
        <p:spPr>
          <a:xfrm>
            <a:off x="4734613" y="199320"/>
            <a:ext cx="67071" cy="90309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6" name="Freeform 4046"/>
          <p:cNvSpPr/>
          <p:nvPr/>
        </p:nvSpPr>
        <p:spPr>
          <a:xfrm>
            <a:off x="4818313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7" name="Freeform 4047"/>
          <p:cNvSpPr/>
          <p:nvPr/>
        </p:nvSpPr>
        <p:spPr>
          <a:xfrm>
            <a:off x="4911801" y="200971"/>
            <a:ext cx="75213" cy="113093"/>
          </a:xfrm>
          <a:custGeom>
            <a:avLst/>
            <a:gdLst/>
            <a:ahLst/>
            <a:cxnLst/>
            <a:rect l="0" t="0" r="0" b="0"/>
            <a:pathLst>
              <a:path w="5785643" h="8699500">
                <a:moveTo>
                  <a:pt x="0" y="0"/>
                </a:moveTo>
                <a:lnTo>
                  <a:pt x="744140" y="0"/>
                </a:lnTo>
                <a:lnTo>
                  <a:pt x="744140" y="6079332"/>
                </a:lnTo>
                <a:lnTo>
                  <a:pt x="4359473" y="6079332"/>
                </a:lnTo>
                <a:lnTo>
                  <a:pt x="4359473" y="0"/>
                </a:lnTo>
                <a:lnTo>
                  <a:pt x="5103614" y="0"/>
                </a:lnTo>
                <a:lnTo>
                  <a:pt x="5103614" y="6079332"/>
                </a:lnTo>
                <a:lnTo>
                  <a:pt x="5785643" y="6079332"/>
                </a:lnTo>
                <a:lnTo>
                  <a:pt x="5729883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8" name="Freeform 4048"/>
          <p:cNvSpPr/>
          <p:nvPr/>
        </p:nvSpPr>
        <p:spPr>
          <a:xfrm>
            <a:off x="5005743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49" name="Freeform 4049"/>
          <p:cNvSpPr/>
          <p:nvPr/>
        </p:nvSpPr>
        <p:spPr>
          <a:xfrm>
            <a:off x="5098931" y="199320"/>
            <a:ext cx="112298" cy="90474"/>
          </a:xfrm>
          <a:custGeom>
            <a:avLst/>
            <a:gdLst/>
            <a:ahLst/>
            <a:cxnLst/>
            <a:rect l="0" t="0" r="0" b="0"/>
            <a:pathLst>
              <a:path w="8638381" h="6959600">
                <a:moveTo>
                  <a:pt x="737989" y="3187700"/>
                </a:moveTo>
                <a:lnTo>
                  <a:pt x="2654102" y="3187700"/>
                </a:lnTo>
                <a:cubicBezTo>
                  <a:pt x="2674871" y="2574661"/>
                  <a:pt x="2815431" y="2022674"/>
                  <a:pt x="3075781" y="1531740"/>
                </a:cubicBezTo>
                <a:cubicBezTo>
                  <a:pt x="3336263" y="1040805"/>
                  <a:pt x="3689747" y="662782"/>
                  <a:pt x="4136231" y="397669"/>
                </a:cubicBezTo>
                <a:cubicBezTo>
                  <a:pt x="4582716" y="132557"/>
                  <a:pt x="5082977" y="0"/>
                  <a:pt x="5637014" y="0"/>
                </a:cubicBezTo>
                <a:cubicBezTo>
                  <a:pt x="6525750" y="0"/>
                  <a:pt x="7248128" y="314325"/>
                  <a:pt x="7804150" y="942975"/>
                </a:cubicBezTo>
                <a:cubicBezTo>
                  <a:pt x="8360304" y="1571493"/>
                  <a:pt x="8638381" y="2402615"/>
                  <a:pt x="8638381" y="3436343"/>
                </a:cubicBezTo>
                <a:lnTo>
                  <a:pt x="8638381" y="3585171"/>
                </a:lnTo>
                <a:cubicBezTo>
                  <a:pt x="8638381" y="4230357"/>
                  <a:pt x="8512241" y="4813499"/>
                  <a:pt x="8259961" y="5334596"/>
                </a:cubicBezTo>
                <a:cubicBezTo>
                  <a:pt x="8007813" y="5855560"/>
                  <a:pt x="7654330" y="6256669"/>
                  <a:pt x="7199511" y="6537921"/>
                </a:cubicBezTo>
                <a:cubicBezTo>
                  <a:pt x="6744825" y="6819041"/>
                  <a:pt x="6228093" y="6959600"/>
                  <a:pt x="5649317" y="6959600"/>
                </a:cubicBezTo>
                <a:cubicBezTo>
                  <a:pt x="4793522" y="6959600"/>
                  <a:pt x="4090723" y="6669617"/>
                  <a:pt x="3540919" y="6089650"/>
                </a:cubicBezTo>
                <a:cubicBezTo>
                  <a:pt x="2991115" y="5509684"/>
                  <a:pt x="2695509" y="4753240"/>
                  <a:pt x="2654102" y="3820319"/>
                </a:cubicBezTo>
                <a:lnTo>
                  <a:pt x="737989" y="3820319"/>
                </a:lnTo>
                <a:lnTo>
                  <a:pt x="737989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737989" y="127000"/>
                </a:lnTo>
                <a:close/>
                <a:moveTo>
                  <a:pt x="3385939" y="3585369"/>
                </a:moveTo>
                <a:cubicBezTo>
                  <a:pt x="3385939" y="4387586"/>
                  <a:pt x="3593637" y="5046134"/>
                  <a:pt x="4009033" y="5561013"/>
                </a:cubicBezTo>
                <a:cubicBezTo>
                  <a:pt x="4424561" y="6075892"/>
                  <a:pt x="4971322" y="6333332"/>
                  <a:pt x="5649317" y="6333332"/>
                </a:cubicBezTo>
                <a:cubicBezTo>
                  <a:pt x="6314877" y="6333332"/>
                  <a:pt x="6855420" y="6075892"/>
                  <a:pt x="7270948" y="5561013"/>
                </a:cubicBezTo>
                <a:cubicBezTo>
                  <a:pt x="7686477" y="5046134"/>
                  <a:pt x="7894241" y="4366882"/>
                  <a:pt x="7894241" y="3523258"/>
                </a:cubicBezTo>
                <a:lnTo>
                  <a:pt x="7894241" y="3380582"/>
                </a:lnTo>
                <a:cubicBezTo>
                  <a:pt x="7894241" y="2586567"/>
                  <a:pt x="7685418" y="1930070"/>
                  <a:pt x="7267773" y="1411090"/>
                </a:cubicBezTo>
                <a:cubicBezTo>
                  <a:pt x="6850261" y="892109"/>
                  <a:pt x="6306675" y="632619"/>
                  <a:pt x="5637014" y="632619"/>
                </a:cubicBezTo>
                <a:cubicBezTo>
                  <a:pt x="4971322" y="632619"/>
                  <a:pt x="4429720" y="892109"/>
                  <a:pt x="4012208" y="1411090"/>
                </a:cubicBezTo>
                <a:cubicBezTo>
                  <a:pt x="3594695" y="1930070"/>
                  <a:pt x="3385939" y="2609321"/>
                  <a:pt x="3385939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0" name="Freeform 4050"/>
          <p:cNvSpPr/>
          <p:nvPr/>
        </p:nvSpPr>
        <p:spPr>
          <a:xfrm>
            <a:off x="5272710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1" name="Freeform 4051"/>
          <p:cNvSpPr/>
          <p:nvPr/>
        </p:nvSpPr>
        <p:spPr>
          <a:xfrm>
            <a:off x="5360336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2" name="Freeform 4052"/>
          <p:cNvSpPr/>
          <p:nvPr/>
        </p:nvSpPr>
        <p:spPr>
          <a:xfrm>
            <a:off x="5454227" y="200971"/>
            <a:ext cx="69814" cy="87172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3" name="Freeform 4053"/>
          <p:cNvSpPr/>
          <p:nvPr/>
        </p:nvSpPr>
        <p:spPr>
          <a:xfrm>
            <a:off x="5546518" y="200971"/>
            <a:ext cx="96093" cy="87172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4" name="Freeform 4054"/>
          <p:cNvSpPr/>
          <p:nvPr/>
        </p:nvSpPr>
        <p:spPr>
          <a:xfrm>
            <a:off x="5669860" y="200971"/>
            <a:ext cx="71101" cy="87172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5" name="Freeform 4055"/>
          <p:cNvSpPr/>
          <p:nvPr/>
        </p:nvSpPr>
        <p:spPr>
          <a:xfrm>
            <a:off x="5747847" y="199320"/>
            <a:ext cx="77873" cy="90474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6" name="Freeform 4056"/>
          <p:cNvSpPr/>
          <p:nvPr/>
        </p:nvSpPr>
        <p:spPr>
          <a:xfrm>
            <a:off x="5846669" y="200971"/>
            <a:ext cx="69814" cy="87172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7" name="Freeform 4057"/>
          <p:cNvSpPr/>
          <p:nvPr/>
        </p:nvSpPr>
        <p:spPr>
          <a:xfrm>
            <a:off x="5973035" y="199320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8" name="Freeform 4058"/>
          <p:cNvSpPr/>
          <p:nvPr/>
        </p:nvSpPr>
        <p:spPr>
          <a:xfrm>
            <a:off x="6058544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59" name="Freeform 4059"/>
          <p:cNvSpPr/>
          <p:nvPr/>
        </p:nvSpPr>
        <p:spPr>
          <a:xfrm>
            <a:off x="6152435" y="200971"/>
            <a:ext cx="93836" cy="87172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0" name="Freeform 4060"/>
          <p:cNvSpPr/>
          <p:nvPr/>
        </p:nvSpPr>
        <p:spPr>
          <a:xfrm>
            <a:off x="6266591" y="199320"/>
            <a:ext cx="77873" cy="90474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1" name="Freeform 4061"/>
          <p:cNvSpPr/>
          <p:nvPr/>
        </p:nvSpPr>
        <p:spPr>
          <a:xfrm>
            <a:off x="6350204" y="200971"/>
            <a:ext cx="84404" cy="112763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2" name="Freeform 4062"/>
          <p:cNvSpPr/>
          <p:nvPr/>
        </p:nvSpPr>
        <p:spPr>
          <a:xfrm>
            <a:off x="6447871" y="199320"/>
            <a:ext cx="77873" cy="90474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3" name="Freeform 4063"/>
          <p:cNvSpPr/>
          <p:nvPr/>
        </p:nvSpPr>
        <p:spPr>
          <a:xfrm>
            <a:off x="6540650" y="199320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4" name="Freeform 4064"/>
          <p:cNvSpPr/>
          <p:nvPr/>
        </p:nvSpPr>
        <p:spPr>
          <a:xfrm>
            <a:off x="6621322" y="200971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5" name="Freeform 4065"/>
          <p:cNvSpPr/>
          <p:nvPr/>
        </p:nvSpPr>
        <p:spPr>
          <a:xfrm>
            <a:off x="6703425" y="199320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6" name="Freeform 4066"/>
          <p:cNvSpPr/>
          <p:nvPr/>
        </p:nvSpPr>
        <p:spPr>
          <a:xfrm>
            <a:off x="6785760" y="200971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7" name="Freeform 4067"/>
          <p:cNvSpPr/>
          <p:nvPr/>
        </p:nvSpPr>
        <p:spPr>
          <a:xfrm>
            <a:off x="6864914" y="199320"/>
            <a:ext cx="77873" cy="90474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8" name="Freeform 4068"/>
          <p:cNvSpPr/>
          <p:nvPr/>
        </p:nvSpPr>
        <p:spPr>
          <a:xfrm>
            <a:off x="6958981" y="200971"/>
            <a:ext cx="65782" cy="87172"/>
          </a:xfrm>
          <a:custGeom>
            <a:avLst/>
            <a:gdLst/>
            <a:ahLst/>
            <a:cxnLst/>
            <a:rect l="0" t="0" r="0" b="0"/>
            <a:pathLst>
              <a:path w="5060156" h="6705600">
                <a:moveTo>
                  <a:pt x="5060156" y="6705600"/>
                </a:moveTo>
                <a:lnTo>
                  <a:pt x="4316015" y="6705600"/>
                </a:lnTo>
                <a:lnTo>
                  <a:pt x="4316015" y="3885208"/>
                </a:lnTo>
                <a:cubicBezTo>
                  <a:pt x="3704166" y="4108517"/>
                  <a:pt x="3119172" y="4220171"/>
                  <a:pt x="2561034" y="4220171"/>
                </a:cubicBezTo>
                <a:cubicBezTo>
                  <a:pt x="1672166" y="4220171"/>
                  <a:pt x="1027244" y="4024974"/>
                  <a:pt x="626268" y="3634582"/>
                </a:cubicBezTo>
                <a:cubicBezTo>
                  <a:pt x="225292" y="3244189"/>
                  <a:pt x="16536" y="2635846"/>
                  <a:pt x="0" y="1809552"/>
                </a:cubicBezTo>
                <a:lnTo>
                  <a:pt x="0" y="0"/>
                </a:lnTo>
                <a:lnTo>
                  <a:pt x="737790" y="0"/>
                </a:lnTo>
                <a:lnTo>
                  <a:pt x="737790" y="1772047"/>
                </a:lnTo>
                <a:cubicBezTo>
                  <a:pt x="746125" y="2412339"/>
                  <a:pt x="887743" y="2873971"/>
                  <a:pt x="1162645" y="3156943"/>
                </a:cubicBezTo>
                <a:cubicBezTo>
                  <a:pt x="1437547" y="3439915"/>
                  <a:pt x="1903677" y="3581400"/>
                  <a:pt x="2561034" y="3581400"/>
                </a:cubicBezTo>
                <a:cubicBezTo>
                  <a:pt x="3160447" y="3564864"/>
                  <a:pt x="3745441" y="3457443"/>
                  <a:pt x="4316015" y="3259138"/>
                </a:cubicBezTo>
                <a:lnTo>
                  <a:pt x="4316015" y="0"/>
                </a:lnTo>
                <a:lnTo>
                  <a:pt x="5060156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69" name="Freeform 4069"/>
          <p:cNvSpPr/>
          <p:nvPr/>
        </p:nvSpPr>
        <p:spPr>
          <a:xfrm>
            <a:off x="7051168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0" name="Freeform 4070"/>
          <p:cNvSpPr/>
          <p:nvPr/>
        </p:nvSpPr>
        <p:spPr>
          <a:xfrm>
            <a:off x="7137989" y="199320"/>
            <a:ext cx="77873" cy="90474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1" name="Freeform 4071"/>
          <p:cNvSpPr/>
          <p:nvPr/>
        </p:nvSpPr>
        <p:spPr>
          <a:xfrm>
            <a:off x="7230767" y="199320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2" name="Freeform 4072"/>
          <p:cNvSpPr/>
          <p:nvPr/>
        </p:nvSpPr>
        <p:spPr>
          <a:xfrm>
            <a:off x="7311439" y="200971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3" name="Freeform 4073"/>
          <p:cNvSpPr/>
          <p:nvPr/>
        </p:nvSpPr>
        <p:spPr>
          <a:xfrm>
            <a:off x="7399858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4" name="Freeform 4074"/>
          <p:cNvSpPr/>
          <p:nvPr/>
        </p:nvSpPr>
        <p:spPr>
          <a:xfrm>
            <a:off x="7527122" y="199320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5" name="Freeform 4075"/>
          <p:cNvSpPr/>
          <p:nvPr/>
        </p:nvSpPr>
        <p:spPr>
          <a:xfrm>
            <a:off x="7617065" y="199320"/>
            <a:ext cx="70216" cy="122339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6" name="Freeform 4076"/>
          <p:cNvSpPr/>
          <p:nvPr/>
        </p:nvSpPr>
        <p:spPr>
          <a:xfrm>
            <a:off x="7703291" y="199320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7" name="Freeform 4077"/>
          <p:cNvSpPr/>
          <p:nvPr/>
        </p:nvSpPr>
        <p:spPr>
          <a:xfrm>
            <a:off x="7785419" y="200971"/>
            <a:ext cx="84404" cy="112763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8" name="Freeform 4078"/>
          <p:cNvSpPr/>
          <p:nvPr/>
        </p:nvSpPr>
        <p:spPr>
          <a:xfrm>
            <a:off x="7889050" y="200971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79" name="Freeform 4079"/>
          <p:cNvSpPr/>
          <p:nvPr/>
        </p:nvSpPr>
        <p:spPr>
          <a:xfrm>
            <a:off x="444940" y="400996"/>
            <a:ext cx="71101" cy="87172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0" name="Freeform 4080"/>
          <p:cNvSpPr/>
          <p:nvPr/>
        </p:nvSpPr>
        <p:spPr>
          <a:xfrm>
            <a:off x="529817" y="399345"/>
            <a:ext cx="70216" cy="122339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1" name="Freeform 4081"/>
          <p:cNvSpPr/>
          <p:nvPr/>
        </p:nvSpPr>
        <p:spPr>
          <a:xfrm>
            <a:off x="622008" y="400996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2" name="Freeform 4082"/>
          <p:cNvSpPr/>
          <p:nvPr/>
        </p:nvSpPr>
        <p:spPr>
          <a:xfrm>
            <a:off x="704798" y="400996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3" name="Freeform 4083"/>
          <p:cNvSpPr/>
          <p:nvPr/>
        </p:nvSpPr>
        <p:spPr>
          <a:xfrm>
            <a:off x="793216" y="400996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4" name="Freeform 4084"/>
          <p:cNvSpPr/>
          <p:nvPr/>
        </p:nvSpPr>
        <p:spPr>
          <a:xfrm>
            <a:off x="881651" y="400996"/>
            <a:ext cx="65782" cy="87172"/>
          </a:xfrm>
          <a:custGeom>
            <a:avLst/>
            <a:gdLst/>
            <a:ahLst/>
            <a:cxnLst/>
            <a:rect l="0" t="0" r="0" b="0"/>
            <a:pathLst>
              <a:path w="5060156" h="6705600">
                <a:moveTo>
                  <a:pt x="5060156" y="6705600"/>
                </a:moveTo>
                <a:lnTo>
                  <a:pt x="4316015" y="6705600"/>
                </a:lnTo>
                <a:lnTo>
                  <a:pt x="4316015" y="3885208"/>
                </a:lnTo>
                <a:cubicBezTo>
                  <a:pt x="3704166" y="4108517"/>
                  <a:pt x="3119172" y="4220171"/>
                  <a:pt x="2561034" y="4220171"/>
                </a:cubicBezTo>
                <a:cubicBezTo>
                  <a:pt x="1672166" y="4220171"/>
                  <a:pt x="1027244" y="4024974"/>
                  <a:pt x="626268" y="3634582"/>
                </a:cubicBezTo>
                <a:cubicBezTo>
                  <a:pt x="225292" y="3244189"/>
                  <a:pt x="16536" y="2635846"/>
                  <a:pt x="0" y="1809552"/>
                </a:cubicBezTo>
                <a:lnTo>
                  <a:pt x="0" y="0"/>
                </a:lnTo>
                <a:lnTo>
                  <a:pt x="737790" y="0"/>
                </a:lnTo>
                <a:lnTo>
                  <a:pt x="737790" y="1772047"/>
                </a:lnTo>
                <a:cubicBezTo>
                  <a:pt x="746125" y="2412339"/>
                  <a:pt x="887743" y="2873971"/>
                  <a:pt x="1162645" y="3156943"/>
                </a:cubicBezTo>
                <a:cubicBezTo>
                  <a:pt x="1437547" y="3439915"/>
                  <a:pt x="1903677" y="3581400"/>
                  <a:pt x="2561034" y="3581400"/>
                </a:cubicBezTo>
                <a:cubicBezTo>
                  <a:pt x="3160447" y="3564864"/>
                  <a:pt x="3745441" y="3457443"/>
                  <a:pt x="4316015" y="3259138"/>
                </a:cubicBezTo>
                <a:lnTo>
                  <a:pt x="4316015" y="0"/>
                </a:lnTo>
                <a:lnTo>
                  <a:pt x="5060156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5" name="Freeform 4085"/>
          <p:cNvSpPr/>
          <p:nvPr/>
        </p:nvSpPr>
        <p:spPr>
          <a:xfrm>
            <a:off x="967871" y="399345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6" name="Freeform 4086"/>
          <p:cNvSpPr/>
          <p:nvPr/>
        </p:nvSpPr>
        <p:spPr>
          <a:xfrm>
            <a:off x="1053386" y="399345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7" name="Freeform 4087"/>
          <p:cNvSpPr/>
          <p:nvPr/>
        </p:nvSpPr>
        <p:spPr>
          <a:xfrm>
            <a:off x="1143974" y="400996"/>
            <a:ext cx="71101" cy="87172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8" name="Freeform 4088"/>
          <p:cNvSpPr/>
          <p:nvPr/>
        </p:nvSpPr>
        <p:spPr>
          <a:xfrm>
            <a:off x="1221960" y="399345"/>
            <a:ext cx="77873" cy="90474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89" name="Freeform 4089"/>
          <p:cNvSpPr/>
          <p:nvPr/>
        </p:nvSpPr>
        <p:spPr>
          <a:xfrm>
            <a:off x="1320381" y="369627"/>
            <a:ext cx="66346" cy="118541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0" name="Freeform 4090"/>
          <p:cNvSpPr/>
          <p:nvPr/>
        </p:nvSpPr>
        <p:spPr>
          <a:xfrm>
            <a:off x="1453689" y="400996"/>
            <a:ext cx="93836" cy="87172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1" name="Freeform 4091"/>
          <p:cNvSpPr/>
          <p:nvPr/>
        </p:nvSpPr>
        <p:spPr>
          <a:xfrm>
            <a:off x="1568650" y="399345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2" name="Freeform 4092"/>
          <p:cNvSpPr/>
          <p:nvPr/>
        </p:nvSpPr>
        <p:spPr>
          <a:xfrm>
            <a:off x="1656496" y="399345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3" name="Freeform 4093"/>
          <p:cNvSpPr/>
          <p:nvPr/>
        </p:nvSpPr>
        <p:spPr>
          <a:xfrm>
            <a:off x="1741522" y="399345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4" name="Freeform 4094"/>
          <p:cNvSpPr/>
          <p:nvPr/>
        </p:nvSpPr>
        <p:spPr>
          <a:xfrm>
            <a:off x="1832593" y="400996"/>
            <a:ext cx="96093" cy="87172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5" name="Freeform 4095"/>
          <p:cNvSpPr/>
          <p:nvPr/>
        </p:nvSpPr>
        <p:spPr>
          <a:xfrm>
            <a:off x="1996135" y="400996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6" name="Freeform 4096"/>
          <p:cNvSpPr/>
          <p:nvPr/>
        </p:nvSpPr>
        <p:spPr>
          <a:xfrm>
            <a:off x="2083762" y="399345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7" name="Freeform 4097"/>
          <p:cNvSpPr/>
          <p:nvPr/>
        </p:nvSpPr>
        <p:spPr>
          <a:xfrm>
            <a:off x="2171608" y="399345"/>
            <a:ext cx="70778" cy="9047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8" name="Freeform 4098"/>
          <p:cNvSpPr/>
          <p:nvPr/>
        </p:nvSpPr>
        <p:spPr>
          <a:xfrm>
            <a:off x="2256312" y="399345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099" name="Freeform 4099"/>
          <p:cNvSpPr/>
          <p:nvPr/>
        </p:nvSpPr>
        <p:spPr>
          <a:xfrm>
            <a:off x="2337794" y="400996"/>
            <a:ext cx="76100" cy="87172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00" name="Freeform 4100"/>
          <p:cNvSpPr/>
          <p:nvPr/>
        </p:nvSpPr>
        <p:spPr>
          <a:xfrm>
            <a:off x="2434290" y="399345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01" name="Freeform 4101"/>
          <p:cNvSpPr/>
          <p:nvPr/>
        </p:nvSpPr>
        <p:spPr>
          <a:xfrm>
            <a:off x="2525446" y="400996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02" name="Freeform 4102"/>
          <p:cNvSpPr/>
          <p:nvPr/>
        </p:nvSpPr>
        <p:spPr>
          <a:xfrm>
            <a:off x="2618232" y="400996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03" name="Freeform 4103"/>
          <p:cNvSpPr/>
          <p:nvPr/>
        </p:nvSpPr>
        <p:spPr>
          <a:xfrm>
            <a:off x="2705294" y="400996"/>
            <a:ext cx="68684" cy="87172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04" name="Rectangle 4104"/>
          <p:cNvSpPr/>
          <p:nvPr/>
        </p:nvSpPr>
        <p:spPr>
          <a:xfrm>
            <a:off x="1134558" y="747623"/>
            <a:ext cx="1741932" cy="182879"/>
          </a:xfrm>
          <a:prstGeom prst="rect">
            <a:avLst/>
          </a:prstGeom>
        </p:spPr>
      </p:sp>
      <p:sp>
        <p:nvSpPr>
          <p:cNvPr id="4105" name="Freeform 4105"/>
          <p:cNvSpPr/>
          <p:nvPr/>
        </p:nvSpPr>
        <p:spPr>
          <a:xfrm>
            <a:off x="1135079" y="784047"/>
            <a:ext cx="101574" cy="108356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06" name="Freeform 4106"/>
          <p:cNvSpPr/>
          <p:nvPr/>
        </p:nvSpPr>
        <p:spPr>
          <a:xfrm>
            <a:off x="1235315" y="811936"/>
            <a:ext cx="72775" cy="80467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07" name="Freeform 4107"/>
          <p:cNvSpPr/>
          <p:nvPr/>
        </p:nvSpPr>
        <p:spPr>
          <a:xfrm>
            <a:off x="1309170" y="811936"/>
            <a:ext cx="76645" cy="80467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08" name="Freeform 4108"/>
          <p:cNvSpPr/>
          <p:nvPr/>
        </p:nvSpPr>
        <p:spPr>
          <a:xfrm>
            <a:off x="1399155" y="810412"/>
            <a:ext cx="71587" cy="8351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09" name="Freeform 4109"/>
          <p:cNvSpPr/>
          <p:nvPr/>
        </p:nvSpPr>
        <p:spPr>
          <a:xfrm>
            <a:off x="1480694" y="810412"/>
            <a:ext cx="70544" cy="8351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0" name="Freeform 4110"/>
          <p:cNvSpPr/>
          <p:nvPr/>
        </p:nvSpPr>
        <p:spPr>
          <a:xfrm>
            <a:off x="1601390" y="811936"/>
            <a:ext cx="69799" cy="80467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1" name="Freeform 4111"/>
          <p:cNvSpPr/>
          <p:nvPr/>
        </p:nvSpPr>
        <p:spPr>
          <a:xfrm>
            <a:off x="1684453" y="810412"/>
            <a:ext cx="76273" cy="8351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2" name="Freeform 4112"/>
          <p:cNvSpPr/>
          <p:nvPr/>
        </p:nvSpPr>
        <p:spPr>
          <a:xfrm>
            <a:off x="1775321" y="811936"/>
            <a:ext cx="71735" cy="80467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3" name="Freeform 4113"/>
          <p:cNvSpPr/>
          <p:nvPr/>
        </p:nvSpPr>
        <p:spPr>
          <a:xfrm>
            <a:off x="1861427" y="811936"/>
            <a:ext cx="105815" cy="80467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4" name="Freeform 4114"/>
          <p:cNvSpPr/>
          <p:nvPr/>
        </p:nvSpPr>
        <p:spPr>
          <a:xfrm>
            <a:off x="1979349" y="811936"/>
            <a:ext cx="74861" cy="80467"/>
          </a:xfrm>
          <a:custGeom>
            <a:avLst/>
            <a:gdLst/>
            <a:ahLst/>
            <a:cxnLst/>
            <a:rect l="0" t="0" r="0" b="0"/>
            <a:pathLst>
              <a:path w="6238478" h="6705600">
                <a:moveTo>
                  <a:pt x="3113087" y="2001838"/>
                </a:moveTo>
                <a:lnTo>
                  <a:pt x="4241601" y="0"/>
                </a:lnTo>
                <a:lnTo>
                  <a:pt x="6157912" y="0"/>
                </a:lnTo>
                <a:lnTo>
                  <a:pt x="4247951" y="3284538"/>
                </a:lnTo>
                <a:lnTo>
                  <a:pt x="6238478" y="6705600"/>
                </a:lnTo>
                <a:lnTo>
                  <a:pt x="4316015" y="6705600"/>
                </a:lnTo>
                <a:lnTo>
                  <a:pt x="3119239" y="4598393"/>
                </a:lnTo>
                <a:lnTo>
                  <a:pt x="1928614" y="6705600"/>
                </a:lnTo>
                <a:lnTo>
                  <a:pt x="0" y="6705600"/>
                </a:lnTo>
                <a:lnTo>
                  <a:pt x="1990725" y="3284538"/>
                </a:lnTo>
                <a:lnTo>
                  <a:pt x="86915" y="0"/>
                </a:lnTo>
                <a:lnTo>
                  <a:pt x="200917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5" name="Freeform 4115"/>
          <p:cNvSpPr/>
          <p:nvPr/>
        </p:nvSpPr>
        <p:spPr>
          <a:xfrm>
            <a:off x="2101414" y="811936"/>
            <a:ext cx="70023" cy="80467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6" name="Freeform 4116"/>
          <p:cNvSpPr/>
          <p:nvPr/>
        </p:nvSpPr>
        <p:spPr>
          <a:xfrm>
            <a:off x="2187825" y="810412"/>
            <a:ext cx="72478" cy="112928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7" name="Freeform 4117"/>
          <p:cNvSpPr/>
          <p:nvPr/>
        </p:nvSpPr>
        <p:spPr>
          <a:xfrm>
            <a:off x="2270126" y="810412"/>
            <a:ext cx="76273" cy="8351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8" name="Freeform 4118"/>
          <p:cNvSpPr/>
          <p:nvPr/>
        </p:nvSpPr>
        <p:spPr>
          <a:xfrm>
            <a:off x="2356379" y="778103"/>
            <a:ext cx="101203" cy="145237"/>
          </a:xfrm>
          <a:custGeom>
            <a:avLst/>
            <a:gdLst/>
            <a:ahLst/>
            <a:cxnLst/>
            <a:rect l="0" t="0" r="0" b="0"/>
            <a:pathLst>
              <a:path w="8433594" h="12103100">
                <a:moveTo>
                  <a:pt x="0" y="6221810"/>
                </a:moveTo>
                <a:cubicBezTo>
                  <a:pt x="0" y="5142575"/>
                  <a:pt x="220134" y="4284531"/>
                  <a:pt x="660400" y="3647679"/>
                </a:cubicBezTo>
                <a:cubicBezTo>
                  <a:pt x="1100667" y="3010827"/>
                  <a:pt x="1707356" y="2692400"/>
                  <a:pt x="2480469" y="2692400"/>
                </a:cubicBezTo>
                <a:cubicBezTo>
                  <a:pt x="2782226" y="2692400"/>
                  <a:pt x="3057128" y="2752395"/>
                  <a:pt x="3305175" y="2872383"/>
                </a:cubicBezTo>
                <a:lnTo>
                  <a:pt x="3305175" y="0"/>
                </a:lnTo>
                <a:lnTo>
                  <a:pt x="5097463" y="0"/>
                </a:lnTo>
                <a:lnTo>
                  <a:pt x="5097463" y="2878535"/>
                </a:lnTo>
                <a:cubicBezTo>
                  <a:pt x="5353712" y="2754446"/>
                  <a:pt x="5636882" y="2692400"/>
                  <a:pt x="5946974" y="2692400"/>
                </a:cubicBezTo>
                <a:cubicBezTo>
                  <a:pt x="6724187" y="2692400"/>
                  <a:pt x="7332927" y="3009768"/>
                  <a:pt x="7773194" y="3644504"/>
                </a:cubicBezTo>
                <a:cubicBezTo>
                  <a:pt x="8213461" y="4279239"/>
                  <a:pt x="8433594" y="5181733"/>
                  <a:pt x="8433594" y="6351985"/>
                </a:cubicBezTo>
                <a:cubicBezTo>
                  <a:pt x="8433594" y="7365207"/>
                  <a:pt x="8212402" y="8168548"/>
                  <a:pt x="7770019" y="8762008"/>
                </a:cubicBezTo>
                <a:cubicBezTo>
                  <a:pt x="7327768" y="9355336"/>
                  <a:pt x="6724187" y="9652000"/>
                  <a:pt x="5959277" y="9652000"/>
                </a:cubicBezTo>
                <a:cubicBezTo>
                  <a:pt x="5640983" y="9652000"/>
                  <a:pt x="5353712" y="9594122"/>
                  <a:pt x="5097463" y="9478368"/>
                </a:cubicBezTo>
                <a:lnTo>
                  <a:pt x="5097463" y="12103100"/>
                </a:lnTo>
                <a:lnTo>
                  <a:pt x="3305175" y="12103100"/>
                </a:lnTo>
                <a:lnTo>
                  <a:pt x="3305175" y="9484519"/>
                </a:lnTo>
                <a:cubicBezTo>
                  <a:pt x="3057128" y="9596172"/>
                  <a:pt x="2778125" y="9652000"/>
                  <a:pt x="2468166" y="9652000"/>
                </a:cubicBezTo>
                <a:cubicBezTo>
                  <a:pt x="1744663" y="9652000"/>
                  <a:pt x="1163770" y="9381133"/>
                  <a:pt x="725488" y="8839399"/>
                </a:cubicBezTo>
                <a:cubicBezTo>
                  <a:pt x="287338" y="8297665"/>
                  <a:pt x="47559" y="7555376"/>
                  <a:pt x="6152" y="6612533"/>
                </a:cubicBezTo>
                <a:close/>
                <a:moveTo>
                  <a:pt x="6635353" y="6221810"/>
                </a:moveTo>
                <a:cubicBezTo>
                  <a:pt x="6635353" y="5551885"/>
                  <a:pt x="6534018" y="5038064"/>
                  <a:pt x="6331347" y="4680347"/>
                </a:cubicBezTo>
                <a:cubicBezTo>
                  <a:pt x="6128808" y="4322498"/>
                  <a:pt x="5843588" y="4143574"/>
                  <a:pt x="5475685" y="4143574"/>
                </a:cubicBezTo>
                <a:cubicBezTo>
                  <a:pt x="5359929" y="4143574"/>
                  <a:pt x="5233856" y="4158060"/>
                  <a:pt x="5097463" y="4187032"/>
                </a:cubicBezTo>
                <a:lnTo>
                  <a:pt x="5097463" y="8176022"/>
                </a:lnTo>
                <a:cubicBezTo>
                  <a:pt x="5213218" y="8200893"/>
                  <a:pt x="5343393" y="8213329"/>
                  <a:pt x="5487988" y="8213329"/>
                </a:cubicBezTo>
                <a:cubicBezTo>
                  <a:pt x="6190853" y="8213329"/>
                  <a:pt x="6571192" y="7679796"/>
                  <a:pt x="6629003" y="6612732"/>
                </a:cubicBezTo>
                <a:close/>
                <a:moveTo>
                  <a:pt x="1792089" y="6352183"/>
                </a:moveTo>
                <a:cubicBezTo>
                  <a:pt x="1792089" y="7588846"/>
                  <a:pt x="2170377" y="8207177"/>
                  <a:pt x="2926953" y="8207177"/>
                </a:cubicBezTo>
                <a:cubicBezTo>
                  <a:pt x="3084116" y="8207177"/>
                  <a:pt x="3210190" y="8196858"/>
                  <a:pt x="3305175" y="8176221"/>
                </a:cubicBezTo>
                <a:lnTo>
                  <a:pt x="3305175" y="4187032"/>
                </a:lnTo>
                <a:cubicBezTo>
                  <a:pt x="3168782" y="4158060"/>
                  <a:pt x="3046876" y="4143574"/>
                  <a:pt x="2939455" y="4143574"/>
                </a:cubicBezTo>
                <a:cubicBezTo>
                  <a:pt x="2571419" y="4143574"/>
                  <a:pt x="2288183" y="4318331"/>
                  <a:pt x="2089746" y="4667846"/>
                </a:cubicBezTo>
                <a:cubicBezTo>
                  <a:pt x="1891308" y="5017361"/>
                  <a:pt x="1792089" y="5578806"/>
                  <a:pt x="1792089" y="635218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19" name="Freeform 4119"/>
          <p:cNvSpPr/>
          <p:nvPr/>
        </p:nvSpPr>
        <p:spPr>
          <a:xfrm>
            <a:off x="2467929" y="810412"/>
            <a:ext cx="73075" cy="8351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20" name="Freeform 4120"/>
          <p:cNvSpPr/>
          <p:nvPr/>
        </p:nvSpPr>
        <p:spPr>
          <a:xfrm>
            <a:off x="2549780" y="810412"/>
            <a:ext cx="70544" cy="8351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21" name="Freeform 4121"/>
          <p:cNvSpPr/>
          <p:nvPr/>
        </p:nvSpPr>
        <p:spPr>
          <a:xfrm>
            <a:off x="2629180" y="810412"/>
            <a:ext cx="70544" cy="8351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22" name="Freeform 4122"/>
          <p:cNvSpPr/>
          <p:nvPr/>
        </p:nvSpPr>
        <p:spPr>
          <a:xfrm>
            <a:off x="2711928" y="811936"/>
            <a:ext cx="70023" cy="80467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23" name="Freeform 4123"/>
          <p:cNvSpPr/>
          <p:nvPr/>
        </p:nvSpPr>
        <p:spPr>
          <a:xfrm>
            <a:off x="2798339" y="779170"/>
            <a:ext cx="70023" cy="113233"/>
          </a:xfrm>
          <a:custGeom>
            <a:avLst/>
            <a:gdLst/>
            <a:ahLst/>
            <a:cxnLst/>
            <a:rect l="0" t="0" r="0" b="0"/>
            <a:pathLst>
              <a:path w="5835253" h="9436100">
                <a:moveTo>
                  <a:pt x="4043164" y="2730500"/>
                </a:moveTo>
                <a:lnTo>
                  <a:pt x="5835253" y="2730500"/>
                </a:lnTo>
                <a:lnTo>
                  <a:pt x="5835253" y="9436100"/>
                </a:lnTo>
                <a:lnTo>
                  <a:pt x="4043164" y="9436100"/>
                </a:lnTo>
                <a:lnTo>
                  <a:pt x="4043164" y="5296297"/>
                </a:lnTo>
                <a:lnTo>
                  <a:pt x="1798241" y="9436100"/>
                </a:lnTo>
                <a:lnTo>
                  <a:pt x="0" y="9436100"/>
                </a:lnTo>
                <a:lnTo>
                  <a:pt x="0" y="2730500"/>
                </a:lnTo>
                <a:lnTo>
                  <a:pt x="1798241" y="2730500"/>
                </a:lnTo>
                <a:lnTo>
                  <a:pt x="1798241" y="6864152"/>
                </a:lnTo>
                <a:close/>
                <a:moveTo>
                  <a:pt x="5097463" y="0"/>
                </a:moveTo>
                <a:cubicBezTo>
                  <a:pt x="5097463" y="549805"/>
                  <a:pt x="4900017" y="994172"/>
                  <a:pt x="4505127" y="1333104"/>
                </a:cubicBezTo>
                <a:cubicBezTo>
                  <a:pt x="4110368" y="1672035"/>
                  <a:pt x="3592579" y="1841500"/>
                  <a:pt x="2951758" y="1841500"/>
                </a:cubicBezTo>
                <a:cubicBezTo>
                  <a:pt x="2310937" y="1841500"/>
                  <a:pt x="1793148" y="1674085"/>
                  <a:pt x="1398389" y="1339255"/>
                </a:cubicBezTo>
                <a:cubicBezTo>
                  <a:pt x="1003631" y="1004425"/>
                  <a:pt x="806252" y="558007"/>
                  <a:pt x="806252" y="0"/>
                </a:cubicBezTo>
                <a:lnTo>
                  <a:pt x="2077442" y="0"/>
                </a:lnTo>
                <a:cubicBezTo>
                  <a:pt x="2077442" y="260350"/>
                  <a:pt x="2154965" y="461830"/>
                  <a:pt x="2310011" y="604441"/>
                </a:cubicBezTo>
                <a:cubicBezTo>
                  <a:pt x="2465057" y="747052"/>
                  <a:pt x="2678973" y="818357"/>
                  <a:pt x="2951758" y="818357"/>
                </a:cubicBezTo>
                <a:cubicBezTo>
                  <a:pt x="3220442" y="818357"/>
                  <a:pt x="3431249" y="747052"/>
                  <a:pt x="3584178" y="604441"/>
                </a:cubicBezTo>
                <a:cubicBezTo>
                  <a:pt x="3737240" y="461830"/>
                  <a:pt x="3813771" y="260350"/>
                  <a:pt x="3813771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5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24" name="Rectangle 4124"/>
          <p:cNvSpPr/>
          <p:nvPr/>
        </p:nvSpPr>
        <p:spPr>
          <a:xfrm>
            <a:off x="1134558" y="966571"/>
            <a:ext cx="6822808" cy="339089"/>
          </a:xfrm>
          <a:prstGeom prst="rect">
            <a:avLst/>
          </a:prstGeom>
        </p:spPr>
      </p:sp>
      <p:sp>
        <p:nvSpPr>
          <p:cNvPr id="4125" name="Freeform 4125"/>
          <p:cNvSpPr/>
          <p:nvPr/>
        </p:nvSpPr>
        <p:spPr>
          <a:xfrm>
            <a:off x="1146701" y="999959"/>
            <a:ext cx="75237" cy="99326"/>
          </a:xfrm>
          <a:custGeom>
            <a:avLst/>
            <a:gdLst/>
            <a:ahLst/>
            <a:cxnLst/>
            <a:rect l="0" t="0" r="0" b="0"/>
            <a:pathLst>
              <a:path w="6839744" h="9029700">
                <a:moveTo>
                  <a:pt x="6839744" y="9029700"/>
                </a:moveTo>
                <a:lnTo>
                  <a:pt x="5642968" y="9029700"/>
                </a:lnTo>
                <a:lnTo>
                  <a:pt x="5642968" y="979885"/>
                </a:lnTo>
                <a:lnTo>
                  <a:pt x="1190625" y="97988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683974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26" name="Freeform 4126"/>
          <p:cNvSpPr/>
          <p:nvPr/>
        </p:nvSpPr>
        <p:spPr>
          <a:xfrm>
            <a:off x="1243714" y="1024128"/>
            <a:ext cx="62347" cy="103517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27" name="Freeform 4127"/>
          <p:cNvSpPr/>
          <p:nvPr/>
        </p:nvSpPr>
        <p:spPr>
          <a:xfrm>
            <a:off x="1319970" y="102412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28" name="Freeform 4128"/>
          <p:cNvSpPr/>
          <p:nvPr/>
        </p:nvSpPr>
        <p:spPr>
          <a:xfrm>
            <a:off x="1399101" y="1025525"/>
            <a:ext cx="61937" cy="73761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29" name="Freeform 4129"/>
          <p:cNvSpPr/>
          <p:nvPr/>
        </p:nvSpPr>
        <p:spPr>
          <a:xfrm>
            <a:off x="1478802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0" name="Freeform 4130"/>
          <p:cNvSpPr/>
          <p:nvPr/>
        </p:nvSpPr>
        <p:spPr>
          <a:xfrm>
            <a:off x="1551770" y="1025525"/>
            <a:ext cx="67053" cy="73761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1" name="Freeform 4131"/>
          <p:cNvSpPr/>
          <p:nvPr/>
        </p:nvSpPr>
        <p:spPr>
          <a:xfrm>
            <a:off x="1640224" y="1025525"/>
            <a:ext cx="58935" cy="73761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2" name="Freeform 4132"/>
          <p:cNvSpPr/>
          <p:nvPr/>
        </p:nvSpPr>
        <p:spPr>
          <a:xfrm>
            <a:off x="1715873" y="102552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3" name="Freeform 4133"/>
          <p:cNvSpPr/>
          <p:nvPr/>
        </p:nvSpPr>
        <p:spPr>
          <a:xfrm>
            <a:off x="1796408" y="1025525"/>
            <a:ext cx="85267" cy="73761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4" name="Freeform 4134"/>
          <p:cNvSpPr/>
          <p:nvPr/>
        </p:nvSpPr>
        <p:spPr>
          <a:xfrm>
            <a:off x="1904748" y="998562"/>
            <a:ext cx="59276" cy="10072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5" name="Freeform 4135"/>
          <p:cNvSpPr/>
          <p:nvPr/>
        </p:nvSpPr>
        <p:spPr>
          <a:xfrm>
            <a:off x="2019928" y="1025525"/>
            <a:ext cx="61937" cy="73761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6" name="Freeform 4136"/>
          <p:cNvSpPr/>
          <p:nvPr/>
        </p:nvSpPr>
        <p:spPr>
          <a:xfrm>
            <a:off x="2099697" y="1025525"/>
            <a:ext cx="85267" cy="73761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7" name="Freeform 4137"/>
          <p:cNvSpPr/>
          <p:nvPr/>
        </p:nvSpPr>
        <p:spPr>
          <a:xfrm>
            <a:off x="2204011" y="993394"/>
            <a:ext cx="65962" cy="107289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8" name="Freeform 4138"/>
          <p:cNvSpPr/>
          <p:nvPr/>
        </p:nvSpPr>
        <p:spPr>
          <a:xfrm>
            <a:off x="2280717" y="102412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39" name="Freeform 4139"/>
          <p:cNvSpPr/>
          <p:nvPr/>
        </p:nvSpPr>
        <p:spPr>
          <a:xfrm>
            <a:off x="2363689" y="1024128"/>
            <a:ext cx="62347" cy="103517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0" name="Freeform 4140"/>
          <p:cNvSpPr/>
          <p:nvPr/>
        </p:nvSpPr>
        <p:spPr>
          <a:xfrm>
            <a:off x="2477657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1" name="Freeform 4141"/>
          <p:cNvSpPr/>
          <p:nvPr/>
        </p:nvSpPr>
        <p:spPr>
          <a:xfrm>
            <a:off x="2557173" y="1024128"/>
            <a:ext cx="62347" cy="103517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2" name="Freeform 4142"/>
          <p:cNvSpPr/>
          <p:nvPr/>
        </p:nvSpPr>
        <p:spPr>
          <a:xfrm>
            <a:off x="2632203" y="102412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3" name="Freeform 4143"/>
          <p:cNvSpPr/>
          <p:nvPr/>
        </p:nvSpPr>
        <p:spPr>
          <a:xfrm>
            <a:off x="2712445" y="994511"/>
            <a:ext cx="87653" cy="133134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4" name="Freeform 4144"/>
          <p:cNvSpPr/>
          <p:nvPr/>
        </p:nvSpPr>
        <p:spPr>
          <a:xfrm>
            <a:off x="2813250" y="102412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5" name="Freeform 4145"/>
          <p:cNvSpPr/>
          <p:nvPr/>
        </p:nvSpPr>
        <p:spPr>
          <a:xfrm>
            <a:off x="2887083" y="1024128"/>
            <a:ext cx="62210" cy="7655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6" name="Freeform 4146"/>
          <p:cNvSpPr/>
          <p:nvPr/>
        </p:nvSpPr>
        <p:spPr>
          <a:xfrm>
            <a:off x="2960146" y="1024128"/>
            <a:ext cx="62210" cy="7655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7" name="Freeform 4147"/>
          <p:cNvSpPr/>
          <p:nvPr/>
        </p:nvSpPr>
        <p:spPr>
          <a:xfrm>
            <a:off x="3037575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8" name="Freeform 4148"/>
          <p:cNvSpPr/>
          <p:nvPr/>
        </p:nvSpPr>
        <p:spPr>
          <a:xfrm>
            <a:off x="3118182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49" name="Freeform 4149"/>
          <p:cNvSpPr/>
          <p:nvPr/>
        </p:nvSpPr>
        <p:spPr>
          <a:xfrm>
            <a:off x="3225177" y="1051928"/>
            <a:ext cx="33287" cy="10300"/>
          </a:xfrm>
          <a:custGeom>
            <a:avLst/>
            <a:gdLst/>
            <a:ahLst/>
            <a:cxnLst/>
            <a:rect l="0" t="0" r="0" b="0"/>
            <a:pathLst>
              <a:path w="3026172" h="936427">
                <a:moveTo>
                  <a:pt x="3026172" y="936427"/>
                </a:moveTo>
                <a:lnTo>
                  <a:pt x="0" y="936427"/>
                </a:lnTo>
                <a:lnTo>
                  <a:pt x="0" y="0"/>
                </a:lnTo>
                <a:lnTo>
                  <a:pt x="302617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0" name="Freeform 4150"/>
          <p:cNvSpPr/>
          <p:nvPr/>
        </p:nvSpPr>
        <p:spPr>
          <a:xfrm>
            <a:off x="3306218" y="1025525"/>
            <a:ext cx="63506" cy="73761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1" name="Freeform 4151"/>
          <p:cNvSpPr/>
          <p:nvPr/>
        </p:nvSpPr>
        <p:spPr>
          <a:xfrm>
            <a:off x="3374016" y="1025525"/>
            <a:ext cx="67053" cy="73761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2" name="Freeform 4152"/>
          <p:cNvSpPr/>
          <p:nvPr/>
        </p:nvSpPr>
        <p:spPr>
          <a:xfrm>
            <a:off x="3462471" y="1024128"/>
            <a:ext cx="97340" cy="76555"/>
          </a:xfrm>
          <a:custGeom>
            <a:avLst/>
            <a:gdLst/>
            <a:ahLst/>
            <a:cxnLst/>
            <a:rect l="0" t="0" r="0" b="0"/>
            <a:pathLst>
              <a:path w="8849122" h="6959600">
                <a:moveTo>
                  <a:pt x="1147366" y="2971800"/>
                </a:moveTo>
                <a:lnTo>
                  <a:pt x="2759670" y="2971800"/>
                </a:lnTo>
                <a:cubicBezTo>
                  <a:pt x="2846454" y="2078435"/>
                  <a:pt x="3163689" y="1359826"/>
                  <a:pt x="3711376" y="815975"/>
                </a:cubicBezTo>
                <a:cubicBezTo>
                  <a:pt x="4259196" y="271992"/>
                  <a:pt x="4950685" y="0"/>
                  <a:pt x="5785842" y="0"/>
                </a:cubicBezTo>
                <a:cubicBezTo>
                  <a:pt x="6662275" y="0"/>
                  <a:pt x="7379494" y="295672"/>
                  <a:pt x="7937500" y="887016"/>
                </a:cubicBezTo>
                <a:cubicBezTo>
                  <a:pt x="8495639" y="1478360"/>
                  <a:pt x="8797462" y="2247504"/>
                  <a:pt x="8842970" y="3194447"/>
                </a:cubicBezTo>
                <a:lnTo>
                  <a:pt x="8849122" y="3554215"/>
                </a:lnTo>
                <a:cubicBezTo>
                  <a:pt x="8849122" y="4207603"/>
                  <a:pt x="8720931" y="4796896"/>
                  <a:pt x="8464550" y="5322094"/>
                </a:cubicBezTo>
                <a:cubicBezTo>
                  <a:pt x="8208301" y="5847292"/>
                  <a:pt x="7848666" y="6251509"/>
                  <a:pt x="7385645" y="6534746"/>
                </a:cubicBezTo>
                <a:cubicBezTo>
                  <a:pt x="6922625" y="6817982"/>
                  <a:pt x="6393458" y="6959600"/>
                  <a:pt x="5798145" y="6959600"/>
                </a:cubicBezTo>
                <a:cubicBezTo>
                  <a:pt x="4934148" y="6959600"/>
                  <a:pt x="4227182" y="6677422"/>
                  <a:pt x="3677245" y="6113066"/>
                </a:cubicBezTo>
                <a:cubicBezTo>
                  <a:pt x="3127441" y="5548710"/>
                  <a:pt x="2819466" y="4815814"/>
                  <a:pt x="2753320" y="3914379"/>
                </a:cubicBezTo>
                <a:lnTo>
                  <a:pt x="1147366" y="3914379"/>
                </a:lnTo>
                <a:lnTo>
                  <a:pt x="1147366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147366" y="127000"/>
                </a:lnTo>
                <a:close/>
                <a:moveTo>
                  <a:pt x="3888184" y="3554215"/>
                </a:moveTo>
                <a:cubicBezTo>
                  <a:pt x="3888184" y="4298620"/>
                  <a:pt x="4060759" y="4896247"/>
                  <a:pt x="4405908" y="5347097"/>
                </a:cubicBezTo>
                <a:cubicBezTo>
                  <a:pt x="4751189" y="5797815"/>
                  <a:pt x="5215268" y="6023174"/>
                  <a:pt x="5798145" y="6023174"/>
                </a:cubicBezTo>
                <a:cubicBezTo>
                  <a:pt x="6381022" y="6023174"/>
                  <a:pt x="6842985" y="5793648"/>
                  <a:pt x="7184033" y="5334596"/>
                </a:cubicBezTo>
                <a:cubicBezTo>
                  <a:pt x="7525213" y="4875544"/>
                  <a:pt x="7695803" y="4236575"/>
                  <a:pt x="7695803" y="3417690"/>
                </a:cubicBezTo>
                <a:cubicBezTo>
                  <a:pt x="7695803" y="2685720"/>
                  <a:pt x="7522170" y="2090209"/>
                  <a:pt x="7174905" y="1631157"/>
                </a:cubicBezTo>
                <a:cubicBezTo>
                  <a:pt x="6827639" y="1172105"/>
                  <a:pt x="6364618" y="942579"/>
                  <a:pt x="5785842" y="942579"/>
                </a:cubicBezTo>
                <a:cubicBezTo>
                  <a:pt x="5215268" y="942579"/>
                  <a:pt x="4756348" y="1168004"/>
                  <a:pt x="4409083" y="1618854"/>
                </a:cubicBezTo>
                <a:cubicBezTo>
                  <a:pt x="4061817" y="2069571"/>
                  <a:pt x="3888184" y="2714692"/>
                  <a:pt x="3888184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3" name="Freeform 4153"/>
          <p:cNvSpPr/>
          <p:nvPr/>
        </p:nvSpPr>
        <p:spPr>
          <a:xfrm>
            <a:off x="3572643" y="1025385"/>
            <a:ext cx="58252" cy="73901"/>
          </a:xfrm>
          <a:custGeom>
            <a:avLst/>
            <a:gdLst/>
            <a:ahLst/>
            <a:cxnLst/>
            <a:rect l="0" t="0" r="0" b="0"/>
            <a:pathLst>
              <a:path w="5295701" h="6718300">
                <a:moveTo>
                  <a:pt x="5295701" y="6718300"/>
                </a:moveTo>
                <a:lnTo>
                  <a:pt x="4142383" y="6718300"/>
                </a:lnTo>
                <a:lnTo>
                  <a:pt x="4142383" y="4287441"/>
                </a:lnTo>
                <a:cubicBezTo>
                  <a:pt x="3637955" y="4419733"/>
                  <a:pt x="3121157" y="4485879"/>
                  <a:pt x="2591990" y="4485879"/>
                </a:cubicBezTo>
                <a:cubicBezTo>
                  <a:pt x="1752865" y="4485879"/>
                  <a:pt x="1113102" y="4270772"/>
                  <a:pt x="672703" y="3840560"/>
                </a:cubicBezTo>
                <a:cubicBezTo>
                  <a:pt x="232436" y="3410347"/>
                  <a:pt x="8202" y="2798168"/>
                  <a:pt x="0" y="2004021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2041525"/>
                </a:lnTo>
                <a:cubicBezTo>
                  <a:pt x="1167805" y="3042709"/>
                  <a:pt x="1649412" y="3543300"/>
                  <a:pt x="2591990" y="3543300"/>
                </a:cubicBezTo>
                <a:cubicBezTo>
                  <a:pt x="3121157" y="3543300"/>
                  <a:pt x="3637955" y="3477221"/>
                  <a:pt x="4142383" y="3345061"/>
                </a:cubicBezTo>
                <a:lnTo>
                  <a:pt x="4142383" y="12700"/>
                </a:lnTo>
                <a:lnTo>
                  <a:pt x="5295701" y="12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4" name="Freeform 4154"/>
          <p:cNvSpPr/>
          <p:nvPr/>
        </p:nvSpPr>
        <p:spPr>
          <a:xfrm>
            <a:off x="3647817" y="102412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5" name="Freeform 4155"/>
          <p:cNvSpPr/>
          <p:nvPr/>
        </p:nvSpPr>
        <p:spPr>
          <a:xfrm>
            <a:off x="3726084" y="1025525"/>
            <a:ext cx="61937" cy="73761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6" name="Freeform 4156"/>
          <p:cNvSpPr/>
          <p:nvPr/>
        </p:nvSpPr>
        <p:spPr>
          <a:xfrm>
            <a:off x="3801352" y="102412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7" name="Freeform 4157"/>
          <p:cNvSpPr/>
          <p:nvPr/>
        </p:nvSpPr>
        <p:spPr>
          <a:xfrm>
            <a:off x="3885414" y="998562"/>
            <a:ext cx="59276" cy="10072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8" name="Freeform 4158"/>
          <p:cNvSpPr/>
          <p:nvPr/>
        </p:nvSpPr>
        <p:spPr>
          <a:xfrm>
            <a:off x="3996707" y="994511"/>
            <a:ext cx="87653" cy="133134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59" name="Freeform 4159"/>
          <p:cNvSpPr/>
          <p:nvPr/>
        </p:nvSpPr>
        <p:spPr>
          <a:xfrm>
            <a:off x="4098603" y="102412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0" name="Freeform 4160"/>
          <p:cNvSpPr/>
          <p:nvPr/>
        </p:nvSpPr>
        <p:spPr>
          <a:xfrm>
            <a:off x="4177667" y="1025525"/>
            <a:ext cx="63506" cy="73761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1" name="Freeform 4161"/>
          <p:cNvSpPr/>
          <p:nvPr/>
        </p:nvSpPr>
        <p:spPr>
          <a:xfrm>
            <a:off x="4245192" y="1025525"/>
            <a:ext cx="61664" cy="73761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2" name="Freeform 4162"/>
          <p:cNvSpPr/>
          <p:nvPr/>
        </p:nvSpPr>
        <p:spPr>
          <a:xfrm>
            <a:off x="4312934" y="102412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3" name="Freeform 4163"/>
          <p:cNvSpPr/>
          <p:nvPr/>
        </p:nvSpPr>
        <p:spPr>
          <a:xfrm>
            <a:off x="4395904" y="1024128"/>
            <a:ext cx="62347" cy="103517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4" name="Freeform 4164"/>
          <p:cNvSpPr/>
          <p:nvPr/>
        </p:nvSpPr>
        <p:spPr>
          <a:xfrm>
            <a:off x="4505507" y="1024128"/>
            <a:ext cx="62210" cy="7655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5" name="Freeform 4165"/>
          <p:cNvSpPr/>
          <p:nvPr/>
        </p:nvSpPr>
        <p:spPr>
          <a:xfrm>
            <a:off x="4578503" y="102412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6" name="Freeform 4166"/>
          <p:cNvSpPr/>
          <p:nvPr/>
        </p:nvSpPr>
        <p:spPr>
          <a:xfrm>
            <a:off x="4662565" y="1025525"/>
            <a:ext cx="68077" cy="95694"/>
          </a:xfrm>
          <a:custGeom>
            <a:avLst/>
            <a:gdLst/>
            <a:ahLst/>
            <a:cxnLst/>
            <a:rect l="0" t="0" r="0" b="0"/>
            <a:pathLst>
              <a:path w="6188869" h="8699500">
                <a:moveTo>
                  <a:pt x="0" y="0"/>
                </a:moveTo>
                <a:lnTo>
                  <a:pt x="1153518" y="0"/>
                </a:lnTo>
                <a:lnTo>
                  <a:pt x="1153518" y="5769174"/>
                </a:lnTo>
                <a:lnTo>
                  <a:pt x="4241602" y="5769174"/>
                </a:lnTo>
                <a:lnTo>
                  <a:pt x="4241602" y="0"/>
                </a:lnTo>
                <a:lnTo>
                  <a:pt x="5388769" y="0"/>
                </a:lnTo>
                <a:lnTo>
                  <a:pt x="5388769" y="5769174"/>
                </a:lnTo>
                <a:lnTo>
                  <a:pt x="6188869" y="5769174"/>
                </a:lnTo>
                <a:lnTo>
                  <a:pt x="6077149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7" name="Freeform 4167"/>
          <p:cNvSpPr/>
          <p:nvPr/>
        </p:nvSpPr>
        <p:spPr>
          <a:xfrm>
            <a:off x="4745268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8" name="Freeform 4168"/>
          <p:cNvSpPr/>
          <p:nvPr/>
        </p:nvSpPr>
        <p:spPr>
          <a:xfrm>
            <a:off x="4822668" y="102412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69" name="Freeform 4169"/>
          <p:cNvSpPr/>
          <p:nvPr/>
        </p:nvSpPr>
        <p:spPr>
          <a:xfrm>
            <a:off x="4894092" y="1025525"/>
            <a:ext cx="67053" cy="73761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0" name="Freeform 4170"/>
          <p:cNvSpPr/>
          <p:nvPr/>
        </p:nvSpPr>
        <p:spPr>
          <a:xfrm>
            <a:off x="4982546" y="1025525"/>
            <a:ext cx="58935" cy="73761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1" name="Freeform 4171"/>
          <p:cNvSpPr/>
          <p:nvPr/>
        </p:nvSpPr>
        <p:spPr>
          <a:xfrm>
            <a:off x="5058196" y="102552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2" name="Freeform 4172"/>
          <p:cNvSpPr/>
          <p:nvPr/>
        </p:nvSpPr>
        <p:spPr>
          <a:xfrm>
            <a:off x="5134230" y="102412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3" name="Freeform 4173"/>
          <p:cNvSpPr/>
          <p:nvPr/>
        </p:nvSpPr>
        <p:spPr>
          <a:xfrm>
            <a:off x="5218292" y="998562"/>
            <a:ext cx="59276" cy="10072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4" name="Freeform 4174"/>
          <p:cNvSpPr/>
          <p:nvPr/>
        </p:nvSpPr>
        <p:spPr>
          <a:xfrm>
            <a:off x="5329039" y="1024128"/>
            <a:ext cx="62210" cy="7655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5" name="Freeform 4175"/>
          <p:cNvSpPr/>
          <p:nvPr/>
        </p:nvSpPr>
        <p:spPr>
          <a:xfrm>
            <a:off x="5398555" y="1025525"/>
            <a:ext cx="61664" cy="73761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6" name="Freeform 4176"/>
          <p:cNvSpPr/>
          <p:nvPr/>
        </p:nvSpPr>
        <p:spPr>
          <a:xfrm>
            <a:off x="5469340" y="102412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7" name="Freeform 4177"/>
          <p:cNvSpPr/>
          <p:nvPr/>
        </p:nvSpPr>
        <p:spPr>
          <a:xfrm>
            <a:off x="5544378" y="993394"/>
            <a:ext cx="65962" cy="107289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8" name="Freeform 4178"/>
          <p:cNvSpPr/>
          <p:nvPr/>
        </p:nvSpPr>
        <p:spPr>
          <a:xfrm>
            <a:off x="5624400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79" name="Freeform 4179"/>
          <p:cNvSpPr/>
          <p:nvPr/>
        </p:nvSpPr>
        <p:spPr>
          <a:xfrm>
            <a:off x="5697367" y="1025525"/>
            <a:ext cx="67053" cy="73761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0" name="Freeform 4180"/>
          <p:cNvSpPr/>
          <p:nvPr/>
        </p:nvSpPr>
        <p:spPr>
          <a:xfrm>
            <a:off x="5785821" y="1025525"/>
            <a:ext cx="58935" cy="73761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1" name="Freeform 4181"/>
          <p:cNvSpPr/>
          <p:nvPr/>
        </p:nvSpPr>
        <p:spPr>
          <a:xfrm>
            <a:off x="5861470" y="102552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2" name="Freeform 4182"/>
          <p:cNvSpPr/>
          <p:nvPr/>
        </p:nvSpPr>
        <p:spPr>
          <a:xfrm>
            <a:off x="5937504" y="102412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3" name="Freeform 4183"/>
          <p:cNvSpPr/>
          <p:nvPr/>
        </p:nvSpPr>
        <p:spPr>
          <a:xfrm>
            <a:off x="6017201" y="1024128"/>
            <a:ext cx="62210" cy="7655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4" name="Freeform 4184"/>
          <p:cNvSpPr/>
          <p:nvPr/>
        </p:nvSpPr>
        <p:spPr>
          <a:xfrm>
            <a:off x="6086718" y="1025525"/>
            <a:ext cx="61664" cy="73761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5" name="Freeform 4185"/>
          <p:cNvSpPr/>
          <p:nvPr/>
        </p:nvSpPr>
        <p:spPr>
          <a:xfrm>
            <a:off x="6161686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6" name="Freeform 4186"/>
          <p:cNvSpPr/>
          <p:nvPr/>
        </p:nvSpPr>
        <p:spPr>
          <a:xfrm>
            <a:off x="6276799" y="102552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7" name="Freeform 4187"/>
          <p:cNvSpPr/>
          <p:nvPr/>
        </p:nvSpPr>
        <p:spPr>
          <a:xfrm>
            <a:off x="6354059" y="102412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8" name="Freeform 4188"/>
          <p:cNvSpPr/>
          <p:nvPr/>
        </p:nvSpPr>
        <p:spPr>
          <a:xfrm>
            <a:off x="6428757" y="1024128"/>
            <a:ext cx="62210" cy="7655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89" name="Freeform 4189"/>
          <p:cNvSpPr/>
          <p:nvPr/>
        </p:nvSpPr>
        <p:spPr>
          <a:xfrm>
            <a:off x="6501889" y="102412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0" name="Freeform 4190"/>
          <p:cNvSpPr/>
          <p:nvPr/>
        </p:nvSpPr>
        <p:spPr>
          <a:xfrm>
            <a:off x="6572448" y="1025525"/>
            <a:ext cx="67053" cy="73761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1" name="Freeform 4191"/>
          <p:cNvSpPr/>
          <p:nvPr/>
        </p:nvSpPr>
        <p:spPr>
          <a:xfrm>
            <a:off x="6656536" y="102412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2" name="Freeform 4192"/>
          <p:cNvSpPr/>
          <p:nvPr/>
        </p:nvSpPr>
        <p:spPr>
          <a:xfrm>
            <a:off x="6734736" y="102552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3" name="Freeform 4193"/>
          <p:cNvSpPr/>
          <p:nvPr/>
        </p:nvSpPr>
        <p:spPr>
          <a:xfrm>
            <a:off x="6815203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4" name="Freeform 4194"/>
          <p:cNvSpPr/>
          <p:nvPr/>
        </p:nvSpPr>
        <p:spPr>
          <a:xfrm>
            <a:off x="6888375" y="1025525"/>
            <a:ext cx="62755" cy="73761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5" name="Freeform 4195"/>
          <p:cNvSpPr/>
          <p:nvPr/>
        </p:nvSpPr>
        <p:spPr>
          <a:xfrm>
            <a:off x="6963702" y="1084347"/>
            <a:ext cx="19031" cy="34776"/>
          </a:xfrm>
          <a:custGeom>
            <a:avLst/>
            <a:gdLst/>
            <a:ahLst/>
            <a:cxnLst/>
            <a:rect l="0" t="0" r="0" b="0"/>
            <a:pathLst>
              <a:path w="1730176" h="3161506">
                <a:moveTo>
                  <a:pt x="651272" y="3161506"/>
                </a:moveTo>
                <a:lnTo>
                  <a:pt x="0" y="2714227"/>
                </a:lnTo>
                <a:cubicBezTo>
                  <a:pt x="388673" y="2171832"/>
                  <a:pt x="591277" y="1612833"/>
                  <a:pt x="607814" y="1037233"/>
                </a:cubicBezTo>
                <a:lnTo>
                  <a:pt x="607814" y="0"/>
                </a:lnTo>
                <a:lnTo>
                  <a:pt x="1730176" y="0"/>
                </a:lnTo>
                <a:lnTo>
                  <a:pt x="1730176" y="900708"/>
                </a:lnTo>
                <a:cubicBezTo>
                  <a:pt x="1730176" y="1318882"/>
                  <a:pt x="1627849" y="1737055"/>
                  <a:pt x="1423194" y="2155229"/>
                </a:cubicBezTo>
                <a:cubicBezTo>
                  <a:pt x="1218538" y="2573535"/>
                  <a:pt x="961231" y="2908961"/>
                  <a:pt x="651272" y="316150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6" name="Freeform 4196"/>
          <p:cNvSpPr/>
          <p:nvPr/>
        </p:nvSpPr>
        <p:spPr>
          <a:xfrm>
            <a:off x="7034320" y="1025525"/>
            <a:ext cx="61937" cy="73761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7" name="Freeform 4197"/>
          <p:cNvSpPr/>
          <p:nvPr/>
        </p:nvSpPr>
        <p:spPr>
          <a:xfrm>
            <a:off x="7106381" y="1025525"/>
            <a:ext cx="67053" cy="73761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8" name="Freeform 4198"/>
          <p:cNvSpPr/>
          <p:nvPr/>
        </p:nvSpPr>
        <p:spPr>
          <a:xfrm>
            <a:off x="7194768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199" name="Freeform 4199"/>
          <p:cNvSpPr/>
          <p:nvPr/>
        </p:nvSpPr>
        <p:spPr>
          <a:xfrm>
            <a:off x="7267940" y="1025525"/>
            <a:ext cx="62755" cy="73761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0" name="Freeform 4200"/>
          <p:cNvSpPr/>
          <p:nvPr/>
        </p:nvSpPr>
        <p:spPr>
          <a:xfrm>
            <a:off x="7351998" y="1024128"/>
            <a:ext cx="97340" cy="76555"/>
          </a:xfrm>
          <a:custGeom>
            <a:avLst/>
            <a:gdLst/>
            <a:ahLst/>
            <a:cxnLst/>
            <a:rect l="0" t="0" r="0" b="0"/>
            <a:pathLst>
              <a:path w="8849122" h="6959600">
                <a:moveTo>
                  <a:pt x="1147366" y="2971800"/>
                </a:moveTo>
                <a:lnTo>
                  <a:pt x="2759670" y="2971800"/>
                </a:lnTo>
                <a:cubicBezTo>
                  <a:pt x="2846454" y="2078435"/>
                  <a:pt x="3163689" y="1359826"/>
                  <a:pt x="3711376" y="815975"/>
                </a:cubicBezTo>
                <a:cubicBezTo>
                  <a:pt x="4259196" y="271992"/>
                  <a:pt x="4950685" y="0"/>
                  <a:pt x="5785842" y="0"/>
                </a:cubicBezTo>
                <a:cubicBezTo>
                  <a:pt x="6662275" y="0"/>
                  <a:pt x="7379494" y="295672"/>
                  <a:pt x="7937500" y="887016"/>
                </a:cubicBezTo>
                <a:cubicBezTo>
                  <a:pt x="8495639" y="1478360"/>
                  <a:pt x="8797462" y="2247504"/>
                  <a:pt x="8842970" y="3194447"/>
                </a:cubicBezTo>
                <a:lnTo>
                  <a:pt x="8849122" y="3554215"/>
                </a:lnTo>
                <a:cubicBezTo>
                  <a:pt x="8849122" y="4207603"/>
                  <a:pt x="8720931" y="4796896"/>
                  <a:pt x="8464550" y="5322094"/>
                </a:cubicBezTo>
                <a:cubicBezTo>
                  <a:pt x="8208301" y="5847292"/>
                  <a:pt x="7848666" y="6251509"/>
                  <a:pt x="7385645" y="6534746"/>
                </a:cubicBezTo>
                <a:cubicBezTo>
                  <a:pt x="6922625" y="6817982"/>
                  <a:pt x="6393458" y="6959600"/>
                  <a:pt x="5798145" y="6959600"/>
                </a:cubicBezTo>
                <a:cubicBezTo>
                  <a:pt x="4934148" y="6959600"/>
                  <a:pt x="4227182" y="6677422"/>
                  <a:pt x="3677245" y="6113066"/>
                </a:cubicBezTo>
                <a:cubicBezTo>
                  <a:pt x="3127441" y="5548710"/>
                  <a:pt x="2819466" y="4815814"/>
                  <a:pt x="2753320" y="3914379"/>
                </a:cubicBezTo>
                <a:lnTo>
                  <a:pt x="1147366" y="3914379"/>
                </a:lnTo>
                <a:lnTo>
                  <a:pt x="1147366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147366" y="127000"/>
                </a:lnTo>
                <a:close/>
                <a:moveTo>
                  <a:pt x="3888184" y="3554215"/>
                </a:moveTo>
                <a:cubicBezTo>
                  <a:pt x="3888184" y="4298620"/>
                  <a:pt x="4060759" y="4896247"/>
                  <a:pt x="4405908" y="5347097"/>
                </a:cubicBezTo>
                <a:cubicBezTo>
                  <a:pt x="4751189" y="5797815"/>
                  <a:pt x="5215268" y="6023174"/>
                  <a:pt x="5798145" y="6023174"/>
                </a:cubicBezTo>
                <a:cubicBezTo>
                  <a:pt x="6381022" y="6023174"/>
                  <a:pt x="6842985" y="5793648"/>
                  <a:pt x="7184033" y="5334596"/>
                </a:cubicBezTo>
                <a:cubicBezTo>
                  <a:pt x="7525213" y="4875544"/>
                  <a:pt x="7695803" y="4236575"/>
                  <a:pt x="7695803" y="3417690"/>
                </a:cubicBezTo>
                <a:cubicBezTo>
                  <a:pt x="7695803" y="2685720"/>
                  <a:pt x="7522170" y="2090209"/>
                  <a:pt x="7174905" y="1631157"/>
                </a:cubicBezTo>
                <a:cubicBezTo>
                  <a:pt x="6827639" y="1172105"/>
                  <a:pt x="6364618" y="942579"/>
                  <a:pt x="5785842" y="942579"/>
                </a:cubicBezTo>
                <a:cubicBezTo>
                  <a:pt x="5215268" y="942579"/>
                  <a:pt x="4756348" y="1168004"/>
                  <a:pt x="4409083" y="1618854"/>
                </a:cubicBezTo>
                <a:cubicBezTo>
                  <a:pt x="4061817" y="2069571"/>
                  <a:pt x="3888184" y="2714692"/>
                  <a:pt x="3888184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1" name="Freeform 4201"/>
          <p:cNvSpPr/>
          <p:nvPr/>
        </p:nvSpPr>
        <p:spPr>
          <a:xfrm>
            <a:off x="7465035" y="1025525"/>
            <a:ext cx="102319" cy="95694"/>
          </a:xfrm>
          <a:custGeom>
            <a:avLst/>
            <a:gdLst/>
            <a:ahLst/>
            <a:cxnLst/>
            <a:rect l="0" t="0" r="0" b="0"/>
            <a:pathLst>
              <a:path w="9301758" h="8699500">
                <a:moveTo>
                  <a:pt x="1153517" y="0"/>
                </a:moveTo>
                <a:lnTo>
                  <a:pt x="1153517" y="5769174"/>
                </a:lnTo>
                <a:lnTo>
                  <a:pt x="3609181" y="5769174"/>
                </a:lnTo>
                <a:lnTo>
                  <a:pt x="3609181" y="0"/>
                </a:lnTo>
                <a:lnTo>
                  <a:pt x="4756348" y="0"/>
                </a:lnTo>
                <a:lnTo>
                  <a:pt x="4756348" y="5769174"/>
                </a:lnTo>
                <a:lnTo>
                  <a:pt x="7205861" y="5769174"/>
                </a:lnTo>
                <a:lnTo>
                  <a:pt x="7205861" y="0"/>
                </a:lnTo>
                <a:lnTo>
                  <a:pt x="8359180" y="0"/>
                </a:lnTo>
                <a:lnTo>
                  <a:pt x="8359180" y="5769174"/>
                </a:lnTo>
                <a:lnTo>
                  <a:pt x="9301758" y="5769174"/>
                </a:lnTo>
                <a:lnTo>
                  <a:pt x="9190236" y="8699500"/>
                </a:lnTo>
                <a:lnTo>
                  <a:pt x="8160742" y="8699500"/>
                </a:lnTo>
                <a:lnTo>
                  <a:pt x="8160742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2" name="Freeform 4202"/>
          <p:cNvSpPr/>
          <p:nvPr/>
        </p:nvSpPr>
        <p:spPr>
          <a:xfrm>
            <a:off x="7581317" y="102552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3" name="Freeform 4203"/>
          <p:cNvSpPr/>
          <p:nvPr/>
        </p:nvSpPr>
        <p:spPr>
          <a:xfrm>
            <a:off x="7661924" y="998562"/>
            <a:ext cx="59276" cy="10072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4" name="Freeform 4204"/>
          <p:cNvSpPr/>
          <p:nvPr/>
        </p:nvSpPr>
        <p:spPr>
          <a:xfrm>
            <a:off x="7777037" y="102552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5" name="Freeform 4205"/>
          <p:cNvSpPr/>
          <p:nvPr/>
        </p:nvSpPr>
        <p:spPr>
          <a:xfrm>
            <a:off x="7854298" y="102412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6" name="Freeform 4206"/>
          <p:cNvSpPr/>
          <p:nvPr/>
        </p:nvSpPr>
        <p:spPr>
          <a:xfrm>
            <a:off x="1145199" y="1196975"/>
            <a:ext cx="63506" cy="73761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7" name="Freeform 4207"/>
          <p:cNvSpPr/>
          <p:nvPr/>
        </p:nvSpPr>
        <p:spPr>
          <a:xfrm>
            <a:off x="1217430" y="119557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8" name="Freeform 4208"/>
          <p:cNvSpPr/>
          <p:nvPr/>
        </p:nvSpPr>
        <p:spPr>
          <a:xfrm>
            <a:off x="1292879" y="1196835"/>
            <a:ext cx="58252" cy="73901"/>
          </a:xfrm>
          <a:custGeom>
            <a:avLst/>
            <a:gdLst/>
            <a:ahLst/>
            <a:cxnLst/>
            <a:rect l="0" t="0" r="0" b="0"/>
            <a:pathLst>
              <a:path w="5295701" h="6718300">
                <a:moveTo>
                  <a:pt x="5295701" y="6718300"/>
                </a:moveTo>
                <a:lnTo>
                  <a:pt x="4142383" y="6718300"/>
                </a:lnTo>
                <a:lnTo>
                  <a:pt x="4142383" y="4287441"/>
                </a:lnTo>
                <a:cubicBezTo>
                  <a:pt x="3637955" y="4419733"/>
                  <a:pt x="3121157" y="4485879"/>
                  <a:pt x="2591990" y="4485879"/>
                </a:cubicBezTo>
                <a:cubicBezTo>
                  <a:pt x="1752865" y="4485879"/>
                  <a:pt x="1113102" y="4270772"/>
                  <a:pt x="672703" y="3840560"/>
                </a:cubicBezTo>
                <a:cubicBezTo>
                  <a:pt x="232436" y="3410347"/>
                  <a:pt x="8202" y="2798168"/>
                  <a:pt x="0" y="2004021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2041525"/>
                </a:lnTo>
                <a:cubicBezTo>
                  <a:pt x="1167805" y="3042709"/>
                  <a:pt x="1649412" y="3543300"/>
                  <a:pt x="2591990" y="3543300"/>
                </a:cubicBezTo>
                <a:cubicBezTo>
                  <a:pt x="3121157" y="3543300"/>
                  <a:pt x="3637955" y="3477221"/>
                  <a:pt x="4142383" y="3345061"/>
                </a:cubicBezTo>
                <a:lnTo>
                  <a:pt x="4142383" y="12700"/>
                </a:lnTo>
                <a:lnTo>
                  <a:pt x="5295701" y="12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09" name="Freeform 4209"/>
          <p:cNvSpPr/>
          <p:nvPr/>
        </p:nvSpPr>
        <p:spPr>
          <a:xfrm>
            <a:off x="1368053" y="119557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0" name="Freeform 4210"/>
          <p:cNvSpPr/>
          <p:nvPr/>
        </p:nvSpPr>
        <p:spPr>
          <a:xfrm>
            <a:off x="1441887" y="1195578"/>
            <a:ext cx="62210" cy="7655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1" name="Freeform 4211"/>
          <p:cNvSpPr/>
          <p:nvPr/>
        </p:nvSpPr>
        <p:spPr>
          <a:xfrm>
            <a:off x="1511403" y="1196975"/>
            <a:ext cx="61664" cy="73761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2" name="Freeform 4212"/>
          <p:cNvSpPr/>
          <p:nvPr/>
        </p:nvSpPr>
        <p:spPr>
          <a:xfrm>
            <a:off x="1586439" y="1196975"/>
            <a:ext cx="61937" cy="73761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3" name="Freeform 4213"/>
          <p:cNvSpPr/>
          <p:nvPr/>
        </p:nvSpPr>
        <p:spPr>
          <a:xfrm>
            <a:off x="1661707" y="119557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4" name="Freeform 4214"/>
          <p:cNvSpPr/>
          <p:nvPr/>
        </p:nvSpPr>
        <p:spPr>
          <a:xfrm>
            <a:off x="1771066" y="1196975"/>
            <a:ext cx="103615" cy="73761"/>
          </a:xfrm>
          <a:custGeom>
            <a:avLst/>
            <a:gdLst/>
            <a:ahLst/>
            <a:cxnLst/>
            <a:rect l="0" t="0" r="0" b="0"/>
            <a:pathLst>
              <a:path w="9419629" h="6705600">
                <a:moveTo>
                  <a:pt x="6089650" y="3785593"/>
                </a:moveTo>
                <a:lnTo>
                  <a:pt x="5283398" y="3785593"/>
                </a:lnTo>
                <a:lnTo>
                  <a:pt x="5283398" y="6705600"/>
                </a:lnTo>
                <a:lnTo>
                  <a:pt x="4136231" y="6705600"/>
                </a:lnTo>
                <a:lnTo>
                  <a:pt x="4136231" y="3785593"/>
                </a:lnTo>
                <a:lnTo>
                  <a:pt x="3330178" y="3785593"/>
                </a:lnTo>
                <a:lnTo>
                  <a:pt x="1451173" y="6705600"/>
                </a:lnTo>
                <a:lnTo>
                  <a:pt x="0" y="6705600"/>
                </a:lnTo>
                <a:lnTo>
                  <a:pt x="2399903" y="3227388"/>
                </a:lnTo>
                <a:lnTo>
                  <a:pt x="229592" y="0"/>
                </a:lnTo>
                <a:lnTo>
                  <a:pt x="1618654" y="0"/>
                </a:lnTo>
                <a:lnTo>
                  <a:pt x="3348632" y="2768600"/>
                </a:lnTo>
                <a:lnTo>
                  <a:pt x="4136231" y="2768600"/>
                </a:lnTo>
                <a:lnTo>
                  <a:pt x="4136231" y="0"/>
                </a:lnTo>
                <a:lnTo>
                  <a:pt x="5283398" y="0"/>
                </a:lnTo>
                <a:lnTo>
                  <a:pt x="5283398" y="2768600"/>
                </a:lnTo>
                <a:lnTo>
                  <a:pt x="6064845" y="2768600"/>
                </a:lnTo>
                <a:lnTo>
                  <a:pt x="7807325" y="0"/>
                </a:lnTo>
                <a:lnTo>
                  <a:pt x="9196387" y="0"/>
                </a:lnTo>
                <a:lnTo>
                  <a:pt x="7019726" y="3233738"/>
                </a:lnTo>
                <a:lnTo>
                  <a:pt x="9419629" y="6705600"/>
                </a:lnTo>
                <a:lnTo>
                  <a:pt x="7968654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5" name="Freeform 4215"/>
          <p:cNvSpPr/>
          <p:nvPr/>
        </p:nvSpPr>
        <p:spPr>
          <a:xfrm>
            <a:off x="1887146" y="119697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6" name="Freeform 4216"/>
          <p:cNvSpPr/>
          <p:nvPr/>
        </p:nvSpPr>
        <p:spPr>
          <a:xfrm>
            <a:off x="1963114" y="1195578"/>
            <a:ext cx="58117" cy="76415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7" name="Freeform 4217"/>
          <p:cNvSpPr/>
          <p:nvPr/>
        </p:nvSpPr>
        <p:spPr>
          <a:xfrm>
            <a:off x="2038580" y="119697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8" name="Freeform 4218"/>
          <p:cNvSpPr/>
          <p:nvPr/>
        </p:nvSpPr>
        <p:spPr>
          <a:xfrm>
            <a:off x="2119047" y="119697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19" name="Freeform 4219"/>
          <p:cNvSpPr/>
          <p:nvPr/>
        </p:nvSpPr>
        <p:spPr>
          <a:xfrm>
            <a:off x="2230546" y="1196835"/>
            <a:ext cx="58252" cy="73901"/>
          </a:xfrm>
          <a:custGeom>
            <a:avLst/>
            <a:gdLst/>
            <a:ahLst/>
            <a:cxnLst/>
            <a:rect l="0" t="0" r="0" b="0"/>
            <a:pathLst>
              <a:path w="5295701" h="6718300">
                <a:moveTo>
                  <a:pt x="5295701" y="6718300"/>
                </a:moveTo>
                <a:lnTo>
                  <a:pt x="4142383" y="6718300"/>
                </a:lnTo>
                <a:lnTo>
                  <a:pt x="4142383" y="4287441"/>
                </a:lnTo>
                <a:cubicBezTo>
                  <a:pt x="3637955" y="4419733"/>
                  <a:pt x="3121157" y="4485879"/>
                  <a:pt x="2591990" y="4485879"/>
                </a:cubicBezTo>
                <a:cubicBezTo>
                  <a:pt x="1752865" y="4485879"/>
                  <a:pt x="1113102" y="4270772"/>
                  <a:pt x="672703" y="3840560"/>
                </a:cubicBezTo>
                <a:cubicBezTo>
                  <a:pt x="232436" y="3410347"/>
                  <a:pt x="8202" y="2798168"/>
                  <a:pt x="0" y="2004021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2041525"/>
                </a:lnTo>
                <a:cubicBezTo>
                  <a:pt x="1167805" y="3042709"/>
                  <a:pt x="1649412" y="3543300"/>
                  <a:pt x="2591990" y="3543300"/>
                </a:cubicBezTo>
                <a:cubicBezTo>
                  <a:pt x="3121157" y="3543300"/>
                  <a:pt x="3637955" y="3477221"/>
                  <a:pt x="4142383" y="3345061"/>
                </a:cubicBezTo>
                <a:lnTo>
                  <a:pt x="4142383" y="12700"/>
                </a:lnTo>
                <a:lnTo>
                  <a:pt x="5295701" y="12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0" name="Freeform 4220"/>
          <p:cNvSpPr/>
          <p:nvPr/>
        </p:nvSpPr>
        <p:spPr>
          <a:xfrm>
            <a:off x="2305719" y="119557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1" name="Freeform 4221"/>
          <p:cNvSpPr/>
          <p:nvPr/>
        </p:nvSpPr>
        <p:spPr>
          <a:xfrm>
            <a:off x="2376279" y="1196975"/>
            <a:ext cx="67053" cy="73761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2" name="Freeform 4222"/>
          <p:cNvSpPr/>
          <p:nvPr/>
        </p:nvSpPr>
        <p:spPr>
          <a:xfrm>
            <a:off x="2460232" y="119557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3" name="Freeform 4223"/>
          <p:cNvSpPr/>
          <p:nvPr/>
        </p:nvSpPr>
        <p:spPr>
          <a:xfrm>
            <a:off x="2544362" y="1196975"/>
            <a:ext cx="61937" cy="73761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4" name="Freeform 4224"/>
          <p:cNvSpPr/>
          <p:nvPr/>
        </p:nvSpPr>
        <p:spPr>
          <a:xfrm>
            <a:off x="2619765" y="119557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5" name="Freeform 4225"/>
          <p:cNvSpPr/>
          <p:nvPr/>
        </p:nvSpPr>
        <p:spPr>
          <a:xfrm>
            <a:off x="2697964" y="1196975"/>
            <a:ext cx="63506" cy="73761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6" name="Freeform 4226"/>
          <p:cNvSpPr/>
          <p:nvPr/>
        </p:nvSpPr>
        <p:spPr>
          <a:xfrm>
            <a:off x="2770196" y="119557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7" name="Freeform 4227"/>
          <p:cNvSpPr/>
          <p:nvPr/>
        </p:nvSpPr>
        <p:spPr>
          <a:xfrm>
            <a:off x="2840596" y="1255797"/>
            <a:ext cx="19031" cy="34776"/>
          </a:xfrm>
          <a:custGeom>
            <a:avLst/>
            <a:gdLst/>
            <a:ahLst/>
            <a:cxnLst/>
            <a:rect l="0" t="0" r="0" b="0"/>
            <a:pathLst>
              <a:path w="1730176" h="3161506">
                <a:moveTo>
                  <a:pt x="651272" y="3161506"/>
                </a:moveTo>
                <a:lnTo>
                  <a:pt x="0" y="2714227"/>
                </a:lnTo>
                <a:cubicBezTo>
                  <a:pt x="388673" y="2171832"/>
                  <a:pt x="591277" y="1612833"/>
                  <a:pt x="607814" y="1037233"/>
                </a:cubicBezTo>
                <a:lnTo>
                  <a:pt x="607814" y="0"/>
                </a:lnTo>
                <a:lnTo>
                  <a:pt x="1730176" y="0"/>
                </a:lnTo>
                <a:lnTo>
                  <a:pt x="1730176" y="900708"/>
                </a:lnTo>
                <a:cubicBezTo>
                  <a:pt x="1730176" y="1318882"/>
                  <a:pt x="1627849" y="1737055"/>
                  <a:pt x="1423194" y="2155229"/>
                </a:cubicBezTo>
                <a:cubicBezTo>
                  <a:pt x="1218538" y="2573535"/>
                  <a:pt x="961231" y="2908961"/>
                  <a:pt x="651272" y="316150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8" name="Freeform 4228"/>
          <p:cNvSpPr/>
          <p:nvPr/>
        </p:nvSpPr>
        <p:spPr>
          <a:xfrm>
            <a:off x="2902007" y="1196975"/>
            <a:ext cx="62891" cy="103517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29" name="Freeform 4229"/>
          <p:cNvSpPr/>
          <p:nvPr/>
        </p:nvSpPr>
        <p:spPr>
          <a:xfrm>
            <a:off x="2976133" y="1195578"/>
            <a:ext cx="62347" cy="103517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0" name="Freeform 4230"/>
          <p:cNvSpPr/>
          <p:nvPr/>
        </p:nvSpPr>
        <p:spPr>
          <a:xfrm>
            <a:off x="3051163" y="119557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1" name="Freeform 4231"/>
          <p:cNvSpPr/>
          <p:nvPr/>
        </p:nvSpPr>
        <p:spPr>
          <a:xfrm>
            <a:off x="3135293" y="1196975"/>
            <a:ext cx="61937" cy="73761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2" name="Freeform 4232"/>
          <p:cNvSpPr/>
          <p:nvPr/>
        </p:nvSpPr>
        <p:spPr>
          <a:xfrm>
            <a:off x="3210696" y="119557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3" name="Freeform 4233"/>
          <p:cNvSpPr/>
          <p:nvPr/>
        </p:nvSpPr>
        <p:spPr>
          <a:xfrm>
            <a:off x="3288895" y="119697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4" name="Freeform 4234"/>
          <p:cNvSpPr/>
          <p:nvPr/>
        </p:nvSpPr>
        <p:spPr>
          <a:xfrm>
            <a:off x="3369430" y="1196975"/>
            <a:ext cx="58935" cy="73761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5" name="Freeform 4235"/>
          <p:cNvSpPr/>
          <p:nvPr/>
        </p:nvSpPr>
        <p:spPr>
          <a:xfrm>
            <a:off x="3475288" y="119557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6" name="Freeform 4236"/>
          <p:cNvSpPr/>
          <p:nvPr/>
        </p:nvSpPr>
        <p:spPr>
          <a:xfrm>
            <a:off x="3553352" y="1196975"/>
            <a:ext cx="46725" cy="73761"/>
          </a:xfrm>
          <a:custGeom>
            <a:avLst/>
            <a:gdLst/>
            <a:ahLst/>
            <a:cxnLst/>
            <a:rect l="0" t="0" r="0" b="0"/>
            <a:pathLst>
              <a:path w="4247753" h="6705600">
                <a:moveTo>
                  <a:pt x="4247753" y="948730"/>
                </a:moveTo>
                <a:lnTo>
                  <a:pt x="1153319" y="948730"/>
                </a:lnTo>
                <a:lnTo>
                  <a:pt x="115331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24775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7" name="Freeform 4237"/>
          <p:cNvSpPr/>
          <p:nvPr/>
        </p:nvSpPr>
        <p:spPr>
          <a:xfrm>
            <a:off x="3606331" y="119557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8" name="Freeform 4238"/>
          <p:cNvSpPr/>
          <p:nvPr/>
        </p:nvSpPr>
        <p:spPr>
          <a:xfrm>
            <a:off x="3720466" y="119557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39" name="Freeform 4239"/>
          <p:cNvSpPr/>
          <p:nvPr/>
        </p:nvSpPr>
        <p:spPr>
          <a:xfrm>
            <a:off x="3800503" y="1164844"/>
            <a:ext cx="65962" cy="107289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0" name="Freeform 4240"/>
          <p:cNvSpPr/>
          <p:nvPr/>
        </p:nvSpPr>
        <p:spPr>
          <a:xfrm>
            <a:off x="3879433" y="1195578"/>
            <a:ext cx="62347" cy="103517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1" name="Freeform 4241"/>
          <p:cNvSpPr/>
          <p:nvPr/>
        </p:nvSpPr>
        <p:spPr>
          <a:xfrm>
            <a:off x="3955690" y="119557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2" name="Freeform 4242"/>
          <p:cNvSpPr/>
          <p:nvPr/>
        </p:nvSpPr>
        <p:spPr>
          <a:xfrm>
            <a:off x="4030115" y="1195578"/>
            <a:ext cx="58117" cy="76415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3" name="Freeform 4243"/>
          <p:cNvSpPr/>
          <p:nvPr/>
        </p:nvSpPr>
        <p:spPr>
          <a:xfrm>
            <a:off x="4101148" y="119557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4" name="Freeform 4244"/>
          <p:cNvSpPr/>
          <p:nvPr/>
        </p:nvSpPr>
        <p:spPr>
          <a:xfrm>
            <a:off x="4185278" y="1196975"/>
            <a:ext cx="61937" cy="73761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5" name="Freeform 4245"/>
          <p:cNvSpPr/>
          <p:nvPr/>
        </p:nvSpPr>
        <p:spPr>
          <a:xfrm>
            <a:off x="4261773" y="119557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6" name="Freeform 4246"/>
          <p:cNvSpPr/>
          <p:nvPr/>
        </p:nvSpPr>
        <p:spPr>
          <a:xfrm>
            <a:off x="4340836" y="119697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7" name="Freeform 4247"/>
          <p:cNvSpPr/>
          <p:nvPr/>
        </p:nvSpPr>
        <p:spPr>
          <a:xfrm>
            <a:off x="4421303" y="119697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8" name="Freeform 4248"/>
          <p:cNvSpPr/>
          <p:nvPr/>
        </p:nvSpPr>
        <p:spPr>
          <a:xfrm>
            <a:off x="4494476" y="1196975"/>
            <a:ext cx="62755" cy="73761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49" name="Freeform 4249"/>
          <p:cNvSpPr/>
          <p:nvPr/>
        </p:nvSpPr>
        <p:spPr>
          <a:xfrm>
            <a:off x="4612972" y="119697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0" name="Freeform 4250"/>
          <p:cNvSpPr/>
          <p:nvPr/>
        </p:nvSpPr>
        <p:spPr>
          <a:xfrm>
            <a:off x="4723719" y="1195578"/>
            <a:ext cx="62210" cy="7655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1" name="Freeform 4251"/>
          <p:cNvSpPr/>
          <p:nvPr/>
        </p:nvSpPr>
        <p:spPr>
          <a:xfrm>
            <a:off x="4796714" y="119557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2" name="Freeform 4252"/>
          <p:cNvSpPr/>
          <p:nvPr/>
        </p:nvSpPr>
        <p:spPr>
          <a:xfrm>
            <a:off x="4876138" y="1195578"/>
            <a:ext cx="58117" cy="76415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3" name="Freeform 4253"/>
          <p:cNvSpPr/>
          <p:nvPr/>
        </p:nvSpPr>
        <p:spPr>
          <a:xfrm>
            <a:off x="4951605" y="119697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4" name="Freeform 4254"/>
          <p:cNvSpPr/>
          <p:nvPr/>
        </p:nvSpPr>
        <p:spPr>
          <a:xfrm>
            <a:off x="5024709" y="1196975"/>
            <a:ext cx="76738" cy="95415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5" name="Freeform 4255"/>
          <p:cNvSpPr/>
          <p:nvPr/>
        </p:nvSpPr>
        <p:spPr>
          <a:xfrm>
            <a:off x="5113244" y="119557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6" name="Freeform 4256"/>
          <p:cNvSpPr/>
          <p:nvPr/>
        </p:nvSpPr>
        <p:spPr>
          <a:xfrm>
            <a:off x="5183417" y="1196975"/>
            <a:ext cx="61664" cy="73761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7" name="Freeform 4257"/>
          <p:cNvSpPr/>
          <p:nvPr/>
        </p:nvSpPr>
        <p:spPr>
          <a:xfrm>
            <a:off x="5248640" y="119557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8" name="Freeform 4258"/>
          <p:cNvSpPr/>
          <p:nvPr/>
        </p:nvSpPr>
        <p:spPr>
          <a:xfrm>
            <a:off x="5319199" y="1196975"/>
            <a:ext cx="67053" cy="73761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59" name="Freeform 4259"/>
          <p:cNvSpPr/>
          <p:nvPr/>
        </p:nvSpPr>
        <p:spPr>
          <a:xfrm>
            <a:off x="5407653" y="1196975"/>
            <a:ext cx="58935" cy="73761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0" name="Freeform 4260"/>
          <p:cNvSpPr/>
          <p:nvPr/>
        </p:nvSpPr>
        <p:spPr>
          <a:xfrm>
            <a:off x="5483303" y="1196975"/>
            <a:ext cx="59208" cy="73761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1" name="Freeform 4261"/>
          <p:cNvSpPr/>
          <p:nvPr/>
        </p:nvSpPr>
        <p:spPr>
          <a:xfrm>
            <a:off x="5559337" y="1195578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2" name="Freeform 4262"/>
          <p:cNvSpPr/>
          <p:nvPr/>
        </p:nvSpPr>
        <p:spPr>
          <a:xfrm>
            <a:off x="5639101" y="119557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3" name="Freeform 4263"/>
          <p:cNvSpPr/>
          <p:nvPr/>
        </p:nvSpPr>
        <p:spPr>
          <a:xfrm>
            <a:off x="5750715" y="1195578"/>
            <a:ext cx="62347" cy="103517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4" name="Freeform 4264"/>
          <p:cNvSpPr/>
          <p:nvPr/>
        </p:nvSpPr>
        <p:spPr>
          <a:xfrm>
            <a:off x="5826972" y="1195578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5" name="Freeform 4265"/>
          <p:cNvSpPr/>
          <p:nvPr/>
        </p:nvSpPr>
        <p:spPr>
          <a:xfrm>
            <a:off x="5901397" y="1195578"/>
            <a:ext cx="58117" cy="76415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6" name="Freeform 4266"/>
          <p:cNvSpPr/>
          <p:nvPr/>
        </p:nvSpPr>
        <p:spPr>
          <a:xfrm>
            <a:off x="5976931" y="1196975"/>
            <a:ext cx="61937" cy="73761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7" name="Freeform 4267"/>
          <p:cNvSpPr/>
          <p:nvPr/>
        </p:nvSpPr>
        <p:spPr>
          <a:xfrm>
            <a:off x="6056631" y="119697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8" name="Freeform 4268"/>
          <p:cNvSpPr/>
          <p:nvPr/>
        </p:nvSpPr>
        <p:spPr>
          <a:xfrm>
            <a:off x="6129326" y="1196975"/>
            <a:ext cx="61664" cy="73761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69" name="Freeform 4269"/>
          <p:cNvSpPr/>
          <p:nvPr/>
        </p:nvSpPr>
        <p:spPr>
          <a:xfrm>
            <a:off x="6204294" y="1196975"/>
            <a:ext cx="59276" cy="73761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70" name="Freeform 4270"/>
          <p:cNvSpPr/>
          <p:nvPr/>
        </p:nvSpPr>
        <p:spPr>
          <a:xfrm>
            <a:off x="6280603" y="1195578"/>
            <a:ext cx="62620" cy="7655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71" name="Rectangle 4271"/>
          <p:cNvSpPr/>
          <p:nvPr/>
        </p:nvSpPr>
        <p:spPr>
          <a:xfrm>
            <a:off x="4762900" y="1429282"/>
            <a:ext cx="3201736" cy="510539"/>
          </a:xfrm>
          <a:prstGeom prst="rect">
            <a:avLst/>
          </a:prstGeom>
        </p:spPr>
      </p:sp>
      <p:sp>
        <p:nvSpPr>
          <p:cNvPr id="4272" name="Freeform 4272"/>
          <p:cNvSpPr/>
          <p:nvPr/>
        </p:nvSpPr>
        <p:spPr>
          <a:xfrm>
            <a:off x="4771904" y="1462671"/>
            <a:ext cx="82265" cy="99326"/>
          </a:xfrm>
          <a:custGeom>
            <a:avLst/>
            <a:gdLst/>
            <a:ahLst/>
            <a:cxnLst/>
            <a:rect l="0" t="0" r="0" b="0"/>
            <a:pathLst>
              <a:path w="7478713" h="9029700">
                <a:moveTo>
                  <a:pt x="2933105" y="5343525"/>
                </a:moveTo>
                <a:lnTo>
                  <a:pt x="1860352" y="534352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19500"/>
                </a:lnTo>
                <a:lnTo>
                  <a:pt x="2709863" y="3619500"/>
                </a:lnTo>
                <a:lnTo>
                  <a:pt x="4917480" y="0"/>
                </a:lnTo>
                <a:lnTo>
                  <a:pt x="7187208" y="0"/>
                </a:lnTo>
                <a:lnTo>
                  <a:pt x="4402931" y="4276924"/>
                </a:lnTo>
                <a:lnTo>
                  <a:pt x="7478713" y="9029700"/>
                </a:lnTo>
                <a:lnTo>
                  <a:pt x="5258594" y="90297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73" name="Freeform 4273"/>
          <p:cNvSpPr/>
          <p:nvPr/>
        </p:nvSpPr>
        <p:spPr>
          <a:xfrm>
            <a:off x="4855693" y="148683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74" name="Freeform 4274"/>
          <p:cNvSpPr/>
          <p:nvPr/>
        </p:nvSpPr>
        <p:spPr>
          <a:xfrm>
            <a:off x="4937693" y="148823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75" name="Freeform 4275"/>
          <p:cNvSpPr/>
          <p:nvPr/>
        </p:nvSpPr>
        <p:spPr>
          <a:xfrm>
            <a:off x="5013834" y="1486839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76" name="Freeform 4276"/>
          <p:cNvSpPr/>
          <p:nvPr/>
        </p:nvSpPr>
        <p:spPr>
          <a:xfrm>
            <a:off x="5084230" y="148823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77" name="Freeform 4277"/>
          <p:cNvSpPr/>
          <p:nvPr/>
        </p:nvSpPr>
        <p:spPr>
          <a:xfrm>
            <a:off x="5160794" y="148683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78" name="Freeform 4278"/>
          <p:cNvSpPr/>
          <p:nvPr/>
        </p:nvSpPr>
        <p:spPr>
          <a:xfrm>
            <a:off x="5231240" y="1488236"/>
            <a:ext cx="69712" cy="103517"/>
          </a:xfrm>
          <a:custGeom>
            <a:avLst/>
            <a:gdLst/>
            <a:ahLst/>
            <a:cxnLst/>
            <a:rect l="0" t="0" r="0" b="0"/>
            <a:pathLst>
              <a:path w="6337498" h="9410700">
                <a:moveTo>
                  <a:pt x="3175000" y="4169371"/>
                </a:moveTo>
                <a:lnTo>
                  <a:pt x="4415234" y="0"/>
                </a:lnTo>
                <a:lnTo>
                  <a:pt x="6337498" y="0"/>
                </a:lnTo>
                <a:lnTo>
                  <a:pt x="3640137" y="7744221"/>
                </a:lnTo>
                <a:lnTo>
                  <a:pt x="3491309" y="8097242"/>
                </a:lnTo>
                <a:cubicBezTo>
                  <a:pt x="3090201" y="8972880"/>
                  <a:pt x="2428742" y="9410700"/>
                  <a:pt x="1506934" y="9410700"/>
                </a:cubicBezTo>
                <a:cubicBezTo>
                  <a:pt x="1246452" y="9410700"/>
                  <a:pt x="981868" y="9371409"/>
                  <a:pt x="713184" y="9292828"/>
                </a:cubicBezTo>
                <a:lnTo>
                  <a:pt x="713184" y="7934920"/>
                </a:lnTo>
                <a:lnTo>
                  <a:pt x="986036" y="7941071"/>
                </a:lnTo>
                <a:cubicBezTo>
                  <a:pt x="1324967" y="7941071"/>
                  <a:pt x="1578107" y="7889411"/>
                  <a:pt x="1745456" y="7786092"/>
                </a:cubicBezTo>
                <a:cubicBezTo>
                  <a:pt x="1912937" y="7682904"/>
                  <a:pt x="2044237" y="7511586"/>
                  <a:pt x="2139354" y="7272139"/>
                </a:cubicBezTo>
                <a:lnTo>
                  <a:pt x="2350293" y="6720879"/>
                </a:lnTo>
                <a:lnTo>
                  <a:pt x="0" y="0"/>
                </a:lnTo>
                <a:lnTo>
                  <a:pt x="1928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79" name="Freeform 4279"/>
          <p:cNvSpPr/>
          <p:nvPr/>
        </p:nvSpPr>
        <p:spPr>
          <a:xfrm>
            <a:off x="5309893" y="1488236"/>
            <a:ext cx="69985" cy="73761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0" name="Freeform 4280"/>
          <p:cNvSpPr/>
          <p:nvPr/>
        </p:nvSpPr>
        <p:spPr>
          <a:xfrm>
            <a:off x="5381791" y="148823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1" name="Freeform 4281"/>
          <p:cNvSpPr/>
          <p:nvPr/>
        </p:nvSpPr>
        <p:spPr>
          <a:xfrm>
            <a:off x="5453330" y="148683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2" name="Freeform 4282"/>
          <p:cNvSpPr/>
          <p:nvPr/>
        </p:nvSpPr>
        <p:spPr>
          <a:xfrm>
            <a:off x="5535330" y="148683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3" name="Freeform 4283"/>
          <p:cNvSpPr/>
          <p:nvPr/>
        </p:nvSpPr>
        <p:spPr>
          <a:xfrm>
            <a:off x="5648559" y="1511566"/>
            <a:ext cx="38402" cy="15893"/>
          </a:xfrm>
          <a:custGeom>
            <a:avLst/>
            <a:gdLst/>
            <a:ahLst/>
            <a:cxnLst/>
            <a:rect l="0" t="0" r="0" b="0"/>
            <a:pathLst>
              <a:path w="3491111" h="1444824">
                <a:moveTo>
                  <a:pt x="3491111" y="1444824"/>
                </a:moveTo>
                <a:lnTo>
                  <a:pt x="0" y="1444824"/>
                </a:lnTo>
                <a:lnTo>
                  <a:pt x="0" y="0"/>
                </a:lnTo>
                <a:lnTo>
                  <a:pt x="34911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4" name="Freeform 4284"/>
          <p:cNvSpPr/>
          <p:nvPr/>
        </p:nvSpPr>
        <p:spPr>
          <a:xfrm>
            <a:off x="5737475" y="148823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5" name="Freeform 4285"/>
          <p:cNvSpPr/>
          <p:nvPr/>
        </p:nvSpPr>
        <p:spPr>
          <a:xfrm>
            <a:off x="5813616" y="148683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6" name="Freeform 4286"/>
          <p:cNvSpPr/>
          <p:nvPr/>
        </p:nvSpPr>
        <p:spPr>
          <a:xfrm>
            <a:off x="5896912" y="1488236"/>
            <a:ext cx="65757" cy="73761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7" name="Freeform 4287"/>
          <p:cNvSpPr/>
          <p:nvPr/>
        </p:nvSpPr>
        <p:spPr>
          <a:xfrm>
            <a:off x="5975843" y="1488236"/>
            <a:ext cx="96997" cy="73761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8" name="Freeform 4288"/>
          <p:cNvSpPr/>
          <p:nvPr/>
        </p:nvSpPr>
        <p:spPr>
          <a:xfrm>
            <a:off x="6083938" y="1488236"/>
            <a:ext cx="68623" cy="73761"/>
          </a:xfrm>
          <a:custGeom>
            <a:avLst/>
            <a:gdLst/>
            <a:ahLst/>
            <a:cxnLst/>
            <a:rect l="0" t="0" r="0" b="0"/>
            <a:pathLst>
              <a:path w="6238478" h="6705600">
                <a:moveTo>
                  <a:pt x="3113087" y="2001838"/>
                </a:moveTo>
                <a:lnTo>
                  <a:pt x="4241601" y="0"/>
                </a:lnTo>
                <a:lnTo>
                  <a:pt x="6157912" y="0"/>
                </a:lnTo>
                <a:lnTo>
                  <a:pt x="4247951" y="3284538"/>
                </a:lnTo>
                <a:lnTo>
                  <a:pt x="6238478" y="6705600"/>
                </a:lnTo>
                <a:lnTo>
                  <a:pt x="4316015" y="6705600"/>
                </a:lnTo>
                <a:lnTo>
                  <a:pt x="3119239" y="4598393"/>
                </a:lnTo>
                <a:lnTo>
                  <a:pt x="1928614" y="6705600"/>
                </a:lnTo>
                <a:lnTo>
                  <a:pt x="0" y="6705600"/>
                </a:lnTo>
                <a:lnTo>
                  <a:pt x="1990725" y="3284538"/>
                </a:lnTo>
                <a:lnTo>
                  <a:pt x="86915" y="0"/>
                </a:lnTo>
                <a:lnTo>
                  <a:pt x="2009179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89" name="Freeform 4289"/>
          <p:cNvSpPr/>
          <p:nvPr/>
        </p:nvSpPr>
        <p:spPr>
          <a:xfrm>
            <a:off x="6195831" y="148823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0" name="Freeform 4290"/>
          <p:cNvSpPr/>
          <p:nvPr/>
        </p:nvSpPr>
        <p:spPr>
          <a:xfrm>
            <a:off x="6272107" y="1486839"/>
            <a:ext cx="65621" cy="7655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1" name="Freeform 4291"/>
          <p:cNvSpPr/>
          <p:nvPr/>
        </p:nvSpPr>
        <p:spPr>
          <a:xfrm>
            <a:off x="6351217" y="1488236"/>
            <a:ext cx="65757" cy="73761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2" name="Freeform 4292"/>
          <p:cNvSpPr/>
          <p:nvPr/>
        </p:nvSpPr>
        <p:spPr>
          <a:xfrm>
            <a:off x="6430147" y="1488236"/>
            <a:ext cx="96997" cy="73761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3" name="Freeform 4293"/>
          <p:cNvSpPr/>
          <p:nvPr/>
        </p:nvSpPr>
        <p:spPr>
          <a:xfrm>
            <a:off x="6545679" y="1488236"/>
            <a:ext cx="69985" cy="73761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4" name="Freeform 4294"/>
          <p:cNvSpPr/>
          <p:nvPr/>
        </p:nvSpPr>
        <p:spPr>
          <a:xfrm>
            <a:off x="6616193" y="148683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5" name="Freeform 4295"/>
          <p:cNvSpPr/>
          <p:nvPr/>
        </p:nvSpPr>
        <p:spPr>
          <a:xfrm>
            <a:off x="6699489" y="1488236"/>
            <a:ext cx="65757" cy="73761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6" name="Freeform 4296"/>
          <p:cNvSpPr/>
          <p:nvPr/>
        </p:nvSpPr>
        <p:spPr>
          <a:xfrm>
            <a:off x="6811908" y="148823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7" name="Freeform 4297"/>
          <p:cNvSpPr/>
          <p:nvPr/>
        </p:nvSpPr>
        <p:spPr>
          <a:xfrm>
            <a:off x="6927200" y="1488236"/>
            <a:ext cx="69985" cy="73761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8" name="Freeform 4298"/>
          <p:cNvSpPr/>
          <p:nvPr/>
        </p:nvSpPr>
        <p:spPr>
          <a:xfrm>
            <a:off x="6997714" y="148683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299" name="Freeform 4299"/>
          <p:cNvSpPr/>
          <p:nvPr/>
        </p:nvSpPr>
        <p:spPr>
          <a:xfrm>
            <a:off x="7081009" y="1488236"/>
            <a:ext cx="87653" cy="73761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0" name="Freeform 4300"/>
          <p:cNvSpPr/>
          <p:nvPr/>
        </p:nvSpPr>
        <p:spPr>
          <a:xfrm>
            <a:off x="7185745" y="148823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1" name="Freeform 4301"/>
          <p:cNvSpPr/>
          <p:nvPr/>
        </p:nvSpPr>
        <p:spPr>
          <a:xfrm>
            <a:off x="7262294" y="148683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2" name="Freeform 4302"/>
          <p:cNvSpPr/>
          <p:nvPr/>
        </p:nvSpPr>
        <p:spPr>
          <a:xfrm>
            <a:off x="7334238" y="148823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3" name="Freeform 4303"/>
          <p:cNvSpPr/>
          <p:nvPr/>
        </p:nvSpPr>
        <p:spPr>
          <a:xfrm>
            <a:off x="7403810" y="148683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4" name="Freeform 4304"/>
          <p:cNvSpPr/>
          <p:nvPr/>
        </p:nvSpPr>
        <p:spPr>
          <a:xfrm>
            <a:off x="7481909" y="148823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5" name="Freeform 4305"/>
          <p:cNvSpPr/>
          <p:nvPr/>
        </p:nvSpPr>
        <p:spPr>
          <a:xfrm>
            <a:off x="7561120" y="1488236"/>
            <a:ext cx="75239" cy="95694"/>
          </a:xfrm>
          <a:custGeom>
            <a:avLst/>
            <a:gdLst/>
            <a:ahLst/>
            <a:cxnLst/>
            <a:rect l="0" t="0" r="0" b="0"/>
            <a:pathLst>
              <a:path w="6839942" h="8699500">
                <a:moveTo>
                  <a:pt x="0" y="0"/>
                </a:moveTo>
                <a:lnTo>
                  <a:pt x="1792089" y="0"/>
                </a:lnTo>
                <a:lnTo>
                  <a:pt x="1792089" y="5260777"/>
                </a:lnTo>
                <a:lnTo>
                  <a:pt x="4037013" y="5260777"/>
                </a:lnTo>
                <a:lnTo>
                  <a:pt x="4037013" y="0"/>
                </a:lnTo>
                <a:lnTo>
                  <a:pt x="5835253" y="0"/>
                </a:lnTo>
                <a:lnTo>
                  <a:pt x="5835253" y="5273279"/>
                </a:lnTo>
                <a:lnTo>
                  <a:pt x="6839942" y="5273279"/>
                </a:lnTo>
                <a:lnTo>
                  <a:pt x="6715919" y="8699500"/>
                </a:lnTo>
                <a:lnTo>
                  <a:pt x="5047655" y="8699500"/>
                </a:lnTo>
                <a:lnTo>
                  <a:pt x="5047655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6" name="Freeform 4306"/>
          <p:cNvSpPr/>
          <p:nvPr/>
        </p:nvSpPr>
        <p:spPr>
          <a:xfrm>
            <a:off x="7646197" y="148823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7" name="Freeform 4307"/>
          <p:cNvSpPr/>
          <p:nvPr/>
        </p:nvSpPr>
        <p:spPr>
          <a:xfrm>
            <a:off x="7725406" y="1458200"/>
            <a:ext cx="64187" cy="103797"/>
          </a:xfrm>
          <a:custGeom>
            <a:avLst/>
            <a:gdLst/>
            <a:ahLst/>
            <a:cxnLst/>
            <a:rect l="0" t="0" r="0" b="0"/>
            <a:pathLst>
              <a:path w="5835253" h="9436100">
                <a:moveTo>
                  <a:pt x="4043164" y="2730500"/>
                </a:moveTo>
                <a:lnTo>
                  <a:pt x="5835253" y="2730500"/>
                </a:lnTo>
                <a:lnTo>
                  <a:pt x="5835253" y="9436100"/>
                </a:lnTo>
                <a:lnTo>
                  <a:pt x="4043164" y="9436100"/>
                </a:lnTo>
                <a:lnTo>
                  <a:pt x="4043164" y="5296297"/>
                </a:lnTo>
                <a:lnTo>
                  <a:pt x="1798241" y="9436100"/>
                </a:lnTo>
                <a:lnTo>
                  <a:pt x="0" y="9436100"/>
                </a:lnTo>
                <a:lnTo>
                  <a:pt x="0" y="2730500"/>
                </a:lnTo>
                <a:lnTo>
                  <a:pt x="1798241" y="2730500"/>
                </a:lnTo>
                <a:lnTo>
                  <a:pt x="1798241" y="6864152"/>
                </a:lnTo>
                <a:close/>
                <a:moveTo>
                  <a:pt x="5097463" y="0"/>
                </a:moveTo>
                <a:cubicBezTo>
                  <a:pt x="5097463" y="549805"/>
                  <a:pt x="4900017" y="994172"/>
                  <a:pt x="4505127" y="1333104"/>
                </a:cubicBezTo>
                <a:cubicBezTo>
                  <a:pt x="4110368" y="1672035"/>
                  <a:pt x="3592579" y="1841500"/>
                  <a:pt x="2951758" y="1841500"/>
                </a:cubicBezTo>
                <a:cubicBezTo>
                  <a:pt x="2310937" y="1841500"/>
                  <a:pt x="1793148" y="1674085"/>
                  <a:pt x="1398389" y="1339255"/>
                </a:cubicBezTo>
                <a:cubicBezTo>
                  <a:pt x="1003631" y="1004425"/>
                  <a:pt x="806252" y="558007"/>
                  <a:pt x="806252" y="0"/>
                </a:cubicBezTo>
                <a:lnTo>
                  <a:pt x="2077442" y="0"/>
                </a:lnTo>
                <a:cubicBezTo>
                  <a:pt x="2077442" y="260350"/>
                  <a:pt x="2154965" y="461830"/>
                  <a:pt x="2310011" y="604441"/>
                </a:cubicBezTo>
                <a:cubicBezTo>
                  <a:pt x="2465057" y="747052"/>
                  <a:pt x="2678973" y="818357"/>
                  <a:pt x="2951758" y="818357"/>
                </a:cubicBezTo>
                <a:cubicBezTo>
                  <a:pt x="3220442" y="818357"/>
                  <a:pt x="3431249" y="747052"/>
                  <a:pt x="3584178" y="604441"/>
                </a:cubicBezTo>
                <a:cubicBezTo>
                  <a:pt x="3737240" y="461830"/>
                  <a:pt x="3813771" y="260350"/>
                  <a:pt x="3813771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8" name="Freeform 4308"/>
          <p:cNvSpPr/>
          <p:nvPr/>
        </p:nvSpPr>
        <p:spPr>
          <a:xfrm>
            <a:off x="7801184" y="1549173"/>
            <a:ext cx="14393" cy="31377"/>
          </a:xfrm>
          <a:custGeom>
            <a:avLst/>
            <a:gdLst/>
            <a:ahLst/>
            <a:cxnLst/>
            <a:rect l="0" t="0" r="0" b="0"/>
            <a:pathLst>
              <a:path w="1308497" h="2852538">
                <a:moveTo>
                  <a:pt x="440333" y="2852538"/>
                </a:moveTo>
                <a:lnTo>
                  <a:pt x="0" y="2530077"/>
                </a:lnTo>
                <a:cubicBezTo>
                  <a:pt x="376237" y="2025782"/>
                  <a:pt x="570574" y="1502833"/>
                  <a:pt x="583009" y="961231"/>
                </a:cubicBezTo>
                <a:lnTo>
                  <a:pt x="583009" y="0"/>
                </a:lnTo>
                <a:lnTo>
                  <a:pt x="1308497" y="0"/>
                </a:lnTo>
                <a:lnTo>
                  <a:pt x="1308497" y="775097"/>
                </a:lnTo>
                <a:cubicBezTo>
                  <a:pt x="1308497" y="1634992"/>
                  <a:pt x="1019109" y="2327473"/>
                  <a:pt x="440333" y="2852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09" name="Freeform 4309"/>
          <p:cNvSpPr/>
          <p:nvPr/>
        </p:nvSpPr>
        <p:spPr>
          <a:xfrm>
            <a:off x="4774019" y="1659686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0" name="Freeform 4310"/>
          <p:cNvSpPr/>
          <p:nvPr/>
        </p:nvSpPr>
        <p:spPr>
          <a:xfrm>
            <a:off x="4840008" y="165828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1" name="Freeform 4311"/>
          <p:cNvSpPr/>
          <p:nvPr/>
        </p:nvSpPr>
        <p:spPr>
          <a:xfrm>
            <a:off x="4913431" y="165968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2" name="Freeform 4312"/>
          <p:cNvSpPr/>
          <p:nvPr/>
        </p:nvSpPr>
        <p:spPr>
          <a:xfrm>
            <a:off x="4980406" y="165828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3" name="Freeform 4313"/>
          <p:cNvSpPr/>
          <p:nvPr/>
        </p:nvSpPr>
        <p:spPr>
          <a:xfrm>
            <a:off x="5063072" y="165828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4" name="Freeform 4314"/>
          <p:cNvSpPr/>
          <p:nvPr/>
        </p:nvSpPr>
        <p:spPr>
          <a:xfrm>
            <a:off x="5141419" y="1659686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5" name="Freeform 4315"/>
          <p:cNvSpPr/>
          <p:nvPr/>
        </p:nvSpPr>
        <p:spPr>
          <a:xfrm>
            <a:off x="5246194" y="1659686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6" name="Freeform 4316"/>
          <p:cNvSpPr/>
          <p:nvPr/>
        </p:nvSpPr>
        <p:spPr>
          <a:xfrm>
            <a:off x="5347835" y="165968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7" name="Freeform 4317"/>
          <p:cNvSpPr/>
          <p:nvPr/>
        </p:nvSpPr>
        <p:spPr>
          <a:xfrm>
            <a:off x="5457178" y="165968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8" name="Freeform 4318"/>
          <p:cNvSpPr/>
          <p:nvPr/>
        </p:nvSpPr>
        <p:spPr>
          <a:xfrm>
            <a:off x="5533727" y="165828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19" name="Freeform 4319"/>
          <p:cNvSpPr/>
          <p:nvPr/>
        </p:nvSpPr>
        <p:spPr>
          <a:xfrm>
            <a:off x="5608757" y="165828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0" name="Freeform 4320"/>
          <p:cNvSpPr/>
          <p:nvPr/>
        </p:nvSpPr>
        <p:spPr>
          <a:xfrm>
            <a:off x="5688914" y="1627136"/>
            <a:ext cx="69577" cy="107708"/>
          </a:xfrm>
          <a:custGeom>
            <a:avLst/>
            <a:gdLst/>
            <a:ahLst/>
            <a:cxnLst/>
            <a:rect l="0" t="0" r="0" b="0"/>
            <a:pathLst>
              <a:path w="6325195" h="9791700">
                <a:moveTo>
                  <a:pt x="3497461" y="3327400"/>
                </a:moveTo>
                <a:cubicBezTo>
                  <a:pt x="4357357" y="3327400"/>
                  <a:pt x="5043620" y="3612489"/>
                  <a:pt x="5556250" y="4182666"/>
                </a:cubicBezTo>
                <a:cubicBezTo>
                  <a:pt x="6068880" y="4752843"/>
                  <a:pt x="6325195" y="5527609"/>
                  <a:pt x="6325195" y="6506965"/>
                </a:cubicBezTo>
                <a:lnTo>
                  <a:pt x="6325195" y="6593682"/>
                </a:lnTo>
                <a:cubicBezTo>
                  <a:pt x="6325195" y="7560469"/>
                  <a:pt x="6039908" y="8335169"/>
                  <a:pt x="5469334" y="8917782"/>
                </a:cubicBezTo>
                <a:cubicBezTo>
                  <a:pt x="4898893" y="9500394"/>
                  <a:pt x="4132064" y="9791700"/>
                  <a:pt x="3168848" y="9791700"/>
                </a:cubicBezTo>
                <a:cubicBezTo>
                  <a:pt x="2201399" y="9791700"/>
                  <a:pt x="1431396" y="9476516"/>
                  <a:pt x="858837" y="8846146"/>
                </a:cubicBezTo>
                <a:cubicBezTo>
                  <a:pt x="286279" y="8215644"/>
                  <a:pt x="0" y="7358791"/>
                  <a:pt x="0" y="6275586"/>
                </a:cubicBezTo>
                <a:lnTo>
                  <a:pt x="0" y="5977930"/>
                </a:lnTo>
                <a:cubicBezTo>
                  <a:pt x="8334" y="4469011"/>
                  <a:pt x="263591" y="3287713"/>
                  <a:pt x="765770" y="2434035"/>
                </a:cubicBezTo>
                <a:cubicBezTo>
                  <a:pt x="1268082" y="1580357"/>
                  <a:pt x="2023599" y="1041863"/>
                  <a:pt x="3032323" y="818555"/>
                </a:cubicBezTo>
                <a:cubicBezTo>
                  <a:pt x="3561490" y="702800"/>
                  <a:pt x="3902538" y="588103"/>
                  <a:pt x="4055467" y="474465"/>
                </a:cubicBezTo>
                <a:cubicBezTo>
                  <a:pt x="4208529" y="360694"/>
                  <a:pt x="4285059" y="202539"/>
                  <a:pt x="4285059" y="0"/>
                </a:cubicBezTo>
                <a:lnTo>
                  <a:pt x="5736034" y="0"/>
                </a:lnTo>
                <a:cubicBezTo>
                  <a:pt x="5736034" y="649552"/>
                  <a:pt x="5561343" y="1137775"/>
                  <a:pt x="5211961" y="1464668"/>
                </a:cubicBezTo>
                <a:cubicBezTo>
                  <a:pt x="4862711" y="1791428"/>
                  <a:pt x="4241602" y="2043774"/>
                  <a:pt x="3348633" y="2221707"/>
                </a:cubicBezTo>
                <a:cubicBezTo>
                  <a:pt x="2819466" y="2329260"/>
                  <a:pt x="2401887" y="2538215"/>
                  <a:pt x="2095897" y="2848571"/>
                </a:cubicBezTo>
                <a:cubicBezTo>
                  <a:pt x="1790039" y="3158795"/>
                  <a:pt x="1583399" y="3595225"/>
                  <a:pt x="1475978" y="4157861"/>
                </a:cubicBezTo>
                <a:cubicBezTo>
                  <a:pt x="2046420" y="3604221"/>
                  <a:pt x="2720247" y="3327400"/>
                  <a:pt x="3497461" y="3327400"/>
                </a:cubicBezTo>
                <a:close/>
                <a:moveTo>
                  <a:pt x="3156347" y="4778574"/>
                </a:moveTo>
                <a:cubicBezTo>
                  <a:pt x="2730632" y="4778574"/>
                  <a:pt x="2396794" y="4921052"/>
                  <a:pt x="2154833" y="5206008"/>
                </a:cubicBezTo>
                <a:cubicBezTo>
                  <a:pt x="1913004" y="5490965"/>
                  <a:pt x="1792089" y="5953522"/>
                  <a:pt x="1792089" y="6593682"/>
                </a:cubicBezTo>
                <a:cubicBezTo>
                  <a:pt x="1792089" y="7163594"/>
                  <a:pt x="1909895" y="7598305"/>
                  <a:pt x="2145506" y="7897813"/>
                </a:cubicBezTo>
                <a:cubicBezTo>
                  <a:pt x="2381250" y="8197189"/>
                  <a:pt x="2722364" y="8346877"/>
                  <a:pt x="3168848" y="8346877"/>
                </a:cubicBezTo>
                <a:cubicBezTo>
                  <a:pt x="3602897" y="8346877"/>
                  <a:pt x="3937727" y="8200298"/>
                  <a:pt x="4173339" y="7907140"/>
                </a:cubicBezTo>
                <a:cubicBezTo>
                  <a:pt x="4409083" y="7613849"/>
                  <a:pt x="4529005" y="7182247"/>
                  <a:pt x="4533106" y="6612335"/>
                </a:cubicBezTo>
                <a:lnTo>
                  <a:pt x="4533106" y="6463507"/>
                </a:lnTo>
                <a:cubicBezTo>
                  <a:pt x="4533106" y="5914232"/>
                  <a:pt x="4412191" y="5496124"/>
                  <a:pt x="4170362" y="5209183"/>
                </a:cubicBezTo>
                <a:cubicBezTo>
                  <a:pt x="3928533" y="4922111"/>
                  <a:pt x="3590528" y="4778574"/>
                  <a:pt x="3156347" y="47785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1" name="Freeform 4321"/>
          <p:cNvSpPr/>
          <p:nvPr/>
        </p:nvSpPr>
        <p:spPr>
          <a:xfrm>
            <a:off x="5763127" y="1659686"/>
            <a:ext cx="68623" cy="73761"/>
          </a:xfrm>
          <a:custGeom>
            <a:avLst/>
            <a:gdLst/>
            <a:ahLst/>
            <a:cxnLst/>
            <a:rect l="0" t="0" r="0" b="0"/>
            <a:pathLst>
              <a:path w="6238478" h="6705600">
                <a:moveTo>
                  <a:pt x="3113087" y="2001838"/>
                </a:moveTo>
                <a:lnTo>
                  <a:pt x="4241601" y="0"/>
                </a:lnTo>
                <a:lnTo>
                  <a:pt x="6157912" y="0"/>
                </a:lnTo>
                <a:lnTo>
                  <a:pt x="4247951" y="3284538"/>
                </a:lnTo>
                <a:lnTo>
                  <a:pt x="6238478" y="6705600"/>
                </a:lnTo>
                <a:lnTo>
                  <a:pt x="4316015" y="6705600"/>
                </a:lnTo>
                <a:lnTo>
                  <a:pt x="3119239" y="4598393"/>
                </a:lnTo>
                <a:lnTo>
                  <a:pt x="1928614" y="6705600"/>
                </a:lnTo>
                <a:lnTo>
                  <a:pt x="0" y="6705600"/>
                </a:lnTo>
                <a:lnTo>
                  <a:pt x="1990725" y="3284538"/>
                </a:lnTo>
                <a:lnTo>
                  <a:pt x="86915" y="0"/>
                </a:lnTo>
                <a:lnTo>
                  <a:pt x="2009179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2" name="Freeform 4322"/>
          <p:cNvSpPr/>
          <p:nvPr/>
        </p:nvSpPr>
        <p:spPr>
          <a:xfrm>
            <a:off x="5834512" y="165828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3" name="Freeform 4323"/>
          <p:cNvSpPr/>
          <p:nvPr/>
        </p:nvSpPr>
        <p:spPr>
          <a:xfrm>
            <a:off x="5906300" y="1659686"/>
            <a:ext cx="83562" cy="95973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4" name="Freeform 4324"/>
          <p:cNvSpPr/>
          <p:nvPr/>
        </p:nvSpPr>
        <p:spPr>
          <a:xfrm>
            <a:off x="5998655" y="165968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5" name="Freeform 4325"/>
          <p:cNvSpPr/>
          <p:nvPr/>
        </p:nvSpPr>
        <p:spPr>
          <a:xfrm>
            <a:off x="6079162" y="1659686"/>
            <a:ext cx="87653" cy="73761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6" name="Freeform 4326"/>
          <p:cNvSpPr/>
          <p:nvPr/>
        </p:nvSpPr>
        <p:spPr>
          <a:xfrm>
            <a:off x="6180828" y="165828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7" name="Freeform 4327"/>
          <p:cNvSpPr/>
          <p:nvPr/>
        </p:nvSpPr>
        <p:spPr>
          <a:xfrm>
            <a:off x="6295293" y="1670443"/>
            <a:ext cx="58051" cy="54483"/>
          </a:xfrm>
          <a:custGeom>
            <a:avLst/>
            <a:gdLst/>
            <a:ahLst/>
            <a:cxnLst/>
            <a:rect l="0" t="0" r="0" b="0"/>
            <a:pathLst>
              <a:path w="5277445" h="4953000">
                <a:moveTo>
                  <a:pt x="1401564" y="2479675"/>
                </a:moveTo>
                <a:lnTo>
                  <a:pt x="2889845" y="4953000"/>
                </a:lnTo>
                <a:lnTo>
                  <a:pt x="1736328" y="4953000"/>
                </a:lnTo>
                <a:lnTo>
                  <a:pt x="0" y="2535436"/>
                </a:lnTo>
                <a:lnTo>
                  <a:pt x="0" y="2417565"/>
                </a:lnTo>
                <a:lnTo>
                  <a:pt x="1736328" y="0"/>
                </a:lnTo>
                <a:lnTo>
                  <a:pt x="2889845" y="0"/>
                </a:lnTo>
                <a:close/>
                <a:moveTo>
                  <a:pt x="3789164" y="2479675"/>
                </a:moveTo>
                <a:lnTo>
                  <a:pt x="5277445" y="4953000"/>
                </a:lnTo>
                <a:lnTo>
                  <a:pt x="4123928" y="4953000"/>
                </a:lnTo>
                <a:lnTo>
                  <a:pt x="2387600" y="2535436"/>
                </a:lnTo>
                <a:lnTo>
                  <a:pt x="2387600" y="2417565"/>
                </a:lnTo>
                <a:lnTo>
                  <a:pt x="4123928" y="0"/>
                </a:lnTo>
                <a:lnTo>
                  <a:pt x="5277445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8" name="Freeform 4328"/>
          <p:cNvSpPr/>
          <p:nvPr/>
        </p:nvSpPr>
        <p:spPr>
          <a:xfrm>
            <a:off x="6362002" y="1659686"/>
            <a:ext cx="83562" cy="95973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29" name="Freeform 4329"/>
          <p:cNvSpPr/>
          <p:nvPr/>
        </p:nvSpPr>
        <p:spPr>
          <a:xfrm>
            <a:off x="6452405" y="165828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0" name="Freeform 4330"/>
          <p:cNvSpPr/>
          <p:nvPr/>
        </p:nvSpPr>
        <p:spPr>
          <a:xfrm>
            <a:off x="6531335" y="1658289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1" name="Freeform 4331"/>
          <p:cNvSpPr/>
          <p:nvPr/>
        </p:nvSpPr>
        <p:spPr>
          <a:xfrm>
            <a:off x="6601731" y="165968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2" name="Freeform 4332"/>
          <p:cNvSpPr/>
          <p:nvPr/>
        </p:nvSpPr>
        <p:spPr>
          <a:xfrm>
            <a:off x="6678296" y="165828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3" name="Freeform 4333"/>
          <p:cNvSpPr/>
          <p:nvPr/>
        </p:nvSpPr>
        <p:spPr>
          <a:xfrm>
            <a:off x="6753738" y="165828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4" name="Freeform 4334"/>
          <p:cNvSpPr/>
          <p:nvPr/>
        </p:nvSpPr>
        <p:spPr>
          <a:xfrm>
            <a:off x="6835738" y="165968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5" name="Freeform 4335"/>
          <p:cNvSpPr/>
          <p:nvPr/>
        </p:nvSpPr>
        <p:spPr>
          <a:xfrm>
            <a:off x="6909491" y="165968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6" name="Freeform 4336"/>
          <p:cNvSpPr/>
          <p:nvPr/>
        </p:nvSpPr>
        <p:spPr>
          <a:xfrm>
            <a:off x="6987352" y="1659686"/>
            <a:ext cx="65619" cy="73761"/>
          </a:xfrm>
          <a:custGeom>
            <a:avLst/>
            <a:gdLst/>
            <a:ahLst/>
            <a:cxnLst/>
            <a:rect l="0" t="0" r="0" b="0"/>
            <a:pathLst>
              <a:path w="5965428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7" name="Freeform 4337"/>
          <p:cNvSpPr/>
          <p:nvPr/>
        </p:nvSpPr>
        <p:spPr>
          <a:xfrm>
            <a:off x="7062233" y="1670443"/>
            <a:ext cx="58665" cy="54483"/>
          </a:xfrm>
          <a:custGeom>
            <a:avLst/>
            <a:gdLst/>
            <a:ahLst/>
            <a:cxnLst/>
            <a:rect l="0" t="0" r="0" b="0"/>
            <a:pathLst>
              <a:path w="5333206" h="4953000">
                <a:moveTo>
                  <a:pt x="1159668" y="0"/>
                </a:moveTo>
                <a:lnTo>
                  <a:pt x="2895996" y="2417565"/>
                </a:lnTo>
                <a:lnTo>
                  <a:pt x="2895996" y="2535436"/>
                </a:lnTo>
                <a:lnTo>
                  <a:pt x="1159668" y="4953000"/>
                </a:lnTo>
                <a:lnTo>
                  <a:pt x="0" y="4953000"/>
                </a:lnTo>
                <a:lnTo>
                  <a:pt x="1488281" y="2479675"/>
                </a:lnTo>
                <a:lnTo>
                  <a:pt x="0" y="0"/>
                </a:lnTo>
                <a:close/>
                <a:moveTo>
                  <a:pt x="3596878" y="0"/>
                </a:moveTo>
                <a:lnTo>
                  <a:pt x="5333206" y="2417565"/>
                </a:lnTo>
                <a:lnTo>
                  <a:pt x="5333206" y="2535436"/>
                </a:lnTo>
                <a:lnTo>
                  <a:pt x="3596878" y="4953000"/>
                </a:lnTo>
                <a:lnTo>
                  <a:pt x="2437209" y="4953000"/>
                </a:lnTo>
                <a:lnTo>
                  <a:pt x="3925490" y="2479675"/>
                </a:lnTo>
                <a:lnTo>
                  <a:pt x="2437209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8" name="Freeform 4338"/>
          <p:cNvSpPr/>
          <p:nvPr/>
        </p:nvSpPr>
        <p:spPr>
          <a:xfrm>
            <a:off x="7171011" y="165968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39" name="Freeform 4339"/>
          <p:cNvSpPr/>
          <p:nvPr/>
        </p:nvSpPr>
        <p:spPr>
          <a:xfrm>
            <a:off x="7249863" y="1659686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0" name="Freeform 4340"/>
          <p:cNvSpPr/>
          <p:nvPr/>
        </p:nvSpPr>
        <p:spPr>
          <a:xfrm>
            <a:off x="7346458" y="165828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1" name="Freeform 4341"/>
          <p:cNvSpPr/>
          <p:nvPr/>
        </p:nvSpPr>
        <p:spPr>
          <a:xfrm>
            <a:off x="7423930" y="1658289"/>
            <a:ext cx="95022" cy="76555"/>
          </a:xfrm>
          <a:custGeom>
            <a:avLst/>
            <a:gdLst/>
            <a:ahLst/>
            <a:cxnLst/>
            <a:rect l="0" t="0" r="0" b="0"/>
            <a:pathLst>
              <a:path w="8638381" h="6959600">
                <a:moveTo>
                  <a:pt x="737989" y="3187700"/>
                </a:moveTo>
                <a:lnTo>
                  <a:pt x="2654102" y="3187700"/>
                </a:lnTo>
                <a:cubicBezTo>
                  <a:pt x="2674871" y="2574661"/>
                  <a:pt x="2815431" y="2022674"/>
                  <a:pt x="3075781" y="1531740"/>
                </a:cubicBezTo>
                <a:cubicBezTo>
                  <a:pt x="3336263" y="1040805"/>
                  <a:pt x="3689747" y="662782"/>
                  <a:pt x="4136231" y="397669"/>
                </a:cubicBezTo>
                <a:cubicBezTo>
                  <a:pt x="4582716" y="132557"/>
                  <a:pt x="5082977" y="0"/>
                  <a:pt x="5637014" y="0"/>
                </a:cubicBezTo>
                <a:cubicBezTo>
                  <a:pt x="6525750" y="0"/>
                  <a:pt x="7248128" y="314325"/>
                  <a:pt x="7804150" y="942975"/>
                </a:cubicBezTo>
                <a:cubicBezTo>
                  <a:pt x="8360304" y="1571493"/>
                  <a:pt x="8638381" y="2402615"/>
                  <a:pt x="8638381" y="3436343"/>
                </a:cubicBezTo>
                <a:lnTo>
                  <a:pt x="8638381" y="3585171"/>
                </a:lnTo>
                <a:cubicBezTo>
                  <a:pt x="8638381" y="4230357"/>
                  <a:pt x="8512241" y="4813499"/>
                  <a:pt x="8259961" y="5334596"/>
                </a:cubicBezTo>
                <a:cubicBezTo>
                  <a:pt x="8007813" y="5855560"/>
                  <a:pt x="7654330" y="6256669"/>
                  <a:pt x="7199511" y="6537921"/>
                </a:cubicBezTo>
                <a:cubicBezTo>
                  <a:pt x="6744825" y="6819041"/>
                  <a:pt x="6228093" y="6959600"/>
                  <a:pt x="5649317" y="6959600"/>
                </a:cubicBezTo>
                <a:cubicBezTo>
                  <a:pt x="4793522" y="6959600"/>
                  <a:pt x="4090723" y="6669617"/>
                  <a:pt x="3540919" y="6089650"/>
                </a:cubicBezTo>
                <a:cubicBezTo>
                  <a:pt x="2991115" y="5509684"/>
                  <a:pt x="2695509" y="4753240"/>
                  <a:pt x="2654102" y="3820319"/>
                </a:cubicBezTo>
                <a:lnTo>
                  <a:pt x="737989" y="3820319"/>
                </a:lnTo>
                <a:lnTo>
                  <a:pt x="737989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737989" y="127000"/>
                </a:lnTo>
                <a:close/>
                <a:moveTo>
                  <a:pt x="3385939" y="3585369"/>
                </a:moveTo>
                <a:cubicBezTo>
                  <a:pt x="3385939" y="4387586"/>
                  <a:pt x="3593637" y="5046134"/>
                  <a:pt x="4009033" y="5561013"/>
                </a:cubicBezTo>
                <a:cubicBezTo>
                  <a:pt x="4424561" y="6075892"/>
                  <a:pt x="4971322" y="6333332"/>
                  <a:pt x="5649317" y="6333332"/>
                </a:cubicBezTo>
                <a:cubicBezTo>
                  <a:pt x="6314877" y="6333332"/>
                  <a:pt x="6855420" y="6075892"/>
                  <a:pt x="7270948" y="5561013"/>
                </a:cubicBezTo>
                <a:cubicBezTo>
                  <a:pt x="7686477" y="5046134"/>
                  <a:pt x="7894241" y="4366882"/>
                  <a:pt x="7894241" y="3523258"/>
                </a:cubicBezTo>
                <a:lnTo>
                  <a:pt x="7894241" y="3380582"/>
                </a:lnTo>
                <a:cubicBezTo>
                  <a:pt x="7894241" y="2586567"/>
                  <a:pt x="7685418" y="1930070"/>
                  <a:pt x="7267773" y="1411090"/>
                </a:cubicBezTo>
                <a:cubicBezTo>
                  <a:pt x="6850261" y="892109"/>
                  <a:pt x="6306675" y="632619"/>
                  <a:pt x="5637014" y="632619"/>
                </a:cubicBezTo>
                <a:cubicBezTo>
                  <a:pt x="4971322" y="632619"/>
                  <a:pt x="4429720" y="892109"/>
                  <a:pt x="4012208" y="1411090"/>
                </a:cubicBezTo>
                <a:cubicBezTo>
                  <a:pt x="3594695" y="1930070"/>
                  <a:pt x="3385939" y="2609321"/>
                  <a:pt x="3385939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2" name="Freeform 4342"/>
          <p:cNvSpPr/>
          <p:nvPr/>
        </p:nvSpPr>
        <p:spPr>
          <a:xfrm>
            <a:off x="7536617" y="1659686"/>
            <a:ext cx="98772" cy="95694"/>
          </a:xfrm>
          <a:custGeom>
            <a:avLst/>
            <a:gdLst/>
            <a:ahLst/>
            <a:cxnLst/>
            <a:rect l="0" t="0" r="0" b="0"/>
            <a:pathLst>
              <a:path w="8979297" h="8699500">
                <a:moveTo>
                  <a:pt x="744141" y="0"/>
                </a:moveTo>
                <a:lnTo>
                  <a:pt x="744141" y="6079332"/>
                </a:lnTo>
                <a:lnTo>
                  <a:pt x="3733006" y="6079332"/>
                </a:lnTo>
                <a:lnTo>
                  <a:pt x="3733006" y="0"/>
                </a:lnTo>
                <a:lnTo>
                  <a:pt x="4477147" y="0"/>
                </a:lnTo>
                <a:lnTo>
                  <a:pt x="4477147" y="6079332"/>
                </a:lnTo>
                <a:lnTo>
                  <a:pt x="7428905" y="6079332"/>
                </a:lnTo>
                <a:lnTo>
                  <a:pt x="7428905" y="0"/>
                </a:lnTo>
                <a:lnTo>
                  <a:pt x="8173045" y="0"/>
                </a:lnTo>
                <a:lnTo>
                  <a:pt x="8173045" y="6079332"/>
                </a:lnTo>
                <a:lnTo>
                  <a:pt x="8979297" y="6079332"/>
                </a:lnTo>
                <a:lnTo>
                  <a:pt x="8923337" y="8699500"/>
                </a:lnTo>
                <a:lnTo>
                  <a:pt x="8241308" y="8699500"/>
                </a:lnTo>
                <a:lnTo>
                  <a:pt x="8241308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3" name="Freeform 4343"/>
          <p:cNvSpPr/>
          <p:nvPr/>
        </p:nvSpPr>
        <p:spPr>
          <a:xfrm>
            <a:off x="7649065" y="165968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4" name="Freeform 4344"/>
          <p:cNvSpPr/>
          <p:nvPr/>
        </p:nvSpPr>
        <p:spPr>
          <a:xfrm>
            <a:off x="7719664" y="1659686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5" name="Freeform 4345"/>
          <p:cNvSpPr/>
          <p:nvPr/>
        </p:nvSpPr>
        <p:spPr>
          <a:xfrm>
            <a:off x="7789440" y="165828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6" name="Freeform 4346"/>
          <p:cNvSpPr/>
          <p:nvPr/>
        </p:nvSpPr>
        <p:spPr>
          <a:xfrm>
            <a:off x="7861315" y="1659686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7" name="Freeform 4347"/>
          <p:cNvSpPr/>
          <p:nvPr/>
        </p:nvSpPr>
        <p:spPr>
          <a:xfrm>
            <a:off x="4769313" y="182973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8" name="Freeform 4348"/>
          <p:cNvSpPr/>
          <p:nvPr/>
        </p:nvSpPr>
        <p:spPr>
          <a:xfrm>
            <a:off x="4846032" y="183113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49" name="Freeform 4349"/>
          <p:cNvSpPr/>
          <p:nvPr/>
        </p:nvSpPr>
        <p:spPr>
          <a:xfrm>
            <a:off x="4919497" y="182973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0" name="Freeform 4350"/>
          <p:cNvSpPr/>
          <p:nvPr/>
        </p:nvSpPr>
        <p:spPr>
          <a:xfrm>
            <a:off x="4996629" y="1831136"/>
            <a:ext cx="63642" cy="95694"/>
          </a:xfrm>
          <a:custGeom>
            <a:avLst/>
            <a:gdLst/>
            <a:ahLst/>
            <a:cxnLst/>
            <a:rect l="0" t="0" r="0" b="0"/>
            <a:pathLst>
              <a:path w="5785643" h="8699500">
                <a:moveTo>
                  <a:pt x="0" y="0"/>
                </a:moveTo>
                <a:lnTo>
                  <a:pt x="744140" y="0"/>
                </a:lnTo>
                <a:lnTo>
                  <a:pt x="744140" y="6079332"/>
                </a:lnTo>
                <a:lnTo>
                  <a:pt x="4359473" y="6079332"/>
                </a:lnTo>
                <a:lnTo>
                  <a:pt x="4359473" y="0"/>
                </a:lnTo>
                <a:lnTo>
                  <a:pt x="5103614" y="0"/>
                </a:lnTo>
                <a:lnTo>
                  <a:pt x="5103614" y="6079332"/>
                </a:lnTo>
                <a:lnTo>
                  <a:pt x="5785643" y="6079332"/>
                </a:lnTo>
                <a:lnTo>
                  <a:pt x="5729883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1" name="Freeform 4351"/>
          <p:cNvSpPr/>
          <p:nvPr/>
        </p:nvSpPr>
        <p:spPr>
          <a:xfrm>
            <a:off x="5076118" y="183113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2" name="Freeform 4352"/>
          <p:cNvSpPr/>
          <p:nvPr/>
        </p:nvSpPr>
        <p:spPr>
          <a:xfrm>
            <a:off x="5150264" y="182973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3" name="Freeform 4353"/>
          <p:cNvSpPr/>
          <p:nvPr/>
        </p:nvSpPr>
        <p:spPr>
          <a:xfrm>
            <a:off x="5221184" y="1831136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4" name="Freeform 4354"/>
          <p:cNvSpPr/>
          <p:nvPr/>
        </p:nvSpPr>
        <p:spPr>
          <a:xfrm>
            <a:off x="5307881" y="183113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5" name="Freeform 4355"/>
          <p:cNvSpPr/>
          <p:nvPr/>
        </p:nvSpPr>
        <p:spPr>
          <a:xfrm>
            <a:off x="5381618" y="182973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6" name="Freeform 4356"/>
          <p:cNvSpPr/>
          <p:nvPr/>
        </p:nvSpPr>
        <p:spPr>
          <a:xfrm>
            <a:off x="5449879" y="183113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7" name="Freeform 4357"/>
          <p:cNvSpPr/>
          <p:nvPr/>
        </p:nvSpPr>
        <p:spPr>
          <a:xfrm>
            <a:off x="5516854" y="182973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8" name="Freeform 4358"/>
          <p:cNvSpPr/>
          <p:nvPr/>
        </p:nvSpPr>
        <p:spPr>
          <a:xfrm>
            <a:off x="5600473" y="1831136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59" name="Freeform 4359"/>
          <p:cNvSpPr/>
          <p:nvPr/>
        </p:nvSpPr>
        <p:spPr>
          <a:xfrm>
            <a:off x="5712173" y="183113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0" name="Freeform 4360"/>
          <p:cNvSpPr/>
          <p:nvPr/>
        </p:nvSpPr>
        <p:spPr>
          <a:xfrm>
            <a:off x="5786318" y="182973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1" name="Freeform 4361"/>
          <p:cNvSpPr/>
          <p:nvPr/>
        </p:nvSpPr>
        <p:spPr>
          <a:xfrm>
            <a:off x="5898757" y="182973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2" name="Freeform 4362"/>
          <p:cNvSpPr/>
          <p:nvPr/>
        </p:nvSpPr>
        <p:spPr>
          <a:xfrm>
            <a:off x="5977105" y="1831136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3" name="Freeform 4363"/>
          <p:cNvSpPr/>
          <p:nvPr/>
        </p:nvSpPr>
        <p:spPr>
          <a:xfrm>
            <a:off x="6081539" y="183113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4" name="Freeform 4364"/>
          <p:cNvSpPr/>
          <p:nvPr/>
        </p:nvSpPr>
        <p:spPr>
          <a:xfrm>
            <a:off x="6159983" y="1831136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5" name="Freeform 4365"/>
          <p:cNvSpPr/>
          <p:nvPr/>
        </p:nvSpPr>
        <p:spPr>
          <a:xfrm>
            <a:off x="6226390" y="182973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6" name="Freeform 4366"/>
          <p:cNvSpPr/>
          <p:nvPr/>
        </p:nvSpPr>
        <p:spPr>
          <a:xfrm>
            <a:off x="6329011" y="183113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7" name="Freeform 4367"/>
          <p:cNvSpPr/>
          <p:nvPr/>
        </p:nvSpPr>
        <p:spPr>
          <a:xfrm>
            <a:off x="6403214" y="182973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8" name="Freeform 4368"/>
          <p:cNvSpPr/>
          <p:nvPr/>
        </p:nvSpPr>
        <p:spPr>
          <a:xfrm>
            <a:off x="6471518" y="1831136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69" name="Freeform 4369"/>
          <p:cNvSpPr/>
          <p:nvPr/>
        </p:nvSpPr>
        <p:spPr>
          <a:xfrm>
            <a:off x="6535468" y="1831136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70" name="Freeform 4370"/>
          <p:cNvSpPr/>
          <p:nvPr/>
        </p:nvSpPr>
        <p:spPr>
          <a:xfrm>
            <a:off x="6618791" y="182973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71" name="Rectangle 4371"/>
          <p:cNvSpPr/>
          <p:nvPr/>
        </p:nvSpPr>
        <p:spPr>
          <a:xfrm>
            <a:off x="4762900" y="2094072"/>
            <a:ext cx="3345116" cy="510539"/>
          </a:xfrm>
          <a:prstGeom prst="rect">
            <a:avLst/>
          </a:prstGeom>
        </p:spPr>
      </p:sp>
      <p:sp>
        <p:nvSpPr>
          <p:cNvPr id="4372" name="Freeform 4372"/>
          <p:cNvSpPr/>
          <p:nvPr/>
        </p:nvSpPr>
        <p:spPr>
          <a:xfrm>
            <a:off x="4771085" y="2127461"/>
            <a:ext cx="80764" cy="99326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73" name="Freeform 4373"/>
          <p:cNvSpPr/>
          <p:nvPr/>
        </p:nvSpPr>
        <p:spPr>
          <a:xfrm>
            <a:off x="4868262" y="215302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74" name="Freeform 4374"/>
          <p:cNvSpPr/>
          <p:nvPr/>
        </p:nvSpPr>
        <p:spPr>
          <a:xfrm>
            <a:off x="4944403" y="2151629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75" name="Freeform 4375"/>
          <p:cNvSpPr/>
          <p:nvPr/>
        </p:nvSpPr>
        <p:spPr>
          <a:xfrm>
            <a:off x="5014799" y="215302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76" name="Freeform 4376"/>
          <p:cNvSpPr/>
          <p:nvPr/>
        </p:nvSpPr>
        <p:spPr>
          <a:xfrm>
            <a:off x="5091363" y="215162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77" name="Freeform 4377"/>
          <p:cNvSpPr/>
          <p:nvPr/>
        </p:nvSpPr>
        <p:spPr>
          <a:xfrm>
            <a:off x="5161809" y="2153026"/>
            <a:ext cx="69712" cy="103517"/>
          </a:xfrm>
          <a:custGeom>
            <a:avLst/>
            <a:gdLst/>
            <a:ahLst/>
            <a:cxnLst/>
            <a:rect l="0" t="0" r="0" b="0"/>
            <a:pathLst>
              <a:path w="6337498" h="9410700">
                <a:moveTo>
                  <a:pt x="3175000" y="4169371"/>
                </a:moveTo>
                <a:lnTo>
                  <a:pt x="4415234" y="0"/>
                </a:lnTo>
                <a:lnTo>
                  <a:pt x="6337498" y="0"/>
                </a:lnTo>
                <a:lnTo>
                  <a:pt x="3640137" y="7744221"/>
                </a:lnTo>
                <a:lnTo>
                  <a:pt x="3491309" y="8097242"/>
                </a:lnTo>
                <a:cubicBezTo>
                  <a:pt x="3090201" y="8972880"/>
                  <a:pt x="2428742" y="9410700"/>
                  <a:pt x="1506934" y="9410700"/>
                </a:cubicBezTo>
                <a:cubicBezTo>
                  <a:pt x="1246452" y="9410700"/>
                  <a:pt x="981868" y="9371409"/>
                  <a:pt x="713184" y="9292828"/>
                </a:cubicBezTo>
                <a:lnTo>
                  <a:pt x="713184" y="7934920"/>
                </a:lnTo>
                <a:lnTo>
                  <a:pt x="986036" y="7941071"/>
                </a:lnTo>
                <a:cubicBezTo>
                  <a:pt x="1324967" y="7941071"/>
                  <a:pt x="1578107" y="7889411"/>
                  <a:pt x="1745456" y="7786092"/>
                </a:cubicBezTo>
                <a:cubicBezTo>
                  <a:pt x="1912937" y="7682904"/>
                  <a:pt x="2044237" y="7511586"/>
                  <a:pt x="2139354" y="7272139"/>
                </a:cubicBezTo>
                <a:lnTo>
                  <a:pt x="2350293" y="6720879"/>
                </a:lnTo>
                <a:lnTo>
                  <a:pt x="0" y="0"/>
                </a:lnTo>
                <a:lnTo>
                  <a:pt x="1928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78" name="Freeform 4378"/>
          <p:cNvSpPr/>
          <p:nvPr/>
        </p:nvSpPr>
        <p:spPr>
          <a:xfrm>
            <a:off x="5240462" y="2153026"/>
            <a:ext cx="87653" cy="73761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79" name="Freeform 4379"/>
          <p:cNvSpPr/>
          <p:nvPr/>
        </p:nvSpPr>
        <p:spPr>
          <a:xfrm>
            <a:off x="5342537" y="215162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0" name="Freeform 4380"/>
          <p:cNvSpPr/>
          <p:nvPr/>
        </p:nvSpPr>
        <p:spPr>
          <a:xfrm>
            <a:off x="5420636" y="215302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1" name="Freeform 4381"/>
          <p:cNvSpPr/>
          <p:nvPr/>
        </p:nvSpPr>
        <p:spPr>
          <a:xfrm>
            <a:off x="5494389" y="215302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2" name="Freeform 4382"/>
          <p:cNvSpPr/>
          <p:nvPr/>
        </p:nvSpPr>
        <p:spPr>
          <a:xfrm>
            <a:off x="5605671" y="2176356"/>
            <a:ext cx="38402" cy="15893"/>
          </a:xfrm>
          <a:custGeom>
            <a:avLst/>
            <a:gdLst/>
            <a:ahLst/>
            <a:cxnLst/>
            <a:rect l="0" t="0" r="0" b="0"/>
            <a:pathLst>
              <a:path w="3491111" h="1444824">
                <a:moveTo>
                  <a:pt x="3491111" y="1444824"/>
                </a:moveTo>
                <a:lnTo>
                  <a:pt x="0" y="1444824"/>
                </a:lnTo>
                <a:lnTo>
                  <a:pt x="0" y="0"/>
                </a:lnTo>
                <a:lnTo>
                  <a:pt x="34911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3" name="Freeform 4383"/>
          <p:cNvSpPr/>
          <p:nvPr/>
        </p:nvSpPr>
        <p:spPr>
          <a:xfrm>
            <a:off x="5694587" y="215302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4" name="Freeform 4384"/>
          <p:cNvSpPr/>
          <p:nvPr/>
        </p:nvSpPr>
        <p:spPr>
          <a:xfrm>
            <a:off x="5773797" y="215162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5" name="Freeform 4385"/>
          <p:cNvSpPr/>
          <p:nvPr/>
        </p:nvSpPr>
        <p:spPr>
          <a:xfrm>
            <a:off x="5849240" y="215162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6" name="Freeform 4386"/>
          <p:cNvSpPr/>
          <p:nvPr/>
        </p:nvSpPr>
        <p:spPr>
          <a:xfrm>
            <a:off x="5928306" y="2122012"/>
            <a:ext cx="92769" cy="133134"/>
          </a:xfrm>
          <a:custGeom>
            <a:avLst/>
            <a:gdLst/>
            <a:ahLst/>
            <a:cxnLst/>
            <a:rect l="0" t="0" r="0" b="0"/>
            <a:pathLst>
              <a:path w="8433594" h="12103100">
                <a:moveTo>
                  <a:pt x="0" y="6221810"/>
                </a:moveTo>
                <a:cubicBezTo>
                  <a:pt x="0" y="5142575"/>
                  <a:pt x="220134" y="4284531"/>
                  <a:pt x="660400" y="3647679"/>
                </a:cubicBezTo>
                <a:cubicBezTo>
                  <a:pt x="1100667" y="3010827"/>
                  <a:pt x="1707356" y="2692400"/>
                  <a:pt x="2480469" y="2692400"/>
                </a:cubicBezTo>
                <a:cubicBezTo>
                  <a:pt x="2782226" y="2692400"/>
                  <a:pt x="3057128" y="2752395"/>
                  <a:pt x="3305175" y="2872383"/>
                </a:cubicBezTo>
                <a:lnTo>
                  <a:pt x="3305175" y="0"/>
                </a:lnTo>
                <a:lnTo>
                  <a:pt x="5097463" y="0"/>
                </a:lnTo>
                <a:lnTo>
                  <a:pt x="5097463" y="2878535"/>
                </a:lnTo>
                <a:cubicBezTo>
                  <a:pt x="5353712" y="2754446"/>
                  <a:pt x="5636882" y="2692400"/>
                  <a:pt x="5946974" y="2692400"/>
                </a:cubicBezTo>
                <a:cubicBezTo>
                  <a:pt x="6724187" y="2692400"/>
                  <a:pt x="7332927" y="3009768"/>
                  <a:pt x="7773194" y="3644504"/>
                </a:cubicBezTo>
                <a:cubicBezTo>
                  <a:pt x="8213461" y="4279239"/>
                  <a:pt x="8433594" y="5181733"/>
                  <a:pt x="8433594" y="6351985"/>
                </a:cubicBezTo>
                <a:cubicBezTo>
                  <a:pt x="8433594" y="7365207"/>
                  <a:pt x="8212402" y="8168548"/>
                  <a:pt x="7770019" y="8762008"/>
                </a:cubicBezTo>
                <a:cubicBezTo>
                  <a:pt x="7327768" y="9355336"/>
                  <a:pt x="6724187" y="9652000"/>
                  <a:pt x="5959277" y="9652000"/>
                </a:cubicBezTo>
                <a:cubicBezTo>
                  <a:pt x="5640983" y="9652000"/>
                  <a:pt x="5353712" y="9594122"/>
                  <a:pt x="5097463" y="9478368"/>
                </a:cubicBezTo>
                <a:lnTo>
                  <a:pt x="5097463" y="12103100"/>
                </a:lnTo>
                <a:lnTo>
                  <a:pt x="3305175" y="12103100"/>
                </a:lnTo>
                <a:lnTo>
                  <a:pt x="3305175" y="9484519"/>
                </a:lnTo>
                <a:cubicBezTo>
                  <a:pt x="3057128" y="9596172"/>
                  <a:pt x="2778125" y="9652000"/>
                  <a:pt x="2468166" y="9652000"/>
                </a:cubicBezTo>
                <a:cubicBezTo>
                  <a:pt x="1744663" y="9652000"/>
                  <a:pt x="1163770" y="9381133"/>
                  <a:pt x="725488" y="8839399"/>
                </a:cubicBezTo>
                <a:cubicBezTo>
                  <a:pt x="287338" y="8297665"/>
                  <a:pt x="47559" y="7555376"/>
                  <a:pt x="6152" y="6612533"/>
                </a:cubicBezTo>
                <a:close/>
                <a:moveTo>
                  <a:pt x="6635353" y="6221810"/>
                </a:moveTo>
                <a:cubicBezTo>
                  <a:pt x="6635353" y="5551885"/>
                  <a:pt x="6534018" y="5038064"/>
                  <a:pt x="6331347" y="4680347"/>
                </a:cubicBezTo>
                <a:cubicBezTo>
                  <a:pt x="6128808" y="4322498"/>
                  <a:pt x="5843588" y="4143574"/>
                  <a:pt x="5475685" y="4143574"/>
                </a:cubicBezTo>
                <a:cubicBezTo>
                  <a:pt x="5359929" y="4143574"/>
                  <a:pt x="5233856" y="4158060"/>
                  <a:pt x="5097463" y="4187032"/>
                </a:cubicBezTo>
                <a:lnTo>
                  <a:pt x="5097463" y="8176022"/>
                </a:lnTo>
                <a:cubicBezTo>
                  <a:pt x="5213218" y="8200893"/>
                  <a:pt x="5343393" y="8213329"/>
                  <a:pt x="5487988" y="8213329"/>
                </a:cubicBezTo>
                <a:cubicBezTo>
                  <a:pt x="6190853" y="8213329"/>
                  <a:pt x="6571192" y="7679796"/>
                  <a:pt x="6629003" y="6612732"/>
                </a:cubicBezTo>
                <a:close/>
                <a:moveTo>
                  <a:pt x="1792089" y="6352183"/>
                </a:moveTo>
                <a:cubicBezTo>
                  <a:pt x="1792089" y="7588846"/>
                  <a:pt x="2170377" y="8207177"/>
                  <a:pt x="2926953" y="8207177"/>
                </a:cubicBezTo>
                <a:cubicBezTo>
                  <a:pt x="3084116" y="8207177"/>
                  <a:pt x="3210190" y="8196858"/>
                  <a:pt x="3305175" y="8176221"/>
                </a:cubicBezTo>
                <a:lnTo>
                  <a:pt x="3305175" y="4187032"/>
                </a:lnTo>
                <a:cubicBezTo>
                  <a:pt x="3168782" y="4158060"/>
                  <a:pt x="3046876" y="4143574"/>
                  <a:pt x="2939455" y="4143574"/>
                </a:cubicBezTo>
                <a:cubicBezTo>
                  <a:pt x="2571419" y="4143574"/>
                  <a:pt x="2288183" y="4318331"/>
                  <a:pt x="2089746" y="4667846"/>
                </a:cubicBezTo>
                <a:cubicBezTo>
                  <a:pt x="1891308" y="5017361"/>
                  <a:pt x="1792089" y="5578806"/>
                  <a:pt x="1792089" y="635218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7" name="Freeform 4387"/>
          <p:cNvSpPr/>
          <p:nvPr/>
        </p:nvSpPr>
        <p:spPr>
          <a:xfrm>
            <a:off x="6030151" y="215162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8" name="Freeform 4388"/>
          <p:cNvSpPr/>
          <p:nvPr/>
        </p:nvSpPr>
        <p:spPr>
          <a:xfrm>
            <a:off x="6112151" y="215162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89" name="Freeform 4389"/>
          <p:cNvSpPr/>
          <p:nvPr/>
        </p:nvSpPr>
        <p:spPr>
          <a:xfrm>
            <a:off x="6190662" y="215302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0" name="Freeform 4390"/>
          <p:cNvSpPr/>
          <p:nvPr/>
        </p:nvSpPr>
        <p:spPr>
          <a:xfrm>
            <a:off x="6267212" y="215162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1" name="Freeform 4391"/>
          <p:cNvSpPr/>
          <p:nvPr/>
        </p:nvSpPr>
        <p:spPr>
          <a:xfrm>
            <a:off x="6345310" y="215302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2" name="Freeform 4392"/>
          <p:cNvSpPr/>
          <p:nvPr/>
        </p:nvSpPr>
        <p:spPr>
          <a:xfrm>
            <a:off x="6419063" y="215302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3" name="Freeform 4393"/>
          <p:cNvSpPr/>
          <p:nvPr/>
        </p:nvSpPr>
        <p:spPr>
          <a:xfrm>
            <a:off x="6491716" y="2151629"/>
            <a:ext cx="65621" cy="7655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4" name="Freeform 4394"/>
          <p:cNvSpPr/>
          <p:nvPr/>
        </p:nvSpPr>
        <p:spPr>
          <a:xfrm>
            <a:off x="6569529" y="2153026"/>
            <a:ext cx="75239" cy="95694"/>
          </a:xfrm>
          <a:custGeom>
            <a:avLst/>
            <a:gdLst/>
            <a:ahLst/>
            <a:cxnLst/>
            <a:rect l="0" t="0" r="0" b="0"/>
            <a:pathLst>
              <a:path w="6839942" h="8699500">
                <a:moveTo>
                  <a:pt x="0" y="0"/>
                </a:moveTo>
                <a:lnTo>
                  <a:pt x="1792089" y="0"/>
                </a:lnTo>
                <a:lnTo>
                  <a:pt x="1792089" y="5260777"/>
                </a:lnTo>
                <a:lnTo>
                  <a:pt x="4037013" y="5260777"/>
                </a:lnTo>
                <a:lnTo>
                  <a:pt x="4037013" y="0"/>
                </a:lnTo>
                <a:lnTo>
                  <a:pt x="5835253" y="0"/>
                </a:lnTo>
                <a:lnTo>
                  <a:pt x="5835253" y="5273279"/>
                </a:lnTo>
                <a:lnTo>
                  <a:pt x="6839942" y="5273279"/>
                </a:lnTo>
                <a:lnTo>
                  <a:pt x="6715919" y="8699500"/>
                </a:lnTo>
                <a:lnTo>
                  <a:pt x="5047655" y="8699500"/>
                </a:lnTo>
                <a:lnTo>
                  <a:pt x="5047655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5" name="Freeform 4395"/>
          <p:cNvSpPr/>
          <p:nvPr/>
        </p:nvSpPr>
        <p:spPr>
          <a:xfrm>
            <a:off x="6654606" y="215302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6" name="Freeform 4396"/>
          <p:cNvSpPr/>
          <p:nvPr/>
        </p:nvSpPr>
        <p:spPr>
          <a:xfrm>
            <a:off x="6733815" y="215302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7" name="Freeform 4397"/>
          <p:cNvSpPr/>
          <p:nvPr/>
        </p:nvSpPr>
        <p:spPr>
          <a:xfrm>
            <a:off x="6843008" y="2153026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8" name="Freeform 4398"/>
          <p:cNvSpPr/>
          <p:nvPr/>
        </p:nvSpPr>
        <p:spPr>
          <a:xfrm>
            <a:off x="6922511" y="2153026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399" name="Freeform 4399"/>
          <p:cNvSpPr/>
          <p:nvPr/>
        </p:nvSpPr>
        <p:spPr>
          <a:xfrm>
            <a:off x="7004364" y="2153026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0" name="Freeform 4400"/>
          <p:cNvSpPr/>
          <p:nvPr/>
        </p:nvSpPr>
        <p:spPr>
          <a:xfrm>
            <a:off x="7118259" y="215162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1" name="Freeform 4401"/>
          <p:cNvSpPr/>
          <p:nvPr/>
        </p:nvSpPr>
        <p:spPr>
          <a:xfrm>
            <a:off x="7191220" y="215162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2" name="Freeform 4402"/>
          <p:cNvSpPr/>
          <p:nvPr/>
        </p:nvSpPr>
        <p:spPr>
          <a:xfrm>
            <a:off x="7261969" y="2153026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3" name="Freeform 4403"/>
          <p:cNvSpPr/>
          <p:nvPr/>
        </p:nvSpPr>
        <p:spPr>
          <a:xfrm>
            <a:off x="7349657" y="21530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4" name="Freeform 4404"/>
          <p:cNvSpPr/>
          <p:nvPr/>
        </p:nvSpPr>
        <p:spPr>
          <a:xfrm>
            <a:off x="7419709" y="215302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5" name="Freeform 4405"/>
          <p:cNvSpPr/>
          <p:nvPr/>
        </p:nvSpPr>
        <p:spPr>
          <a:xfrm>
            <a:off x="7484031" y="215162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6" name="Freeform 4406"/>
          <p:cNvSpPr/>
          <p:nvPr/>
        </p:nvSpPr>
        <p:spPr>
          <a:xfrm>
            <a:off x="7552977" y="2153026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7" name="Freeform 4407"/>
          <p:cNvSpPr/>
          <p:nvPr/>
        </p:nvSpPr>
        <p:spPr>
          <a:xfrm>
            <a:off x="7634628" y="215162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8" name="Freeform 4408"/>
          <p:cNvSpPr/>
          <p:nvPr/>
        </p:nvSpPr>
        <p:spPr>
          <a:xfrm>
            <a:off x="7711759" y="2126483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09" name="Freeform 4409"/>
          <p:cNvSpPr/>
          <p:nvPr/>
        </p:nvSpPr>
        <p:spPr>
          <a:xfrm>
            <a:off x="7783176" y="2213963"/>
            <a:ext cx="14393" cy="31377"/>
          </a:xfrm>
          <a:custGeom>
            <a:avLst/>
            <a:gdLst/>
            <a:ahLst/>
            <a:cxnLst/>
            <a:rect l="0" t="0" r="0" b="0"/>
            <a:pathLst>
              <a:path w="1308497" h="2852538">
                <a:moveTo>
                  <a:pt x="440333" y="2852538"/>
                </a:moveTo>
                <a:lnTo>
                  <a:pt x="0" y="2530077"/>
                </a:lnTo>
                <a:cubicBezTo>
                  <a:pt x="376237" y="2025782"/>
                  <a:pt x="570574" y="1502833"/>
                  <a:pt x="583009" y="961231"/>
                </a:cubicBezTo>
                <a:lnTo>
                  <a:pt x="583009" y="0"/>
                </a:lnTo>
                <a:lnTo>
                  <a:pt x="1308497" y="0"/>
                </a:lnTo>
                <a:lnTo>
                  <a:pt x="1308497" y="775097"/>
                </a:lnTo>
                <a:cubicBezTo>
                  <a:pt x="1308497" y="1634992"/>
                  <a:pt x="1019109" y="2327473"/>
                  <a:pt x="440333" y="2852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0" name="Freeform 4410"/>
          <p:cNvSpPr/>
          <p:nvPr/>
        </p:nvSpPr>
        <p:spPr>
          <a:xfrm>
            <a:off x="4774087" y="232447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1" name="Freeform 4411"/>
          <p:cNvSpPr/>
          <p:nvPr/>
        </p:nvSpPr>
        <p:spPr>
          <a:xfrm>
            <a:off x="4847552" y="232307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2" name="Freeform 4412"/>
          <p:cNvSpPr/>
          <p:nvPr/>
        </p:nvSpPr>
        <p:spPr>
          <a:xfrm>
            <a:off x="4917044" y="2324476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3" name="Freeform 4413"/>
          <p:cNvSpPr/>
          <p:nvPr/>
        </p:nvSpPr>
        <p:spPr>
          <a:xfrm>
            <a:off x="5000366" y="232307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4" name="Freeform 4414"/>
          <p:cNvSpPr/>
          <p:nvPr/>
        </p:nvSpPr>
        <p:spPr>
          <a:xfrm>
            <a:off x="5079403" y="2324476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5" name="Freeform 4415"/>
          <p:cNvSpPr/>
          <p:nvPr/>
        </p:nvSpPr>
        <p:spPr>
          <a:xfrm>
            <a:off x="5131981" y="232307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6" name="Freeform 4416"/>
          <p:cNvSpPr/>
          <p:nvPr/>
        </p:nvSpPr>
        <p:spPr>
          <a:xfrm>
            <a:off x="5215192" y="2324476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7" name="Freeform 4417"/>
          <p:cNvSpPr/>
          <p:nvPr/>
        </p:nvSpPr>
        <p:spPr>
          <a:xfrm>
            <a:off x="5267769" y="232307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8" name="Freeform 4418"/>
          <p:cNvSpPr/>
          <p:nvPr/>
        </p:nvSpPr>
        <p:spPr>
          <a:xfrm>
            <a:off x="5351388" y="2324476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19" name="Freeform 4419"/>
          <p:cNvSpPr/>
          <p:nvPr/>
        </p:nvSpPr>
        <p:spPr>
          <a:xfrm>
            <a:off x="5422046" y="2385413"/>
            <a:ext cx="14393" cy="31377"/>
          </a:xfrm>
          <a:custGeom>
            <a:avLst/>
            <a:gdLst/>
            <a:ahLst/>
            <a:cxnLst/>
            <a:rect l="0" t="0" r="0" b="0"/>
            <a:pathLst>
              <a:path w="1308497" h="2852538">
                <a:moveTo>
                  <a:pt x="440333" y="2852538"/>
                </a:moveTo>
                <a:lnTo>
                  <a:pt x="0" y="2530077"/>
                </a:lnTo>
                <a:cubicBezTo>
                  <a:pt x="376237" y="2025782"/>
                  <a:pt x="570574" y="1502833"/>
                  <a:pt x="583009" y="961231"/>
                </a:cubicBezTo>
                <a:lnTo>
                  <a:pt x="583009" y="0"/>
                </a:lnTo>
                <a:lnTo>
                  <a:pt x="1308497" y="0"/>
                </a:lnTo>
                <a:lnTo>
                  <a:pt x="1308497" y="775097"/>
                </a:lnTo>
                <a:cubicBezTo>
                  <a:pt x="1308497" y="1634992"/>
                  <a:pt x="1019109" y="2327473"/>
                  <a:pt x="440333" y="2852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0" name="Freeform 4420"/>
          <p:cNvSpPr/>
          <p:nvPr/>
        </p:nvSpPr>
        <p:spPr>
          <a:xfrm>
            <a:off x="5480766" y="2324476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1" name="Freeform 4421"/>
          <p:cNvSpPr/>
          <p:nvPr/>
        </p:nvSpPr>
        <p:spPr>
          <a:xfrm>
            <a:off x="5552445" y="2324476"/>
            <a:ext cx="55661" cy="73761"/>
          </a:xfrm>
          <a:custGeom>
            <a:avLst/>
            <a:gdLst/>
            <a:ahLst/>
            <a:cxnLst/>
            <a:rect l="0" t="0" r="0" b="0"/>
            <a:pathLst>
              <a:path w="5060156" h="6705600">
                <a:moveTo>
                  <a:pt x="5060156" y="6705600"/>
                </a:moveTo>
                <a:lnTo>
                  <a:pt x="4316015" y="6705600"/>
                </a:lnTo>
                <a:lnTo>
                  <a:pt x="4316015" y="3885208"/>
                </a:lnTo>
                <a:cubicBezTo>
                  <a:pt x="3704166" y="4108517"/>
                  <a:pt x="3119172" y="4220171"/>
                  <a:pt x="2561034" y="4220171"/>
                </a:cubicBezTo>
                <a:cubicBezTo>
                  <a:pt x="1672166" y="4220171"/>
                  <a:pt x="1027244" y="4024974"/>
                  <a:pt x="626268" y="3634582"/>
                </a:cubicBezTo>
                <a:cubicBezTo>
                  <a:pt x="225292" y="3244189"/>
                  <a:pt x="16536" y="2635846"/>
                  <a:pt x="0" y="1809552"/>
                </a:cubicBezTo>
                <a:lnTo>
                  <a:pt x="0" y="0"/>
                </a:lnTo>
                <a:lnTo>
                  <a:pt x="737790" y="0"/>
                </a:lnTo>
                <a:lnTo>
                  <a:pt x="737790" y="1772047"/>
                </a:lnTo>
                <a:cubicBezTo>
                  <a:pt x="746125" y="2412339"/>
                  <a:pt x="887743" y="2873971"/>
                  <a:pt x="1162645" y="3156943"/>
                </a:cubicBezTo>
                <a:cubicBezTo>
                  <a:pt x="1437547" y="3439915"/>
                  <a:pt x="1903677" y="3581400"/>
                  <a:pt x="2561034" y="3581400"/>
                </a:cubicBezTo>
                <a:cubicBezTo>
                  <a:pt x="3160447" y="3564864"/>
                  <a:pt x="3745441" y="3457443"/>
                  <a:pt x="4316015" y="3259138"/>
                </a:cubicBezTo>
                <a:lnTo>
                  <a:pt x="4316015" y="0"/>
                </a:lnTo>
                <a:lnTo>
                  <a:pt x="5060156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2" name="Freeform 4422"/>
          <p:cNvSpPr/>
          <p:nvPr/>
        </p:nvSpPr>
        <p:spPr>
          <a:xfrm>
            <a:off x="5626082" y="232307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3" name="Freeform 4423"/>
          <p:cNvSpPr/>
          <p:nvPr/>
        </p:nvSpPr>
        <p:spPr>
          <a:xfrm>
            <a:off x="5704779" y="2324476"/>
            <a:ext cx="98772" cy="95694"/>
          </a:xfrm>
          <a:custGeom>
            <a:avLst/>
            <a:gdLst/>
            <a:ahLst/>
            <a:cxnLst/>
            <a:rect l="0" t="0" r="0" b="0"/>
            <a:pathLst>
              <a:path w="8979297" h="8699500">
                <a:moveTo>
                  <a:pt x="744141" y="0"/>
                </a:moveTo>
                <a:lnTo>
                  <a:pt x="744141" y="6079332"/>
                </a:lnTo>
                <a:lnTo>
                  <a:pt x="3733006" y="6079332"/>
                </a:lnTo>
                <a:lnTo>
                  <a:pt x="3733006" y="0"/>
                </a:lnTo>
                <a:lnTo>
                  <a:pt x="4477147" y="0"/>
                </a:lnTo>
                <a:lnTo>
                  <a:pt x="4477147" y="6079332"/>
                </a:lnTo>
                <a:lnTo>
                  <a:pt x="7428905" y="6079332"/>
                </a:lnTo>
                <a:lnTo>
                  <a:pt x="7428905" y="0"/>
                </a:lnTo>
                <a:lnTo>
                  <a:pt x="8173045" y="0"/>
                </a:lnTo>
                <a:lnTo>
                  <a:pt x="8173045" y="6079332"/>
                </a:lnTo>
                <a:lnTo>
                  <a:pt x="8979297" y="6079332"/>
                </a:lnTo>
                <a:lnTo>
                  <a:pt x="8923337" y="8699500"/>
                </a:lnTo>
                <a:lnTo>
                  <a:pt x="8241308" y="8699500"/>
                </a:lnTo>
                <a:lnTo>
                  <a:pt x="8241308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4" name="Freeform 4424"/>
          <p:cNvSpPr/>
          <p:nvPr/>
        </p:nvSpPr>
        <p:spPr>
          <a:xfrm>
            <a:off x="5817227" y="232447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5" name="Freeform 4425"/>
          <p:cNvSpPr/>
          <p:nvPr/>
        </p:nvSpPr>
        <p:spPr>
          <a:xfrm>
            <a:off x="5887825" y="2324476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6" name="Freeform 4426"/>
          <p:cNvSpPr/>
          <p:nvPr/>
        </p:nvSpPr>
        <p:spPr>
          <a:xfrm>
            <a:off x="5957601" y="232307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7" name="Freeform 4427"/>
          <p:cNvSpPr/>
          <p:nvPr/>
        </p:nvSpPr>
        <p:spPr>
          <a:xfrm>
            <a:off x="6029477" y="2324476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8" name="Freeform 4428"/>
          <p:cNvSpPr/>
          <p:nvPr/>
        </p:nvSpPr>
        <p:spPr>
          <a:xfrm>
            <a:off x="6143985" y="232447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29" name="Freeform 4429"/>
          <p:cNvSpPr/>
          <p:nvPr/>
        </p:nvSpPr>
        <p:spPr>
          <a:xfrm>
            <a:off x="6248258" y="2324476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0" name="Freeform 4430"/>
          <p:cNvSpPr/>
          <p:nvPr/>
        </p:nvSpPr>
        <p:spPr>
          <a:xfrm>
            <a:off x="6335295" y="2323079"/>
            <a:ext cx="95022" cy="76555"/>
          </a:xfrm>
          <a:custGeom>
            <a:avLst/>
            <a:gdLst/>
            <a:ahLst/>
            <a:cxnLst/>
            <a:rect l="0" t="0" r="0" b="0"/>
            <a:pathLst>
              <a:path w="8638381" h="6959600">
                <a:moveTo>
                  <a:pt x="737989" y="3187700"/>
                </a:moveTo>
                <a:lnTo>
                  <a:pt x="2654102" y="3187700"/>
                </a:lnTo>
                <a:cubicBezTo>
                  <a:pt x="2674871" y="2574661"/>
                  <a:pt x="2815431" y="2022674"/>
                  <a:pt x="3075781" y="1531740"/>
                </a:cubicBezTo>
                <a:cubicBezTo>
                  <a:pt x="3336263" y="1040805"/>
                  <a:pt x="3689747" y="662782"/>
                  <a:pt x="4136231" y="397669"/>
                </a:cubicBezTo>
                <a:cubicBezTo>
                  <a:pt x="4582716" y="132557"/>
                  <a:pt x="5082977" y="0"/>
                  <a:pt x="5637014" y="0"/>
                </a:cubicBezTo>
                <a:cubicBezTo>
                  <a:pt x="6525750" y="0"/>
                  <a:pt x="7248128" y="314325"/>
                  <a:pt x="7804150" y="942975"/>
                </a:cubicBezTo>
                <a:cubicBezTo>
                  <a:pt x="8360304" y="1571493"/>
                  <a:pt x="8638381" y="2402615"/>
                  <a:pt x="8638381" y="3436343"/>
                </a:cubicBezTo>
                <a:lnTo>
                  <a:pt x="8638381" y="3585171"/>
                </a:lnTo>
                <a:cubicBezTo>
                  <a:pt x="8638381" y="4230357"/>
                  <a:pt x="8512241" y="4813499"/>
                  <a:pt x="8259961" y="5334596"/>
                </a:cubicBezTo>
                <a:cubicBezTo>
                  <a:pt x="8007813" y="5855560"/>
                  <a:pt x="7654330" y="6256669"/>
                  <a:pt x="7199511" y="6537921"/>
                </a:cubicBezTo>
                <a:cubicBezTo>
                  <a:pt x="6744825" y="6819041"/>
                  <a:pt x="6228093" y="6959600"/>
                  <a:pt x="5649317" y="6959600"/>
                </a:cubicBezTo>
                <a:cubicBezTo>
                  <a:pt x="4793522" y="6959600"/>
                  <a:pt x="4090723" y="6669617"/>
                  <a:pt x="3540919" y="6089650"/>
                </a:cubicBezTo>
                <a:cubicBezTo>
                  <a:pt x="2991115" y="5509684"/>
                  <a:pt x="2695509" y="4753240"/>
                  <a:pt x="2654102" y="3820319"/>
                </a:cubicBezTo>
                <a:lnTo>
                  <a:pt x="737989" y="3820319"/>
                </a:lnTo>
                <a:lnTo>
                  <a:pt x="737989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737989" y="127000"/>
                </a:lnTo>
                <a:close/>
                <a:moveTo>
                  <a:pt x="3385939" y="3585369"/>
                </a:moveTo>
                <a:cubicBezTo>
                  <a:pt x="3385939" y="4387586"/>
                  <a:pt x="3593637" y="5046134"/>
                  <a:pt x="4009033" y="5561013"/>
                </a:cubicBezTo>
                <a:cubicBezTo>
                  <a:pt x="4424561" y="6075892"/>
                  <a:pt x="4971322" y="6333332"/>
                  <a:pt x="5649317" y="6333332"/>
                </a:cubicBezTo>
                <a:cubicBezTo>
                  <a:pt x="6314877" y="6333332"/>
                  <a:pt x="6855420" y="6075892"/>
                  <a:pt x="7270948" y="5561013"/>
                </a:cubicBezTo>
                <a:cubicBezTo>
                  <a:pt x="7686477" y="5046134"/>
                  <a:pt x="7894241" y="4366882"/>
                  <a:pt x="7894241" y="3523258"/>
                </a:cubicBezTo>
                <a:lnTo>
                  <a:pt x="7894241" y="3380582"/>
                </a:lnTo>
                <a:cubicBezTo>
                  <a:pt x="7894241" y="2586567"/>
                  <a:pt x="7685418" y="1930070"/>
                  <a:pt x="7267773" y="1411090"/>
                </a:cubicBezTo>
                <a:cubicBezTo>
                  <a:pt x="6850261" y="892109"/>
                  <a:pt x="6306675" y="632619"/>
                  <a:pt x="5637014" y="632619"/>
                </a:cubicBezTo>
                <a:cubicBezTo>
                  <a:pt x="4971322" y="632619"/>
                  <a:pt x="4429720" y="892109"/>
                  <a:pt x="4012208" y="1411090"/>
                </a:cubicBezTo>
                <a:cubicBezTo>
                  <a:pt x="3594695" y="1930070"/>
                  <a:pt x="3385939" y="2609321"/>
                  <a:pt x="3385939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1" name="Freeform 4431"/>
          <p:cNvSpPr/>
          <p:nvPr/>
        </p:nvSpPr>
        <p:spPr>
          <a:xfrm>
            <a:off x="6439634" y="2324476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2" name="Freeform 4432"/>
          <p:cNvSpPr/>
          <p:nvPr/>
        </p:nvSpPr>
        <p:spPr>
          <a:xfrm>
            <a:off x="6522275" y="232307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3" name="Freeform 4433"/>
          <p:cNvSpPr/>
          <p:nvPr/>
        </p:nvSpPr>
        <p:spPr>
          <a:xfrm>
            <a:off x="6599408" y="2297933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4" name="Freeform 4434"/>
          <p:cNvSpPr/>
          <p:nvPr/>
        </p:nvSpPr>
        <p:spPr>
          <a:xfrm>
            <a:off x="6670824" y="2385413"/>
            <a:ext cx="14393" cy="31377"/>
          </a:xfrm>
          <a:custGeom>
            <a:avLst/>
            <a:gdLst/>
            <a:ahLst/>
            <a:cxnLst/>
            <a:rect l="0" t="0" r="0" b="0"/>
            <a:pathLst>
              <a:path w="1308497" h="2852538">
                <a:moveTo>
                  <a:pt x="440333" y="2852538"/>
                </a:moveTo>
                <a:lnTo>
                  <a:pt x="0" y="2530077"/>
                </a:lnTo>
                <a:cubicBezTo>
                  <a:pt x="376237" y="2025782"/>
                  <a:pt x="570574" y="1502833"/>
                  <a:pt x="583009" y="961231"/>
                </a:cubicBezTo>
                <a:lnTo>
                  <a:pt x="583009" y="0"/>
                </a:lnTo>
                <a:lnTo>
                  <a:pt x="1308497" y="0"/>
                </a:lnTo>
                <a:lnTo>
                  <a:pt x="1308497" y="775097"/>
                </a:lnTo>
                <a:cubicBezTo>
                  <a:pt x="1308497" y="1634992"/>
                  <a:pt x="1019109" y="2327473"/>
                  <a:pt x="440333" y="2852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5" name="Freeform 4435"/>
          <p:cNvSpPr/>
          <p:nvPr/>
        </p:nvSpPr>
        <p:spPr>
          <a:xfrm>
            <a:off x="6738480" y="2324476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6" name="Freeform 4436"/>
          <p:cNvSpPr/>
          <p:nvPr/>
        </p:nvSpPr>
        <p:spPr>
          <a:xfrm>
            <a:off x="6804469" y="232307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7" name="Freeform 4437"/>
          <p:cNvSpPr/>
          <p:nvPr/>
        </p:nvSpPr>
        <p:spPr>
          <a:xfrm>
            <a:off x="6877893" y="232447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8" name="Freeform 4438"/>
          <p:cNvSpPr/>
          <p:nvPr/>
        </p:nvSpPr>
        <p:spPr>
          <a:xfrm>
            <a:off x="6944867" y="232307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39" name="Freeform 4439"/>
          <p:cNvSpPr/>
          <p:nvPr/>
        </p:nvSpPr>
        <p:spPr>
          <a:xfrm>
            <a:off x="7027533" y="232307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0" name="Freeform 4440"/>
          <p:cNvSpPr/>
          <p:nvPr/>
        </p:nvSpPr>
        <p:spPr>
          <a:xfrm>
            <a:off x="7105881" y="2324476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1" name="Freeform 4441"/>
          <p:cNvSpPr/>
          <p:nvPr/>
        </p:nvSpPr>
        <p:spPr>
          <a:xfrm>
            <a:off x="7205269" y="232307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2" name="Freeform 4442"/>
          <p:cNvSpPr/>
          <p:nvPr/>
        </p:nvSpPr>
        <p:spPr>
          <a:xfrm>
            <a:off x="7316347" y="232447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3" name="Freeform 4443"/>
          <p:cNvSpPr/>
          <p:nvPr/>
        </p:nvSpPr>
        <p:spPr>
          <a:xfrm>
            <a:off x="7394451" y="2324476"/>
            <a:ext cx="98772" cy="95694"/>
          </a:xfrm>
          <a:custGeom>
            <a:avLst/>
            <a:gdLst/>
            <a:ahLst/>
            <a:cxnLst/>
            <a:rect l="0" t="0" r="0" b="0"/>
            <a:pathLst>
              <a:path w="8979297" h="8699500">
                <a:moveTo>
                  <a:pt x="744141" y="0"/>
                </a:moveTo>
                <a:lnTo>
                  <a:pt x="744141" y="6079332"/>
                </a:lnTo>
                <a:lnTo>
                  <a:pt x="3733006" y="6079332"/>
                </a:lnTo>
                <a:lnTo>
                  <a:pt x="3733006" y="0"/>
                </a:lnTo>
                <a:lnTo>
                  <a:pt x="4477147" y="0"/>
                </a:lnTo>
                <a:lnTo>
                  <a:pt x="4477147" y="6079332"/>
                </a:lnTo>
                <a:lnTo>
                  <a:pt x="7428905" y="6079332"/>
                </a:lnTo>
                <a:lnTo>
                  <a:pt x="7428905" y="0"/>
                </a:lnTo>
                <a:lnTo>
                  <a:pt x="8173045" y="0"/>
                </a:lnTo>
                <a:lnTo>
                  <a:pt x="8173045" y="6079332"/>
                </a:lnTo>
                <a:lnTo>
                  <a:pt x="8979297" y="6079332"/>
                </a:lnTo>
                <a:lnTo>
                  <a:pt x="8923337" y="8699500"/>
                </a:lnTo>
                <a:lnTo>
                  <a:pt x="8241308" y="8699500"/>
                </a:lnTo>
                <a:lnTo>
                  <a:pt x="8241308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4" name="Freeform 4444"/>
          <p:cNvSpPr/>
          <p:nvPr/>
        </p:nvSpPr>
        <p:spPr>
          <a:xfrm>
            <a:off x="7497894" y="2324476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5" name="Freeform 4445"/>
          <p:cNvSpPr/>
          <p:nvPr/>
        </p:nvSpPr>
        <p:spPr>
          <a:xfrm>
            <a:off x="7564797" y="232447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6" name="Freeform 4446"/>
          <p:cNvSpPr/>
          <p:nvPr/>
        </p:nvSpPr>
        <p:spPr>
          <a:xfrm>
            <a:off x="7673561" y="232447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7" name="Freeform 4447"/>
          <p:cNvSpPr/>
          <p:nvPr/>
        </p:nvSpPr>
        <p:spPr>
          <a:xfrm>
            <a:off x="7747025" y="232307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8" name="Freeform 4448"/>
          <p:cNvSpPr/>
          <p:nvPr/>
        </p:nvSpPr>
        <p:spPr>
          <a:xfrm>
            <a:off x="7830644" y="2324476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49" name="Freeform 4449"/>
          <p:cNvSpPr/>
          <p:nvPr/>
        </p:nvSpPr>
        <p:spPr>
          <a:xfrm>
            <a:off x="7908736" y="2324476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0" name="Freeform 4450"/>
          <p:cNvSpPr/>
          <p:nvPr/>
        </p:nvSpPr>
        <p:spPr>
          <a:xfrm>
            <a:off x="8008124" y="232307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1" name="Freeform 4451"/>
          <p:cNvSpPr/>
          <p:nvPr/>
        </p:nvSpPr>
        <p:spPr>
          <a:xfrm>
            <a:off x="4774019" y="2495926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2" name="Freeform 4452"/>
          <p:cNvSpPr/>
          <p:nvPr/>
        </p:nvSpPr>
        <p:spPr>
          <a:xfrm>
            <a:off x="4826597" y="249452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3" name="Freeform 4453"/>
          <p:cNvSpPr/>
          <p:nvPr/>
        </p:nvSpPr>
        <p:spPr>
          <a:xfrm>
            <a:off x="4909262" y="249452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4" name="Freeform 4454"/>
          <p:cNvSpPr/>
          <p:nvPr/>
        </p:nvSpPr>
        <p:spPr>
          <a:xfrm>
            <a:off x="4987269" y="24959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5" name="Freeform 4455"/>
          <p:cNvSpPr/>
          <p:nvPr/>
        </p:nvSpPr>
        <p:spPr>
          <a:xfrm>
            <a:off x="5061279" y="2494529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6" name="Freeform 4456"/>
          <p:cNvSpPr/>
          <p:nvPr/>
        </p:nvSpPr>
        <p:spPr>
          <a:xfrm>
            <a:off x="5131422" y="249452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7" name="Freeform 4457"/>
          <p:cNvSpPr/>
          <p:nvPr/>
        </p:nvSpPr>
        <p:spPr>
          <a:xfrm>
            <a:off x="5214701" y="24959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8" name="Freeform 4458"/>
          <p:cNvSpPr/>
          <p:nvPr/>
        </p:nvSpPr>
        <p:spPr>
          <a:xfrm>
            <a:off x="5284754" y="249592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59" name="Freeform 4459"/>
          <p:cNvSpPr/>
          <p:nvPr/>
        </p:nvSpPr>
        <p:spPr>
          <a:xfrm>
            <a:off x="5359910" y="2495926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60" name="Freeform 4460"/>
          <p:cNvSpPr/>
          <p:nvPr/>
        </p:nvSpPr>
        <p:spPr>
          <a:xfrm>
            <a:off x="5497678" y="249452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61" name="Freeform 4461"/>
          <p:cNvSpPr/>
          <p:nvPr/>
        </p:nvSpPr>
        <p:spPr>
          <a:xfrm>
            <a:off x="5571320" y="249452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62" name="Freeform 4462"/>
          <p:cNvSpPr/>
          <p:nvPr/>
        </p:nvSpPr>
        <p:spPr>
          <a:xfrm>
            <a:off x="5645924" y="2494529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63" name="Freeform 4463"/>
          <p:cNvSpPr/>
          <p:nvPr/>
        </p:nvSpPr>
        <p:spPr>
          <a:xfrm>
            <a:off x="5721454" y="2495926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64" name="Freeform 4464"/>
          <p:cNvSpPr/>
          <p:nvPr/>
        </p:nvSpPr>
        <p:spPr>
          <a:xfrm>
            <a:off x="5799205" y="24959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65" name="Freeform 4465"/>
          <p:cNvSpPr/>
          <p:nvPr/>
        </p:nvSpPr>
        <p:spPr>
          <a:xfrm>
            <a:off x="5869258" y="249592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66" name="Freeform 4466"/>
          <p:cNvSpPr/>
          <p:nvPr/>
        </p:nvSpPr>
        <p:spPr>
          <a:xfrm>
            <a:off x="5944074" y="24959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67" name="Freeform 4467"/>
          <p:cNvSpPr/>
          <p:nvPr/>
        </p:nvSpPr>
        <p:spPr>
          <a:xfrm>
            <a:off x="6017742" y="2495926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68" name="Rectangle 4468"/>
          <p:cNvSpPr/>
          <p:nvPr/>
        </p:nvSpPr>
        <p:spPr>
          <a:xfrm>
            <a:off x="4762900" y="2861298"/>
            <a:ext cx="3482728" cy="339089"/>
          </a:xfrm>
          <a:prstGeom prst="rect">
            <a:avLst/>
          </a:prstGeom>
        </p:spPr>
      </p:sp>
      <p:sp>
        <p:nvSpPr>
          <p:cNvPr id="4469" name="Freeform 4469"/>
          <p:cNvSpPr/>
          <p:nvPr/>
        </p:nvSpPr>
        <p:spPr>
          <a:xfrm>
            <a:off x="4764605" y="2894686"/>
            <a:ext cx="100887" cy="123774"/>
          </a:xfrm>
          <a:custGeom>
            <a:avLst/>
            <a:gdLst/>
            <a:ahLst/>
            <a:cxnLst/>
            <a:rect l="0" t="0" r="0" b="0"/>
            <a:pathLst>
              <a:path w="9171583" h="11252200">
                <a:moveTo>
                  <a:pt x="9022755" y="11252200"/>
                </a:moveTo>
                <a:lnTo>
                  <a:pt x="7305080" y="11252200"/>
                </a:lnTo>
                <a:lnTo>
                  <a:pt x="7305080" y="9029700"/>
                </a:lnTo>
                <a:lnTo>
                  <a:pt x="1860352" y="9029700"/>
                </a:lnTo>
                <a:lnTo>
                  <a:pt x="1860352" y="11246048"/>
                </a:lnTo>
                <a:lnTo>
                  <a:pt x="99219" y="11246048"/>
                </a:lnTo>
                <a:lnTo>
                  <a:pt x="0" y="7535268"/>
                </a:lnTo>
                <a:lnTo>
                  <a:pt x="682228" y="7535268"/>
                </a:lnTo>
                <a:cubicBezTo>
                  <a:pt x="1050131" y="7229277"/>
                  <a:pt x="1334294" y="6779618"/>
                  <a:pt x="1534716" y="6186290"/>
                </a:cubicBezTo>
                <a:cubicBezTo>
                  <a:pt x="1735270" y="5592961"/>
                  <a:pt x="1870737" y="4858081"/>
                  <a:pt x="1941116" y="3981649"/>
                </a:cubicBezTo>
                <a:lnTo>
                  <a:pt x="2201466" y="0"/>
                </a:lnTo>
                <a:lnTo>
                  <a:pt x="8117483" y="0"/>
                </a:lnTo>
                <a:lnTo>
                  <a:pt x="8117483" y="7535268"/>
                </a:lnTo>
                <a:lnTo>
                  <a:pt x="9171583" y="7535268"/>
                </a:lnTo>
                <a:close/>
                <a:moveTo>
                  <a:pt x="2815431" y="7535268"/>
                </a:moveTo>
                <a:lnTo>
                  <a:pt x="6257131" y="7535268"/>
                </a:lnTo>
                <a:lnTo>
                  <a:pt x="6257131" y="1506935"/>
                </a:lnTo>
                <a:lnTo>
                  <a:pt x="3968750" y="1506935"/>
                </a:lnTo>
                <a:lnTo>
                  <a:pt x="3813771" y="3882232"/>
                </a:lnTo>
                <a:cubicBezTo>
                  <a:pt x="3689813" y="5474097"/>
                  <a:pt x="3357034" y="6691776"/>
                  <a:pt x="2815431" y="753526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0" name="Freeform 4470"/>
          <p:cNvSpPr/>
          <p:nvPr/>
        </p:nvSpPr>
        <p:spPr>
          <a:xfrm>
            <a:off x="4871759" y="2918854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1" name="Freeform 4471"/>
          <p:cNvSpPr/>
          <p:nvPr/>
        </p:nvSpPr>
        <p:spPr>
          <a:xfrm>
            <a:off x="4950689" y="2918854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2" name="Freeform 4472"/>
          <p:cNvSpPr/>
          <p:nvPr/>
        </p:nvSpPr>
        <p:spPr>
          <a:xfrm>
            <a:off x="5021085" y="2920251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3" name="Freeform 4473"/>
          <p:cNvSpPr/>
          <p:nvPr/>
        </p:nvSpPr>
        <p:spPr>
          <a:xfrm>
            <a:off x="5090981" y="2920251"/>
            <a:ext cx="69712" cy="103517"/>
          </a:xfrm>
          <a:custGeom>
            <a:avLst/>
            <a:gdLst/>
            <a:ahLst/>
            <a:cxnLst/>
            <a:rect l="0" t="0" r="0" b="0"/>
            <a:pathLst>
              <a:path w="6337498" h="9410700">
                <a:moveTo>
                  <a:pt x="3175000" y="4169371"/>
                </a:moveTo>
                <a:lnTo>
                  <a:pt x="4415234" y="0"/>
                </a:lnTo>
                <a:lnTo>
                  <a:pt x="6337498" y="0"/>
                </a:lnTo>
                <a:lnTo>
                  <a:pt x="3640137" y="7744221"/>
                </a:lnTo>
                <a:lnTo>
                  <a:pt x="3491309" y="8097242"/>
                </a:lnTo>
                <a:cubicBezTo>
                  <a:pt x="3090201" y="8972880"/>
                  <a:pt x="2428742" y="9410700"/>
                  <a:pt x="1506934" y="9410700"/>
                </a:cubicBezTo>
                <a:cubicBezTo>
                  <a:pt x="1246452" y="9410700"/>
                  <a:pt x="981868" y="9371409"/>
                  <a:pt x="713184" y="9292828"/>
                </a:cubicBezTo>
                <a:lnTo>
                  <a:pt x="713184" y="7934920"/>
                </a:lnTo>
                <a:lnTo>
                  <a:pt x="986036" y="7941071"/>
                </a:lnTo>
                <a:cubicBezTo>
                  <a:pt x="1324967" y="7941071"/>
                  <a:pt x="1578107" y="7889411"/>
                  <a:pt x="1745456" y="7786092"/>
                </a:cubicBezTo>
                <a:cubicBezTo>
                  <a:pt x="1912937" y="7682904"/>
                  <a:pt x="2044237" y="7511586"/>
                  <a:pt x="2139354" y="7272139"/>
                </a:cubicBezTo>
                <a:lnTo>
                  <a:pt x="2350293" y="6720879"/>
                </a:lnTo>
                <a:lnTo>
                  <a:pt x="0" y="0"/>
                </a:lnTo>
                <a:lnTo>
                  <a:pt x="1928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4" name="Freeform 4474"/>
          <p:cNvSpPr/>
          <p:nvPr/>
        </p:nvSpPr>
        <p:spPr>
          <a:xfrm>
            <a:off x="5168338" y="2920251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5" name="Freeform 4475"/>
          <p:cNvSpPr/>
          <p:nvPr/>
        </p:nvSpPr>
        <p:spPr>
          <a:xfrm>
            <a:off x="5247548" y="2920251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6" name="Freeform 4476"/>
          <p:cNvSpPr/>
          <p:nvPr/>
        </p:nvSpPr>
        <p:spPr>
          <a:xfrm>
            <a:off x="5328054" y="2920251"/>
            <a:ext cx="96997" cy="73761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7" name="Freeform 4477"/>
          <p:cNvSpPr/>
          <p:nvPr/>
        </p:nvSpPr>
        <p:spPr>
          <a:xfrm>
            <a:off x="5442290" y="2890216"/>
            <a:ext cx="64187" cy="103797"/>
          </a:xfrm>
          <a:custGeom>
            <a:avLst/>
            <a:gdLst/>
            <a:ahLst/>
            <a:cxnLst/>
            <a:rect l="0" t="0" r="0" b="0"/>
            <a:pathLst>
              <a:path w="5835253" h="9436100">
                <a:moveTo>
                  <a:pt x="4043164" y="2730500"/>
                </a:moveTo>
                <a:lnTo>
                  <a:pt x="5835253" y="2730500"/>
                </a:lnTo>
                <a:lnTo>
                  <a:pt x="5835253" y="9436100"/>
                </a:lnTo>
                <a:lnTo>
                  <a:pt x="4043164" y="9436100"/>
                </a:lnTo>
                <a:lnTo>
                  <a:pt x="4043164" y="5296297"/>
                </a:lnTo>
                <a:lnTo>
                  <a:pt x="1798241" y="9436100"/>
                </a:lnTo>
                <a:lnTo>
                  <a:pt x="0" y="9436100"/>
                </a:lnTo>
                <a:lnTo>
                  <a:pt x="0" y="2730500"/>
                </a:lnTo>
                <a:lnTo>
                  <a:pt x="1798241" y="2730500"/>
                </a:lnTo>
                <a:lnTo>
                  <a:pt x="1798241" y="6864152"/>
                </a:lnTo>
                <a:close/>
                <a:moveTo>
                  <a:pt x="5097463" y="0"/>
                </a:moveTo>
                <a:cubicBezTo>
                  <a:pt x="5097463" y="549805"/>
                  <a:pt x="4900017" y="994172"/>
                  <a:pt x="4505127" y="1333104"/>
                </a:cubicBezTo>
                <a:cubicBezTo>
                  <a:pt x="4110368" y="1672035"/>
                  <a:pt x="3592579" y="1841500"/>
                  <a:pt x="2951758" y="1841500"/>
                </a:cubicBezTo>
                <a:cubicBezTo>
                  <a:pt x="2310937" y="1841500"/>
                  <a:pt x="1793148" y="1674085"/>
                  <a:pt x="1398389" y="1339255"/>
                </a:cubicBezTo>
                <a:cubicBezTo>
                  <a:pt x="1003631" y="1004425"/>
                  <a:pt x="806252" y="558007"/>
                  <a:pt x="806252" y="0"/>
                </a:cubicBezTo>
                <a:lnTo>
                  <a:pt x="2077442" y="0"/>
                </a:lnTo>
                <a:cubicBezTo>
                  <a:pt x="2077442" y="260350"/>
                  <a:pt x="2154965" y="461830"/>
                  <a:pt x="2310011" y="604441"/>
                </a:cubicBezTo>
                <a:cubicBezTo>
                  <a:pt x="2465057" y="747052"/>
                  <a:pt x="2678973" y="818357"/>
                  <a:pt x="2951758" y="818357"/>
                </a:cubicBezTo>
                <a:cubicBezTo>
                  <a:pt x="3220442" y="818357"/>
                  <a:pt x="3431249" y="747052"/>
                  <a:pt x="3584178" y="604441"/>
                </a:cubicBezTo>
                <a:cubicBezTo>
                  <a:pt x="3737240" y="461830"/>
                  <a:pt x="3813771" y="260350"/>
                  <a:pt x="3813771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8" name="Freeform 4478"/>
          <p:cNvSpPr/>
          <p:nvPr/>
        </p:nvSpPr>
        <p:spPr>
          <a:xfrm>
            <a:off x="5516315" y="2977231"/>
            <a:ext cx="23805" cy="41648"/>
          </a:xfrm>
          <a:custGeom>
            <a:avLst/>
            <a:gdLst/>
            <a:ahLst/>
            <a:cxnLst/>
            <a:rect l="0" t="0" r="0" b="0"/>
            <a:pathLst>
              <a:path w="2164160" h="3786187">
                <a:moveTo>
                  <a:pt x="936427" y="3786187"/>
                </a:moveTo>
                <a:lnTo>
                  <a:pt x="0" y="3296641"/>
                </a:lnTo>
                <a:lnTo>
                  <a:pt x="223242" y="2893813"/>
                </a:lnTo>
                <a:cubicBezTo>
                  <a:pt x="500261" y="2389782"/>
                  <a:pt x="642871" y="1887867"/>
                  <a:pt x="651074" y="1388070"/>
                </a:cubicBezTo>
                <a:lnTo>
                  <a:pt x="651074" y="0"/>
                </a:lnTo>
                <a:lnTo>
                  <a:pt x="2164160" y="0"/>
                </a:lnTo>
                <a:lnTo>
                  <a:pt x="2158008" y="1239441"/>
                </a:lnTo>
                <a:cubicBezTo>
                  <a:pt x="2153907" y="1697963"/>
                  <a:pt x="2038152" y="2160587"/>
                  <a:pt x="1810742" y="2627312"/>
                </a:cubicBezTo>
                <a:cubicBezTo>
                  <a:pt x="1583333" y="3094169"/>
                  <a:pt x="1291894" y="3480460"/>
                  <a:pt x="936427" y="378618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79" name="Freeform 4479"/>
          <p:cNvSpPr/>
          <p:nvPr/>
        </p:nvSpPr>
        <p:spPr>
          <a:xfrm>
            <a:off x="5590371" y="2920251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0" name="Freeform 4480"/>
          <p:cNvSpPr/>
          <p:nvPr/>
        </p:nvSpPr>
        <p:spPr>
          <a:xfrm>
            <a:off x="5669581" y="2918854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1" name="Freeform 4481"/>
          <p:cNvSpPr/>
          <p:nvPr/>
        </p:nvSpPr>
        <p:spPr>
          <a:xfrm>
            <a:off x="5745024" y="2918854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2" name="Freeform 4482"/>
          <p:cNvSpPr/>
          <p:nvPr/>
        </p:nvSpPr>
        <p:spPr>
          <a:xfrm>
            <a:off x="5823954" y="2918854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3" name="Freeform 4483"/>
          <p:cNvSpPr/>
          <p:nvPr/>
        </p:nvSpPr>
        <p:spPr>
          <a:xfrm>
            <a:off x="5894350" y="2920251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4" name="Freeform 4484"/>
          <p:cNvSpPr/>
          <p:nvPr/>
        </p:nvSpPr>
        <p:spPr>
          <a:xfrm>
            <a:off x="5965889" y="2918854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5" name="Freeform 4485"/>
          <p:cNvSpPr/>
          <p:nvPr/>
        </p:nvSpPr>
        <p:spPr>
          <a:xfrm>
            <a:off x="6047889" y="2890216"/>
            <a:ext cx="64187" cy="103797"/>
          </a:xfrm>
          <a:custGeom>
            <a:avLst/>
            <a:gdLst/>
            <a:ahLst/>
            <a:cxnLst/>
            <a:rect l="0" t="0" r="0" b="0"/>
            <a:pathLst>
              <a:path w="5835253" h="9436100">
                <a:moveTo>
                  <a:pt x="4043164" y="2730500"/>
                </a:moveTo>
                <a:lnTo>
                  <a:pt x="5835253" y="2730500"/>
                </a:lnTo>
                <a:lnTo>
                  <a:pt x="5835253" y="9436100"/>
                </a:lnTo>
                <a:lnTo>
                  <a:pt x="4043164" y="9436100"/>
                </a:lnTo>
                <a:lnTo>
                  <a:pt x="4043164" y="5296297"/>
                </a:lnTo>
                <a:lnTo>
                  <a:pt x="1798241" y="9436100"/>
                </a:lnTo>
                <a:lnTo>
                  <a:pt x="0" y="9436100"/>
                </a:lnTo>
                <a:lnTo>
                  <a:pt x="0" y="2730500"/>
                </a:lnTo>
                <a:lnTo>
                  <a:pt x="1798241" y="2730500"/>
                </a:lnTo>
                <a:lnTo>
                  <a:pt x="1798241" y="6864152"/>
                </a:lnTo>
                <a:close/>
                <a:moveTo>
                  <a:pt x="5097463" y="0"/>
                </a:moveTo>
                <a:cubicBezTo>
                  <a:pt x="5097463" y="549805"/>
                  <a:pt x="4900017" y="994172"/>
                  <a:pt x="4505127" y="1333104"/>
                </a:cubicBezTo>
                <a:cubicBezTo>
                  <a:pt x="4110368" y="1672035"/>
                  <a:pt x="3592579" y="1841500"/>
                  <a:pt x="2951758" y="1841500"/>
                </a:cubicBezTo>
                <a:cubicBezTo>
                  <a:pt x="2310937" y="1841500"/>
                  <a:pt x="1793148" y="1674085"/>
                  <a:pt x="1398389" y="1339255"/>
                </a:cubicBezTo>
                <a:cubicBezTo>
                  <a:pt x="1003631" y="1004425"/>
                  <a:pt x="806252" y="558007"/>
                  <a:pt x="806252" y="0"/>
                </a:cubicBezTo>
                <a:lnTo>
                  <a:pt x="2077442" y="0"/>
                </a:lnTo>
                <a:cubicBezTo>
                  <a:pt x="2077442" y="260350"/>
                  <a:pt x="2154965" y="461830"/>
                  <a:pt x="2310011" y="604441"/>
                </a:cubicBezTo>
                <a:cubicBezTo>
                  <a:pt x="2465057" y="747052"/>
                  <a:pt x="2678973" y="818357"/>
                  <a:pt x="2951758" y="818357"/>
                </a:cubicBezTo>
                <a:cubicBezTo>
                  <a:pt x="3220442" y="818357"/>
                  <a:pt x="3431249" y="747052"/>
                  <a:pt x="3584178" y="604441"/>
                </a:cubicBezTo>
                <a:cubicBezTo>
                  <a:pt x="3737240" y="461830"/>
                  <a:pt x="3813771" y="260350"/>
                  <a:pt x="3813771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6" name="Freeform 4486"/>
          <p:cNvSpPr/>
          <p:nvPr/>
        </p:nvSpPr>
        <p:spPr>
          <a:xfrm>
            <a:off x="6161884" y="2920251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7" name="Freeform 4487"/>
          <p:cNvSpPr/>
          <p:nvPr/>
        </p:nvSpPr>
        <p:spPr>
          <a:xfrm>
            <a:off x="6275879" y="2920251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8" name="Freeform 4488"/>
          <p:cNvSpPr/>
          <p:nvPr/>
        </p:nvSpPr>
        <p:spPr>
          <a:xfrm>
            <a:off x="6355089" y="2918854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89" name="Freeform 4489"/>
          <p:cNvSpPr/>
          <p:nvPr/>
        </p:nvSpPr>
        <p:spPr>
          <a:xfrm>
            <a:off x="6433600" y="2920251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0" name="Freeform 4490"/>
          <p:cNvSpPr/>
          <p:nvPr/>
        </p:nvSpPr>
        <p:spPr>
          <a:xfrm>
            <a:off x="6514107" y="2920251"/>
            <a:ext cx="69985" cy="73761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1" name="Freeform 4491"/>
          <p:cNvSpPr/>
          <p:nvPr/>
        </p:nvSpPr>
        <p:spPr>
          <a:xfrm>
            <a:off x="6585391" y="2920251"/>
            <a:ext cx="70258" cy="73761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2" name="Freeform 4492"/>
          <p:cNvSpPr/>
          <p:nvPr/>
        </p:nvSpPr>
        <p:spPr>
          <a:xfrm>
            <a:off x="6667878" y="2918854"/>
            <a:ext cx="65621" cy="7655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3" name="Freeform 4493"/>
          <p:cNvSpPr/>
          <p:nvPr/>
        </p:nvSpPr>
        <p:spPr>
          <a:xfrm>
            <a:off x="6740369" y="2920251"/>
            <a:ext cx="83562" cy="95973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4" name="Freeform 4494"/>
          <p:cNvSpPr/>
          <p:nvPr/>
        </p:nvSpPr>
        <p:spPr>
          <a:xfrm>
            <a:off x="6832723" y="2920251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5" name="Freeform 4495"/>
          <p:cNvSpPr/>
          <p:nvPr/>
        </p:nvSpPr>
        <p:spPr>
          <a:xfrm>
            <a:off x="6908864" y="2918854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6" name="Freeform 4496"/>
          <p:cNvSpPr/>
          <p:nvPr/>
        </p:nvSpPr>
        <p:spPr>
          <a:xfrm>
            <a:off x="6990864" y="2890216"/>
            <a:ext cx="64187" cy="103797"/>
          </a:xfrm>
          <a:custGeom>
            <a:avLst/>
            <a:gdLst/>
            <a:ahLst/>
            <a:cxnLst/>
            <a:rect l="0" t="0" r="0" b="0"/>
            <a:pathLst>
              <a:path w="5835253" h="9436100">
                <a:moveTo>
                  <a:pt x="4043164" y="2730500"/>
                </a:moveTo>
                <a:lnTo>
                  <a:pt x="5835253" y="2730500"/>
                </a:lnTo>
                <a:lnTo>
                  <a:pt x="5835253" y="9436100"/>
                </a:lnTo>
                <a:lnTo>
                  <a:pt x="4043164" y="9436100"/>
                </a:lnTo>
                <a:lnTo>
                  <a:pt x="4043164" y="5296297"/>
                </a:lnTo>
                <a:lnTo>
                  <a:pt x="1798241" y="9436100"/>
                </a:lnTo>
                <a:lnTo>
                  <a:pt x="0" y="9436100"/>
                </a:lnTo>
                <a:lnTo>
                  <a:pt x="0" y="2730500"/>
                </a:lnTo>
                <a:lnTo>
                  <a:pt x="1798241" y="2730500"/>
                </a:lnTo>
                <a:lnTo>
                  <a:pt x="1798241" y="6864152"/>
                </a:lnTo>
                <a:close/>
                <a:moveTo>
                  <a:pt x="5097463" y="0"/>
                </a:moveTo>
                <a:cubicBezTo>
                  <a:pt x="5097463" y="549805"/>
                  <a:pt x="4900017" y="994172"/>
                  <a:pt x="4505127" y="1333104"/>
                </a:cubicBezTo>
                <a:cubicBezTo>
                  <a:pt x="4110368" y="1672035"/>
                  <a:pt x="3592579" y="1841500"/>
                  <a:pt x="2951758" y="1841500"/>
                </a:cubicBezTo>
                <a:cubicBezTo>
                  <a:pt x="2310937" y="1841500"/>
                  <a:pt x="1793148" y="1674085"/>
                  <a:pt x="1398389" y="1339255"/>
                </a:cubicBezTo>
                <a:cubicBezTo>
                  <a:pt x="1003631" y="1004425"/>
                  <a:pt x="806252" y="558007"/>
                  <a:pt x="806252" y="0"/>
                </a:cubicBezTo>
                <a:lnTo>
                  <a:pt x="2077442" y="0"/>
                </a:lnTo>
                <a:cubicBezTo>
                  <a:pt x="2077442" y="260350"/>
                  <a:pt x="2154965" y="461830"/>
                  <a:pt x="2310011" y="604441"/>
                </a:cubicBezTo>
                <a:cubicBezTo>
                  <a:pt x="2465057" y="747052"/>
                  <a:pt x="2678973" y="818357"/>
                  <a:pt x="2951758" y="818357"/>
                </a:cubicBezTo>
                <a:cubicBezTo>
                  <a:pt x="3220442" y="818357"/>
                  <a:pt x="3431249" y="747052"/>
                  <a:pt x="3584178" y="604441"/>
                </a:cubicBezTo>
                <a:cubicBezTo>
                  <a:pt x="3737240" y="461830"/>
                  <a:pt x="3813771" y="260350"/>
                  <a:pt x="3813771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7" name="Freeform 4497"/>
          <p:cNvSpPr/>
          <p:nvPr/>
        </p:nvSpPr>
        <p:spPr>
          <a:xfrm>
            <a:off x="7104792" y="2943581"/>
            <a:ext cx="38402" cy="15893"/>
          </a:xfrm>
          <a:custGeom>
            <a:avLst/>
            <a:gdLst/>
            <a:ahLst/>
            <a:cxnLst/>
            <a:rect l="0" t="0" r="0" b="0"/>
            <a:pathLst>
              <a:path w="3491111" h="1444824">
                <a:moveTo>
                  <a:pt x="3491111" y="1444824"/>
                </a:moveTo>
                <a:lnTo>
                  <a:pt x="0" y="1444824"/>
                </a:lnTo>
                <a:lnTo>
                  <a:pt x="0" y="0"/>
                </a:lnTo>
                <a:lnTo>
                  <a:pt x="34911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8" name="Freeform 4498"/>
          <p:cNvSpPr/>
          <p:nvPr/>
        </p:nvSpPr>
        <p:spPr>
          <a:xfrm>
            <a:off x="7197331" y="292025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499" name="Freeform 4499"/>
          <p:cNvSpPr/>
          <p:nvPr/>
        </p:nvSpPr>
        <p:spPr>
          <a:xfrm>
            <a:off x="7275842" y="292025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0" name="Freeform 4500"/>
          <p:cNvSpPr/>
          <p:nvPr/>
        </p:nvSpPr>
        <p:spPr>
          <a:xfrm>
            <a:off x="7349580" y="2918854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1" name="Freeform 4501"/>
          <p:cNvSpPr/>
          <p:nvPr/>
        </p:nvSpPr>
        <p:spPr>
          <a:xfrm>
            <a:off x="7417841" y="2920251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2" name="Freeform 4502"/>
          <p:cNvSpPr/>
          <p:nvPr/>
        </p:nvSpPr>
        <p:spPr>
          <a:xfrm>
            <a:off x="7492044" y="2918854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3" name="Freeform 4503"/>
          <p:cNvSpPr/>
          <p:nvPr/>
        </p:nvSpPr>
        <p:spPr>
          <a:xfrm>
            <a:off x="7560348" y="2920251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4" name="Freeform 4504"/>
          <p:cNvSpPr/>
          <p:nvPr/>
        </p:nvSpPr>
        <p:spPr>
          <a:xfrm>
            <a:off x="7636050" y="2920251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5" name="Freeform 4505"/>
          <p:cNvSpPr/>
          <p:nvPr/>
        </p:nvSpPr>
        <p:spPr>
          <a:xfrm>
            <a:off x="7732643" y="2918854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6" name="Freeform 4506"/>
          <p:cNvSpPr/>
          <p:nvPr/>
        </p:nvSpPr>
        <p:spPr>
          <a:xfrm>
            <a:off x="7809776" y="292025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7" name="Freeform 4507"/>
          <p:cNvSpPr/>
          <p:nvPr/>
        </p:nvSpPr>
        <p:spPr>
          <a:xfrm>
            <a:off x="7879829" y="2920251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8" name="Freeform 4508"/>
          <p:cNvSpPr/>
          <p:nvPr/>
        </p:nvSpPr>
        <p:spPr>
          <a:xfrm>
            <a:off x="7980952" y="2920251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09" name="Freeform 4509"/>
          <p:cNvSpPr/>
          <p:nvPr/>
        </p:nvSpPr>
        <p:spPr>
          <a:xfrm>
            <a:off x="8060454" y="2920251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0" name="Freeform 4510"/>
          <p:cNvSpPr/>
          <p:nvPr/>
        </p:nvSpPr>
        <p:spPr>
          <a:xfrm>
            <a:off x="8142307" y="2920251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1" name="Freeform 4511"/>
          <p:cNvSpPr/>
          <p:nvPr/>
        </p:nvSpPr>
        <p:spPr>
          <a:xfrm>
            <a:off x="4769040" y="309030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2" name="Freeform 4512"/>
          <p:cNvSpPr/>
          <p:nvPr/>
        </p:nvSpPr>
        <p:spPr>
          <a:xfrm>
            <a:off x="4852319" y="309170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3" name="Freeform 4513"/>
          <p:cNvSpPr/>
          <p:nvPr/>
        </p:nvSpPr>
        <p:spPr>
          <a:xfrm>
            <a:off x="4925784" y="3090304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4" name="Freeform 4514"/>
          <p:cNvSpPr/>
          <p:nvPr/>
        </p:nvSpPr>
        <p:spPr>
          <a:xfrm>
            <a:off x="5002302" y="3090304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5" name="Freeform 4515"/>
          <p:cNvSpPr/>
          <p:nvPr/>
        </p:nvSpPr>
        <p:spPr>
          <a:xfrm>
            <a:off x="5075263" y="3090304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6" name="Freeform 4516"/>
          <p:cNvSpPr/>
          <p:nvPr/>
        </p:nvSpPr>
        <p:spPr>
          <a:xfrm>
            <a:off x="5142845" y="3091701"/>
            <a:ext cx="103137" cy="73761"/>
          </a:xfrm>
          <a:custGeom>
            <a:avLst/>
            <a:gdLst/>
            <a:ahLst/>
            <a:cxnLst/>
            <a:rect l="0" t="0" r="0" b="0"/>
            <a:pathLst>
              <a:path w="9376172" h="6705600">
                <a:moveTo>
                  <a:pt x="5946973" y="3609975"/>
                </a:moveTo>
                <a:lnTo>
                  <a:pt x="5054004" y="3609975"/>
                </a:lnTo>
                <a:lnTo>
                  <a:pt x="5054004" y="6705600"/>
                </a:lnTo>
                <a:lnTo>
                  <a:pt x="4309864" y="6705600"/>
                </a:lnTo>
                <a:lnTo>
                  <a:pt x="4309864" y="3609975"/>
                </a:lnTo>
                <a:lnTo>
                  <a:pt x="3423047" y="3609975"/>
                </a:lnTo>
                <a:lnTo>
                  <a:pt x="942578" y="6705600"/>
                </a:lnTo>
                <a:lnTo>
                  <a:pt x="0" y="6705600"/>
                </a:lnTo>
                <a:lnTo>
                  <a:pt x="2778125" y="3268861"/>
                </a:lnTo>
                <a:lnTo>
                  <a:pt x="310157" y="0"/>
                </a:lnTo>
                <a:lnTo>
                  <a:pt x="1209278" y="0"/>
                </a:lnTo>
                <a:lnTo>
                  <a:pt x="3410743" y="2946400"/>
                </a:lnTo>
                <a:lnTo>
                  <a:pt x="4309864" y="2946400"/>
                </a:lnTo>
                <a:lnTo>
                  <a:pt x="4309864" y="0"/>
                </a:lnTo>
                <a:lnTo>
                  <a:pt x="5054004" y="0"/>
                </a:lnTo>
                <a:lnTo>
                  <a:pt x="5054004" y="2946400"/>
                </a:lnTo>
                <a:lnTo>
                  <a:pt x="5959276" y="2946400"/>
                </a:lnTo>
                <a:lnTo>
                  <a:pt x="8160742" y="0"/>
                </a:lnTo>
                <a:lnTo>
                  <a:pt x="9072364" y="0"/>
                </a:lnTo>
                <a:lnTo>
                  <a:pt x="6591895" y="3268861"/>
                </a:lnTo>
                <a:lnTo>
                  <a:pt x="9376172" y="6705600"/>
                </a:lnTo>
                <a:lnTo>
                  <a:pt x="8427442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7" name="Freeform 4517"/>
          <p:cNvSpPr/>
          <p:nvPr/>
        </p:nvSpPr>
        <p:spPr>
          <a:xfrm>
            <a:off x="5255179" y="3090304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8" name="Freeform 4518"/>
          <p:cNvSpPr/>
          <p:nvPr/>
        </p:nvSpPr>
        <p:spPr>
          <a:xfrm>
            <a:off x="5334624" y="3090304"/>
            <a:ext cx="95022" cy="76555"/>
          </a:xfrm>
          <a:custGeom>
            <a:avLst/>
            <a:gdLst/>
            <a:ahLst/>
            <a:cxnLst/>
            <a:rect l="0" t="0" r="0" b="0"/>
            <a:pathLst>
              <a:path w="8638381" h="6959600">
                <a:moveTo>
                  <a:pt x="737989" y="3187700"/>
                </a:moveTo>
                <a:lnTo>
                  <a:pt x="2654102" y="3187700"/>
                </a:lnTo>
                <a:cubicBezTo>
                  <a:pt x="2674871" y="2574661"/>
                  <a:pt x="2815431" y="2022674"/>
                  <a:pt x="3075781" y="1531740"/>
                </a:cubicBezTo>
                <a:cubicBezTo>
                  <a:pt x="3336263" y="1040805"/>
                  <a:pt x="3689747" y="662782"/>
                  <a:pt x="4136231" y="397669"/>
                </a:cubicBezTo>
                <a:cubicBezTo>
                  <a:pt x="4582716" y="132557"/>
                  <a:pt x="5082977" y="0"/>
                  <a:pt x="5637014" y="0"/>
                </a:cubicBezTo>
                <a:cubicBezTo>
                  <a:pt x="6525750" y="0"/>
                  <a:pt x="7248128" y="314325"/>
                  <a:pt x="7804150" y="942975"/>
                </a:cubicBezTo>
                <a:cubicBezTo>
                  <a:pt x="8360304" y="1571493"/>
                  <a:pt x="8638381" y="2402615"/>
                  <a:pt x="8638381" y="3436343"/>
                </a:cubicBezTo>
                <a:lnTo>
                  <a:pt x="8638381" y="3585171"/>
                </a:lnTo>
                <a:cubicBezTo>
                  <a:pt x="8638381" y="4230357"/>
                  <a:pt x="8512241" y="4813499"/>
                  <a:pt x="8259961" y="5334596"/>
                </a:cubicBezTo>
                <a:cubicBezTo>
                  <a:pt x="8007813" y="5855560"/>
                  <a:pt x="7654330" y="6256669"/>
                  <a:pt x="7199511" y="6537921"/>
                </a:cubicBezTo>
                <a:cubicBezTo>
                  <a:pt x="6744825" y="6819041"/>
                  <a:pt x="6228093" y="6959600"/>
                  <a:pt x="5649317" y="6959600"/>
                </a:cubicBezTo>
                <a:cubicBezTo>
                  <a:pt x="4793522" y="6959600"/>
                  <a:pt x="4090723" y="6669617"/>
                  <a:pt x="3540919" y="6089650"/>
                </a:cubicBezTo>
                <a:cubicBezTo>
                  <a:pt x="2991115" y="5509684"/>
                  <a:pt x="2695509" y="4753240"/>
                  <a:pt x="2654102" y="3820319"/>
                </a:cubicBezTo>
                <a:lnTo>
                  <a:pt x="737989" y="3820319"/>
                </a:lnTo>
                <a:lnTo>
                  <a:pt x="737989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737989" y="127000"/>
                </a:lnTo>
                <a:close/>
                <a:moveTo>
                  <a:pt x="3385939" y="3585369"/>
                </a:moveTo>
                <a:cubicBezTo>
                  <a:pt x="3385939" y="4387586"/>
                  <a:pt x="3593637" y="5046134"/>
                  <a:pt x="4009033" y="5561013"/>
                </a:cubicBezTo>
                <a:cubicBezTo>
                  <a:pt x="4424561" y="6075892"/>
                  <a:pt x="4971322" y="6333332"/>
                  <a:pt x="5649317" y="6333332"/>
                </a:cubicBezTo>
                <a:cubicBezTo>
                  <a:pt x="6314877" y="6333332"/>
                  <a:pt x="6855420" y="6075892"/>
                  <a:pt x="7270948" y="5561013"/>
                </a:cubicBezTo>
                <a:cubicBezTo>
                  <a:pt x="7686477" y="5046134"/>
                  <a:pt x="7894241" y="4366882"/>
                  <a:pt x="7894241" y="3523258"/>
                </a:cubicBezTo>
                <a:lnTo>
                  <a:pt x="7894241" y="3380582"/>
                </a:lnTo>
                <a:cubicBezTo>
                  <a:pt x="7894241" y="2586567"/>
                  <a:pt x="7685418" y="1930070"/>
                  <a:pt x="7267773" y="1411090"/>
                </a:cubicBezTo>
                <a:cubicBezTo>
                  <a:pt x="6850261" y="892109"/>
                  <a:pt x="6306675" y="632619"/>
                  <a:pt x="5637014" y="632619"/>
                </a:cubicBezTo>
                <a:cubicBezTo>
                  <a:pt x="4971322" y="632619"/>
                  <a:pt x="4429720" y="892109"/>
                  <a:pt x="4012208" y="1411090"/>
                </a:cubicBezTo>
                <a:cubicBezTo>
                  <a:pt x="3594695" y="1930070"/>
                  <a:pt x="3385939" y="2609321"/>
                  <a:pt x="3385939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19" name="Freeform 4519"/>
          <p:cNvSpPr/>
          <p:nvPr/>
        </p:nvSpPr>
        <p:spPr>
          <a:xfrm>
            <a:off x="5447312" y="3091701"/>
            <a:ext cx="98772" cy="95694"/>
          </a:xfrm>
          <a:custGeom>
            <a:avLst/>
            <a:gdLst/>
            <a:ahLst/>
            <a:cxnLst/>
            <a:rect l="0" t="0" r="0" b="0"/>
            <a:pathLst>
              <a:path w="8979297" h="8699500">
                <a:moveTo>
                  <a:pt x="744141" y="0"/>
                </a:moveTo>
                <a:lnTo>
                  <a:pt x="744141" y="6079332"/>
                </a:lnTo>
                <a:lnTo>
                  <a:pt x="3733006" y="6079332"/>
                </a:lnTo>
                <a:lnTo>
                  <a:pt x="3733006" y="0"/>
                </a:lnTo>
                <a:lnTo>
                  <a:pt x="4477147" y="0"/>
                </a:lnTo>
                <a:lnTo>
                  <a:pt x="4477147" y="6079332"/>
                </a:lnTo>
                <a:lnTo>
                  <a:pt x="7428905" y="6079332"/>
                </a:lnTo>
                <a:lnTo>
                  <a:pt x="7428905" y="0"/>
                </a:lnTo>
                <a:lnTo>
                  <a:pt x="8173045" y="0"/>
                </a:lnTo>
                <a:lnTo>
                  <a:pt x="8173045" y="6079332"/>
                </a:lnTo>
                <a:lnTo>
                  <a:pt x="8979297" y="6079332"/>
                </a:lnTo>
                <a:lnTo>
                  <a:pt x="8923337" y="8699500"/>
                </a:lnTo>
                <a:lnTo>
                  <a:pt x="8241308" y="8699500"/>
                </a:lnTo>
                <a:lnTo>
                  <a:pt x="8241308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0" name="Freeform 4520"/>
          <p:cNvSpPr/>
          <p:nvPr/>
        </p:nvSpPr>
        <p:spPr>
          <a:xfrm>
            <a:off x="5555411" y="3090304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1" name="Freeform 4521"/>
          <p:cNvSpPr/>
          <p:nvPr/>
        </p:nvSpPr>
        <p:spPr>
          <a:xfrm>
            <a:off x="5632543" y="3065158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2" name="Freeform 4522"/>
          <p:cNvSpPr/>
          <p:nvPr/>
        </p:nvSpPr>
        <p:spPr>
          <a:xfrm>
            <a:off x="5745002" y="309170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3" name="Freeform 4523"/>
          <p:cNvSpPr/>
          <p:nvPr/>
        </p:nvSpPr>
        <p:spPr>
          <a:xfrm>
            <a:off x="5818466" y="309030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4" name="Freeform 4524"/>
          <p:cNvSpPr/>
          <p:nvPr/>
        </p:nvSpPr>
        <p:spPr>
          <a:xfrm>
            <a:off x="5889216" y="3091701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5" name="Freeform 4525"/>
          <p:cNvSpPr/>
          <p:nvPr/>
        </p:nvSpPr>
        <p:spPr>
          <a:xfrm>
            <a:off x="5976836" y="3091701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6" name="Freeform 4526"/>
          <p:cNvSpPr/>
          <p:nvPr/>
        </p:nvSpPr>
        <p:spPr>
          <a:xfrm>
            <a:off x="6029414" y="309030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7" name="Freeform 4527"/>
          <p:cNvSpPr/>
          <p:nvPr/>
        </p:nvSpPr>
        <p:spPr>
          <a:xfrm>
            <a:off x="6102837" y="3091701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8" name="Freeform 4528"/>
          <p:cNvSpPr/>
          <p:nvPr/>
        </p:nvSpPr>
        <p:spPr>
          <a:xfrm>
            <a:off x="6169812" y="309030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29" name="Freeform 4529"/>
          <p:cNvSpPr/>
          <p:nvPr/>
        </p:nvSpPr>
        <p:spPr>
          <a:xfrm>
            <a:off x="6253431" y="3091701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0" name="Freeform 4530"/>
          <p:cNvSpPr/>
          <p:nvPr/>
        </p:nvSpPr>
        <p:spPr>
          <a:xfrm>
            <a:off x="6331115" y="3091701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1" name="Freeform 4531"/>
          <p:cNvSpPr/>
          <p:nvPr/>
        </p:nvSpPr>
        <p:spPr>
          <a:xfrm>
            <a:off x="6403547" y="309170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2" name="Freeform 4532"/>
          <p:cNvSpPr/>
          <p:nvPr/>
        </p:nvSpPr>
        <p:spPr>
          <a:xfrm>
            <a:off x="6516006" y="309170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3" name="Freeform 4533"/>
          <p:cNvSpPr/>
          <p:nvPr/>
        </p:nvSpPr>
        <p:spPr>
          <a:xfrm>
            <a:off x="6628805" y="3091701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4" name="Freeform 4534"/>
          <p:cNvSpPr/>
          <p:nvPr/>
        </p:nvSpPr>
        <p:spPr>
          <a:xfrm>
            <a:off x="6706897" y="3091701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5" name="Freeform 4535"/>
          <p:cNvSpPr/>
          <p:nvPr/>
        </p:nvSpPr>
        <p:spPr>
          <a:xfrm>
            <a:off x="6806761" y="3059570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6" name="Freeform 4536"/>
          <p:cNvSpPr/>
          <p:nvPr/>
        </p:nvSpPr>
        <p:spPr>
          <a:xfrm>
            <a:off x="6883120" y="309030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7" name="Freeform 4537"/>
          <p:cNvSpPr/>
          <p:nvPr/>
        </p:nvSpPr>
        <p:spPr>
          <a:xfrm>
            <a:off x="6965786" y="3090304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8" name="Freeform 4538"/>
          <p:cNvSpPr/>
          <p:nvPr/>
        </p:nvSpPr>
        <p:spPr>
          <a:xfrm>
            <a:off x="7034090" y="3091701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39" name="Freeform 4539"/>
          <p:cNvSpPr/>
          <p:nvPr/>
        </p:nvSpPr>
        <p:spPr>
          <a:xfrm>
            <a:off x="7143399" y="309170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40" name="Freeform 4540"/>
          <p:cNvSpPr/>
          <p:nvPr/>
        </p:nvSpPr>
        <p:spPr>
          <a:xfrm>
            <a:off x="7221297" y="3090304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41" name="Freeform 4541"/>
          <p:cNvSpPr/>
          <p:nvPr/>
        </p:nvSpPr>
        <p:spPr>
          <a:xfrm>
            <a:off x="7294258" y="309030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42" name="Freeform 4542"/>
          <p:cNvSpPr/>
          <p:nvPr/>
        </p:nvSpPr>
        <p:spPr>
          <a:xfrm>
            <a:off x="7373921" y="3060688"/>
            <a:ext cx="86083" cy="133134"/>
          </a:xfrm>
          <a:custGeom>
            <a:avLst/>
            <a:gdLst/>
            <a:ahLst/>
            <a:cxnLst/>
            <a:rect l="0" t="0" r="0" b="0"/>
            <a:pathLst>
              <a:path w="7825780" h="12103100">
                <a:moveTo>
                  <a:pt x="0" y="6224786"/>
                </a:moveTo>
                <a:cubicBezTo>
                  <a:pt x="0" y="5134174"/>
                  <a:pt x="213916" y="4272823"/>
                  <a:pt x="641747" y="3640733"/>
                </a:cubicBezTo>
                <a:cubicBezTo>
                  <a:pt x="1069711" y="3008511"/>
                  <a:pt x="1661914" y="2692400"/>
                  <a:pt x="2418358" y="2692400"/>
                </a:cubicBezTo>
                <a:cubicBezTo>
                  <a:pt x="2852539" y="2692400"/>
                  <a:pt x="3220509" y="2789569"/>
                  <a:pt x="3522266" y="2983905"/>
                </a:cubicBezTo>
                <a:lnTo>
                  <a:pt x="3522266" y="0"/>
                </a:lnTo>
                <a:lnTo>
                  <a:pt x="4260255" y="0"/>
                </a:lnTo>
                <a:lnTo>
                  <a:pt x="4260255" y="3008710"/>
                </a:lnTo>
                <a:cubicBezTo>
                  <a:pt x="4566113" y="2797837"/>
                  <a:pt x="4946452" y="2692400"/>
                  <a:pt x="5401271" y="2692400"/>
                </a:cubicBezTo>
                <a:cubicBezTo>
                  <a:pt x="6116439" y="2692400"/>
                  <a:pt x="6688997" y="2979540"/>
                  <a:pt x="7118946" y="3553818"/>
                </a:cubicBezTo>
                <a:cubicBezTo>
                  <a:pt x="7548894" y="4128096"/>
                  <a:pt x="7782455" y="4927534"/>
                  <a:pt x="7819628" y="5952133"/>
                </a:cubicBezTo>
                <a:lnTo>
                  <a:pt x="7825780" y="6354961"/>
                </a:lnTo>
                <a:cubicBezTo>
                  <a:pt x="7825780" y="7375459"/>
                  <a:pt x="7610806" y="8180123"/>
                  <a:pt x="7180858" y="8768954"/>
                </a:cubicBezTo>
                <a:cubicBezTo>
                  <a:pt x="6750910" y="9357652"/>
                  <a:pt x="6161816" y="9652000"/>
                  <a:pt x="5413574" y="9652000"/>
                </a:cubicBezTo>
                <a:cubicBezTo>
                  <a:pt x="4967089" y="9652000"/>
                  <a:pt x="4582650" y="9554831"/>
                  <a:pt x="4260255" y="9360496"/>
                </a:cubicBezTo>
                <a:lnTo>
                  <a:pt x="4260255" y="12103100"/>
                </a:lnTo>
                <a:lnTo>
                  <a:pt x="3522266" y="12103100"/>
                </a:lnTo>
                <a:lnTo>
                  <a:pt x="3522266" y="9366846"/>
                </a:lnTo>
                <a:cubicBezTo>
                  <a:pt x="3203972" y="9556948"/>
                  <a:pt x="2831902" y="9652000"/>
                  <a:pt x="2406055" y="9652000"/>
                </a:cubicBezTo>
                <a:cubicBezTo>
                  <a:pt x="1699088" y="9652000"/>
                  <a:pt x="1132681" y="9384507"/>
                  <a:pt x="706835" y="8849519"/>
                </a:cubicBezTo>
                <a:cubicBezTo>
                  <a:pt x="281120" y="8314399"/>
                  <a:pt x="47559" y="7573765"/>
                  <a:pt x="6152" y="6627615"/>
                </a:cubicBezTo>
                <a:close/>
                <a:moveTo>
                  <a:pt x="7087989" y="6224985"/>
                </a:moveTo>
                <a:cubicBezTo>
                  <a:pt x="7087989" y="5324475"/>
                  <a:pt x="6925667" y="4616054"/>
                  <a:pt x="6601024" y="4099719"/>
                </a:cubicBezTo>
                <a:cubicBezTo>
                  <a:pt x="6276512" y="3583253"/>
                  <a:pt x="5822818" y="3325019"/>
                  <a:pt x="5239941" y="3325019"/>
                </a:cubicBezTo>
                <a:cubicBezTo>
                  <a:pt x="4818327" y="3325019"/>
                  <a:pt x="4491765" y="3415904"/>
                  <a:pt x="4260255" y="3597672"/>
                </a:cubicBezTo>
                <a:lnTo>
                  <a:pt x="4260255" y="8784035"/>
                </a:lnTo>
                <a:cubicBezTo>
                  <a:pt x="4520605" y="8945166"/>
                  <a:pt x="4851334" y="9025732"/>
                  <a:pt x="5252442" y="9025732"/>
                </a:cubicBezTo>
                <a:cubicBezTo>
                  <a:pt x="5831219" y="9025732"/>
                  <a:pt x="6281804" y="8793361"/>
                  <a:pt x="6604199" y="8328621"/>
                </a:cubicBezTo>
                <a:cubicBezTo>
                  <a:pt x="6926725" y="7863880"/>
                  <a:pt x="7087989" y="7162668"/>
                  <a:pt x="7087989" y="6224985"/>
                </a:cubicBezTo>
                <a:close/>
                <a:moveTo>
                  <a:pt x="744141" y="6355160"/>
                </a:moveTo>
                <a:cubicBezTo>
                  <a:pt x="744141" y="7197858"/>
                  <a:pt x="899121" y="7853628"/>
                  <a:pt x="1209080" y="8322469"/>
                </a:cubicBezTo>
                <a:cubicBezTo>
                  <a:pt x="1519172" y="8791311"/>
                  <a:pt x="1965722" y="9025732"/>
                  <a:pt x="2548731" y="9025732"/>
                </a:cubicBezTo>
                <a:cubicBezTo>
                  <a:pt x="2937272" y="9025732"/>
                  <a:pt x="3261784" y="8941065"/>
                  <a:pt x="3522266" y="8771732"/>
                </a:cubicBezTo>
                <a:lnTo>
                  <a:pt x="3522266" y="3579019"/>
                </a:lnTo>
                <a:cubicBezTo>
                  <a:pt x="3282421" y="3409686"/>
                  <a:pt x="2962010" y="3325019"/>
                  <a:pt x="2561035" y="3325019"/>
                </a:cubicBezTo>
                <a:cubicBezTo>
                  <a:pt x="1982258" y="3325019"/>
                  <a:pt x="1534716" y="3582194"/>
                  <a:pt x="1218406" y="4096544"/>
                </a:cubicBezTo>
                <a:cubicBezTo>
                  <a:pt x="902229" y="4610762"/>
                  <a:pt x="744141" y="5363634"/>
                  <a:pt x="744141" y="635516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43" name="Freeform 4543"/>
          <p:cNvSpPr/>
          <p:nvPr/>
        </p:nvSpPr>
        <p:spPr>
          <a:xfrm>
            <a:off x="7473633" y="3090304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44" name="Freeform 4544"/>
          <p:cNvSpPr/>
          <p:nvPr/>
        </p:nvSpPr>
        <p:spPr>
          <a:xfrm>
            <a:off x="7545990" y="3090304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45" name="Freeform 4545"/>
          <p:cNvSpPr/>
          <p:nvPr/>
        </p:nvSpPr>
        <p:spPr>
          <a:xfrm>
            <a:off x="7617936" y="3090304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46" name="Freeform 4546"/>
          <p:cNvSpPr/>
          <p:nvPr/>
        </p:nvSpPr>
        <p:spPr>
          <a:xfrm>
            <a:off x="7694655" y="309170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47" name="Freeform 4547"/>
          <p:cNvSpPr/>
          <p:nvPr/>
        </p:nvSpPr>
        <p:spPr>
          <a:xfrm>
            <a:off x="7773167" y="309170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48" name="Rectangle 4548"/>
          <p:cNvSpPr/>
          <p:nvPr/>
        </p:nvSpPr>
        <p:spPr>
          <a:xfrm>
            <a:off x="4762905" y="3541692"/>
            <a:ext cx="3426552" cy="339089"/>
          </a:xfrm>
          <a:prstGeom prst="rect">
            <a:avLst/>
          </a:prstGeom>
        </p:spPr>
      </p:sp>
      <p:sp>
        <p:nvSpPr>
          <p:cNvPr id="4549" name="Freeform 4549"/>
          <p:cNvSpPr/>
          <p:nvPr/>
        </p:nvSpPr>
        <p:spPr>
          <a:xfrm>
            <a:off x="4771909" y="3575081"/>
            <a:ext cx="80764" cy="99326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7342188" y="9029700"/>
                </a:moveTo>
                <a:lnTo>
                  <a:pt x="5475685" y="9029700"/>
                </a:lnTo>
                <a:lnTo>
                  <a:pt x="5475685" y="1506935"/>
                </a:ln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7342188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0" name="Freeform 4550"/>
          <p:cNvSpPr/>
          <p:nvPr/>
        </p:nvSpPr>
        <p:spPr>
          <a:xfrm>
            <a:off x="4866176" y="359924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1" name="Freeform 4551"/>
          <p:cNvSpPr/>
          <p:nvPr/>
        </p:nvSpPr>
        <p:spPr>
          <a:xfrm>
            <a:off x="4949473" y="3600646"/>
            <a:ext cx="87653" cy="73761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2" name="Freeform 4552"/>
          <p:cNvSpPr/>
          <p:nvPr/>
        </p:nvSpPr>
        <p:spPr>
          <a:xfrm>
            <a:off x="5051139" y="359924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3" name="Freeform 4553"/>
          <p:cNvSpPr/>
          <p:nvPr/>
        </p:nvSpPr>
        <p:spPr>
          <a:xfrm>
            <a:off x="5132933" y="3600646"/>
            <a:ext cx="114392" cy="95694"/>
          </a:xfrm>
          <a:custGeom>
            <a:avLst/>
            <a:gdLst/>
            <a:ahLst/>
            <a:cxnLst/>
            <a:rect l="0" t="0" r="0" b="0"/>
            <a:pathLst>
              <a:path w="10399316" h="8699500">
                <a:moveTo>
                  <a:pt x="1792089" y="0"/>
                </a:moveTo>
                <a:lnTo>
                  <a:pt x="1792089" y="5260777"/>
                </a:lnTo>
                <a:lnTo>
                  <a:pt x="3633986" y="5260777"/>
                </a:lnTo>
                <a:lnTo>
                  <a:pt x="3633986" y="0"/>
                </a:lnTo>
                <a:lnTo>
                  <a:pt x="5432227" y="0"/>
                </a:lnTo>
                <a:lnTo>
                  <a:pt x="5432227" y="5260777"/>
                </a:lnTo>
                <a:lnTo>
                  <a:pt x="7267774" y="5260777"/>
                </a:lnTo>
                <a:lnTo>
                  <a:pt x="7267774" y="0"/>
                </a:lnTo>
                <a:lnTo>
                  <a:pt x="9066213" y="0"/>
                </a:lnTo>
                <a:lnTo>
                  <a:pt x="9066213" y="5273279"/>
                </a:lnTo>
                <a:lnTo>
                  <a:pt x="10399316" y="5273279"/>
                </a:lnTo>
                <a:lnTo>
                  <a:pt x="10275292" y="8699500"/>
                </a:lnTo>
                <a:lnTo>
                  <a:pt x="8607227" y="8699500"/>
                </a:lnTo>
                <a:lnTo>
                  <a:pt x="8607227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4" name="Freeform 4554"/>
          <p:cNvSpPr/>
          <p:nvPr/>
        </p:nvSpPr>
        <p:spPr>
          <a:xfrm>
            <a:off x="5258729" y="360064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5" name="Freeform 4555"/>
          <p:cNvSpPr/>
          <p:nvPr/>
        </p:nvSpPr>
        <p:spPr>
          <a:xfrm>
            <a:off x="5337939" y="360064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6" name="Freeform 4556"/>
          <p:cNvSpPr/>
          <p:nvPr/>
        </p:nvSpPr>
        <p:spPr>
          <a:xfrm>
            <a:off x="5418445" y="3600646"/>
            <a:ext cx="69985" cy="73761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7" name="Freeform 4557"/>
          <p:cNvSpPr/>
          <p:nvPr/>
        </p:nvSpPr>
        <p:spPr>
          <a:xfrm>
            <a:off x="5530518" y="3623976"/>
            <a:ext cx="38402" cy="15893"/>
          </a:xfrm>
          <a:custGeom>
            <a:avLst/>
            <a:gdLst/>
            <a:ahLst/>
            <a:cxnLst/>
            <a:rect l="0" t="0" r="0" b="0"/>
            <a:pathLst>
              <a:path w="3491111" h="1444824">
                <a:moveTo>
                  <a:pt x="3491111" y="1444824"/>
                </a:moveTo>
                <a:lnTo>
                  <a:pt x="0" y="1444824"/>
                </a:lnTo>
                <a:lnTo>
                  <a:pt x="0" y="0"/>
                </a:lnTo>
                <a:lnTo>
                  <a:pt x="34911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8" name="Freeform 4558"/>
          <p:cNvSpPr/>
          <p:nvPr/>
        </p:nvSpPr>
        <p:spPr>
          <a:xfrm>
            <a:off x="5618306" y="359924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59" name="Freeform 4559"/>
          <p:cNvSpPr/>
          <p:nvPr/>
        </p:nvSpPr>
        <p:spPr>
          <a:xfrm>
            <a:off x="5689979" y="359924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0" name="Freeform 4560"/>
          <p:cNvSpPr/>
          <p:nvPr/>
        </p:nvSpPr>
        <p:spPr>
          <a:xfrm>
            <a:off x="5773258" y="360064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1" name="Freeform 4561"/>
          <p:cNvSpPr/>
          <p:nvPr/>
        </p:nvSpPr>
        <p:spPr>
          <a:xfrm>
            <a:off x="5846995" y="359924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2" name="Freeform 4562"/>
          <p:cNvSpPr/>
          <p:nvPr/>
        </p:nvSpPr>
        <p:spPr>
          <a:xfrm>
            <a:off x="5923647" y="3600646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3" name="Freeform 4563"/>
          <p:cNvSpPr/>
          <p:nvPr/>
        </p:nvSpPr>
        <p:spPr>
          <a:xfrm>
            <a:off x="5991714" y="359924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4" name="Freeform 4564"/>
          <p:cNvSpPr/>
          <p:nvPr/>
        </p:nvSpPr>
        <p:spPr>
          <a:xfrm>
            <a:off x="6061383" y="360064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5" name="Freeform 4565"/>
          <p:cNvSpPr/>
          <p:nvPr/>
        </p:nvSpPr>
        <p:spPr>
          <a:xfrm>
            <a:off x="6125703" y="359924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6" name="Freeform 4566"/>
          <p:cNvSpPr/>
          <p:nvPr/>
        </p:nvSpPr>
        <p:spPr>
          <a:xfrm>
            <a:off x="6194650" y="3600646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7" name="Freeform 4567"/>
          <p:cNvSpPr/>
          <p:nvPr/>
        </p:nvSpPr>
        <p:spPr>
          <a:xfrm>
            <a:off x="6276503" y="3600646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8" name="Freeform 4568"/>
          <p:cNvSpPr/>
          <p:nvPr/>
        </p:nvSpPr>
        <p:spPr>
          <a:xfrm>
            <a:off x="6357405" y="3600646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69" name="Freeform 4569"/>
          <p:cNvSpPr/>
          <p:nvPr/>
        </p:nvSpPr>
        <p:spPr>
          <a:xfrm>
            <a:off x="6490604" y="3600646"/>
            <a:ext cx="65757" cy="73761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0" name="Freeform 4570"/>
          <p:cNvSpPr/>
          <p:nvPr/>
        </p:nvSpPr>
        <p:spPr>
          <a:xfrm>
            <a:off x="6603023" y="360064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1" name="Freeform 4571"/>
          <p:cNvSpPr/>
          <p:nvPr/>
        </p:nvSpPr>
        <p:spPr>
          <a:xfrm>
            <a:off x="6679164" y="359924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2" name="Freeform 4572"/>
          <p:cNvSpPr/>
          <p:nvPr/>
        </p:nvSpPr>
        <p:spPr>
          <a:xfrm>
            <a:off x="6761163" y="360064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3" name="Freeform 4573"/>
          <p:cNvSpPr/>
          <p:nvPr/>
        </p:nvSpPr>
        <p:spPr>
          <a:xfrm>
            <a:off x="6837304" y="3599249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4" name="Freeform 4574"/>
          <p:cNvSpPr/>
          <p:nvPr/>
        </p:nvSpPr>
        <p:spPr>
          <a:xfrm>
            <a:off x="6914454" y="3600646"/>
            <a:ext cx="69985" cy="73761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5" name="Freeform 4575"/>
          <p:cNvSpPr/>
          <p:nvPr/>
        </p:nvSpPr>
        <p:spPr>
          <a:xfrm>
            <a:off x="6988170" y="359924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6" name="Freeform 4576"/>
          <p:cNvSpPr/>
          <p:nvPr/>
        </p:nvSpPr>
        <p:spPr>
          <a:xfrm>
            <a:off x="7101053" y="360064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7" name="Freeform 4577"/>
          <p:cNvSpPr/>
          <p:nvPr/>
        </p:nvSpPr>
        <p:spPr>
          <a:xfrm>
            <a:off x="7174193" y="3600646"/>
            <a:ext cx="70258" cy="73761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8" name="Freeform 4578"/>
          <p:cNvSpPr/>
          <p:nvPr/>
        </p:nvSpPr>
        <p:spPr>
          <a:xfrm>
            <a:off x="7259614" y="360064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79" name="Freeform 4579"/>
          <p:cNvSpPr/>
          <p:nvPr/>
        </p:nvSpPr>
        <p:spPr>
          <a:xfrm>
            <a:off x="7373609" y="360064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0" name="Freeform 4580"/>
          <p:cNvSpPr/>
          <p:nvPr/>
        </p:nvSpPr>
        <p:spPr>
          <a:xfrm>
            <a:off x="7450157" y="359924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1" name="Freeform 4581"/>
          <p:cNvSpPr/>
          <p:nvPr/>
        </p:nvSpPr>
        <p:spPr>
          <a:xfrm>
            <a:off x="7528257" y="359924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2" name="Freeform 4582"/>
          <p:cNvSpPr/>
          <p:nvPr/>
        </p:nvSpPr>
        <p:spPr>
          <a:xfrm>
            <a:off x="7604107" y="359924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3" name="Freeform 4583"/>
          <p:cNvSpPr/>
          <p:nvPr/>
        </p:nvSpPr>
        <p:spPr>
          <a:xfrm>
            <a:off x="7679137" y="3599249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4" name="Freeform 4584"/>
          <p:cNvSpPr/>
          <p:nvPr/>
        </p:nvSpPr>
        <p:spPr>
          <a:xfrm>
            <a:off x="7756286" y="3600646"/>
            <a:ext cx="87653" cy="73761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5" name="Freeform 4585"/>
          <p:cNvSpPr/>
          <p:nvPr/>
        </p:nvSpPr>
        <p:spPr>
          <a:xfrm>
            <a:off x="7857953" y="359924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6" name="Freeform 4586"/>
          <p:cNvSpPr/>
          <p:nvPr/>
        </p:nvSpPr>
        <p:spPr>
          <a:xfrm>
            <a:off x="7932539" y="360064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7" name="Freeform 4587"/>
          <p:cNvSpPr/>
          <p:nvPr/>
        </p:nvSpPr>
        <p:spPr>
          <a:xfrm>
            <a:off x="8009103" y="359924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8" name="Freeform 4588"/>
          <p:cNvSpPr/>
          <p:nvPr/>
        </p:nvSpPr>
        <p:spPr>
          <a:xfrm>
            <a:off x="8084954" y="359924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89" name="Freeform 4589"/>
          <p:cNvSpPr/>
          <p:nvPr/>
        </p:nvSpPr>
        <p:spPr>
          <a:xfrm>
            <a:off x="4774433" y="3772096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0" name="Freeform 4590"/>
          <p:cNvSpPr/>
          <p:nvPr/>
        </p:nvSpPr>
        <p:spPr>
          <a:xfrm>
            <a:off x="4852184" y="377209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1" name="Freeform 4591"/>
          <p:cNvSpPr/>
          <p:nvPr/>
        </p:nvSpPr>
        <p:spPr>
          <a:xfrm>
            <a:off x="4923056" y="3772096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2" name="Freeform 4592"/>
          <p:cNvSpPr/>
          <p:nvPr/>
        </p:nvSpPr>
        <p:spPr>
          <a:xfrm>
            <a:off x="5006378" y="377069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3" name="Freeform 4593"/>
          <p:cNvSpPr/>
          <p:nvPr/>
        </p:nvSpPr>
        <p:spPr>
          <a:xfrm>
            <a:off x="5119430" y="377209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4" name="Freeform 4594"/>
          <p:cNvSpPr/>
          <p:nvPr/>
        </p:nvSpPr>
        <p:spPr>
          <a:xfrm>
            <a:off x="5197329" y="377069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5" name="Freeform 4595"/>
          <p:cNvSpPr/>
          <p:nvPr/>
        </p:nvSpPr>
        <p:spPr>
          <a:xfrm>
            <a:off x="5270289" y="377069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6" name="Freeform 4596"/>
          <p:cNvSpPr/>
          <p:nvPr/>
        </p:nvSpPr>
        <p:spPr>
          <a:xfrm>
            <a:off x="5349953" y="3741082"/>
            <a:ext cx="86083" cy="133134"/>
          </a:xfrm>
          <a:custGeom>
            <a:avLst/>
            <a:gdLst/>
            <a:ahLst/>
            <a:cxnLst/>
            <a:rect l="0" t="0" r="0" b="0"/>
            <a:pathLst>
              <a:path w="7825780" h="12103100">
                <a:moveTo>
                  <a:pt x="0" y="6224786"/>
                </a:moveTo>
                <a:cubicBezTo>
                  <a:pt x="0" y="5134174"/>
                  <a:pt x="213916" y="4272823"/>
                  <a:pt x="641747" y="3640733"/>
                </a:cubicBezTo>
                <a:cubicBezTo>
                  <a:pt x="1069711" y="3008511"/>
                  <a:pt x="1661914" y="2692400"/>
                  <a:pt x="2418358" y="2692400"/>
                </a:cubicBezTo>
                <a:cubicBezTo>
                  <a:pt x="2852539" y="2692400"/>
                  <a:pt x="3220509" y="2789569"/>
                  <a:pt x="3522266" y="2983905"/>
                </a:cubicBezTo>
                <a:lnTo>
                  <a:pt x="3522266" y="0"/>
                </a:lnTo>
                <a:lnTo>
                  <a:pt x="4260255" y="0"/>
                </a:lnTo>
                <a:lnTo>
                  <a:pt x="4260255" y="3008710"/>
                </a:lnTo>
                <a:cubicBezTo>
                  <a:pt x="4566113" y="2797837"/>
                  <a:pt x="4946452" y="2692400"/>
                  <a:pt x="5401271" y="2692400"/>
                </a:cubicBezTo>
                <a:cubicBezTo>
                  <a:pt x="6116439" y="2692400"/>
                  <a:pt x="6688997" y="2979540"/>
                  <a:pt x="7118946" y="3553818"/>
                </a:cubicBezTo>
                <a:cubicBezTo>
                  <a:pt x="7548894" y="4128096"/>
                  <a:pt x="7782455" y="4927534"/>
                  <a:pt x="7819628" y="5952133"/>
                </a:cubicBezTo>
                <a:lnTo>
                  <a:pt x="7825780" y="6354961"/>
                </a:lnTo>
                <a:cubicBezTo>
                  <a:pt x="7825780" y="7375459"/>
                  <a:pt x="7610806" y="8180123"/>
                  <a:pt x="7180858" y="8768954"/>
                </a:cubicBezTo>
                <a:cubicBezTo>
                  <a:pt x="6750910" y="9357652"/>
                  <a:pt x="6161816" y="9652000"/>
                  <a:pt x="5413574" y="9652000"/>
                </a:cubicBezTo>
                <a:cubicBezTo>
                  <a:pt x="4967089" y="9652000"/>
                  <a:pt x="4582650" y="9554831"/>
                  <a:pt x="4260255" y="9360496"/>
                </a:cubicBezTo>
                <a:lnTo>
                  <a:pt x="4260255" y="12103100"/>
                </a:lnTo>
                <a:lnTo>
                  <a:pt x="3522266" y="12103100"/>
                </a:lnTo>
                <a:lnTo>
                  <a:pt x="3522266" y="9366846"/>
                </a:lnTo>
                <a:cubicBezTo>
                  <a:pt x="3203972" y="9556948"/>
                  <a:pt x="2831902" y="9652000"/>
                  <a:pt x="2406055" y="9652000"/>
                </a:cubicBezTo>
                <a:cubicBezTo>
                  <a:pt x="1699088" y="9652000"/>
                  <a:pt x="1132681" y="9384507"/>
                  <a:pt x="706835" y="8849519"/>
                </a:cubicBezTo>
                <a:cubicBezTo>
                  <a:pt x="281120" y="8314399"/>
                  <a:pt x="47559" y="7573765"/>
                  <a:pt x="6152" y="6627615"/>
                </a:cubicBezTo>
                <a:close/>
                <a:moveTo>
                  <a:pt x="7087989" y="6224985"/>
                </a:moveTo>
                <a:cubicBezTo>
                  <a:pt x="7087989" y="5324475"/>
                  <a:pt x="6925667" y="4616054"/>
                  <a:pt x="6601024" y="4099719"/>
                </a:cubicBezTo>
                <a:cubicBezTo>
                  <a:pt x="6276512" y="3583253"/>
                  <a:pt x="5822818" y="3325019"/>
                  <a:pt x="5239941" y="3325019"/>
                </a:cubicBezTo>
                <a:cubicBezTo>
                  <a:pt x="4818327" y="3325019"/>
                  <a:pt x="4491765" y="3415904"/>
                  <a:pt x="4260255" y="3597672"/>
                </a:cubicBezTo>
                <a:lnTo>
                  <a:pt x="4260255" y="8784035"/>
                </a:lnTo>
                <a:cubicBezTo>
                  <a:pt x="4520605" y="8945166"/>
                  <a:pt x="4851334" y="9025732"/>
                  <a:pt x="5252442" y="9025732"/>
                </a:cubicBezTo>
                <a:cubicBezTo>
                  <a:pt x="5831219" y="9025732"/>
                  <a:pt x="6281804" y="8793361"/>
                  <a:pt x="6604199" y="8328621"/>
                </a:cubicBezTo>
                <a:cubicBezTo>
                  <a:pt x="6926725" y="7863880"/>
                  <a:pt x="7087989" y="7162668"/>
                  <a:pt x="7087989" y="6224985"/>
                </a:cubicBezTo>
                <a:close/>
                <a:moveTo>
                  <a:pt x="744141" y="6355160"/>
                </a:moveTo>
                <a:cubicBezTo>
                  <a:pt x="744141" y="7197858"/>
                  <a:pt x="899121" y="7853628"/>
                  <a:pt x="1209080" y="8322469"/>
                </a:cubicBezTo>
                <a:cubicBezTo>
                  <a:pt x="1519172" y="8791311"/>
                  <a:pt x="1965722" y="9025732"/>
                  <a:pt x="2548731" y="9025732"/>
                </a:cubicBezTo>
                <a:cubicBezTo>
                  <a:pt x="2937272" y="9025732"/>
                  <a:pt x="3261784" y="8941065"/>
                  <a:pt x="3522266" y="8771732"/>
                </a:cubicBezTo>
                <a:lnTo>
                  <a:pt x="3522266" y="3579019"/>
                </a:lnTo>
                <a:cubicBezTo>
                  <a:pt x="3282421" y="3409686"/>
                  <a:pt x="2962010" y="3325019"/>
                  <a:pt x="2561035" y="3325019"/>
                </a:cubicBezTo>
                <a:cubicBezTo>
                  <a:pt x="1982258" y="3325019"/>
                  <a:pt x="1534716" y="3582194"/>
                  <a:pt x="1218406" y="4096544"/>
                </a:cubicBezTo>
                <a:cubicBezTo>
                  <a:pt x="902229" y="4610762"/>
                  <a:pt x="744141" y="5363634"/>
                  <a:pt x="744141" y="635516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7" name="Freeform 4597"/>
          <p:cNvSpPr/>
          <p:nvPr/>
        </p:nvSpPr>
        <p:spPr>
          <a:xfrm>
            <a:off x="5449664" y="377069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8" name="Freeform 4598"/>
          <p:cNvSpPr/>
          <p:nvPr/>
        </p:nvSpPr>
        <p:spPr>
          <a:xfrm>
            <a:off x="5522022" y="377069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599" name="Freeform 4599"/>
          <p:cNvSpPr/>
          <p:nvPr/>
        </p:nvSpPr>
        <p:spPr>
          <a:xfrm>
            <a:off x="5593968" y="377069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0" name="Freeform 4600"/>
          <p:cNvSpPr/>
          <p:nvPr/>
        </p:nvSpPr>
        <p:spPr>
          <a:xfrm>
            <a:off x="5670687" y="377209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1" name="Freeform 4601"/>
          <p:cNvSpPr/>
          <p:nvPr/>
        </p:nvSpPr>
        <p:spPr>
          <a:xfrm>
            <a:off x="5744152" y="377069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2" name="Freeform 4602"/>
          <p:cNvSpPr/>
          <p:nvPr/>
        </p:nvSpPr>
        <p:spPr>
          <a:xfrm>
            <a:off x="5827430" y="377209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3" name="Freeform 4603"/>
          <p:cNvSpPr/>
          <p:nvPr/>
        </p:nvSpPr>
        <p:spPr>
          <a:xfrm>
            <a:off x="5901576" y="377069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4" name="Freeform 4604"/>
          <p:cNvSpPr/>
          <p:nvPr/>
        </p:nvSpPr>
        <p:spPr>
          <a:xfrm>
            <a:off x="5972495" y="3772096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5" name="Freeform 4605"/>
          <p:cNvSpPr/>
          <p:nvPr/>
        </p:nvSpPr>
        <p:spPr>
          <a:xfrm>
            <a:off x="6059533" y="3772096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6" name="Freeform 4606"/>
          <p:cNvSpPr/>
          <p:nvPr/>
        </p:nvSpPr>
        <p:spPr>
          <a:xfrm>
            <a:off x="6133932" y="377209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7" name="Freeform 4607"/>
          <p:cNvSpPr/>
          <p:nvPr/>
        </p:nvSpPr>
        <p:spPr>
          <a:xfrm>
            <a:off x="6207397" y="377069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8" name="Freeform 4608"/>
          <p:cNvSpPr/>
          <p:nvPr/>
        </p:nvSpPr>
        <p:spPr>
          <a:xfrm>
            <a:off x="6290676" y="3745553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09" name="Freeform 4609"/>
          <p:cNvSpPr/>
          <p:nvPr/>
        </p:nvSpPr>
        <p:spPr>
          <a:xfrm>
            <a:off x="6395494" y="3772096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0" name="Freeform 4610"/>
          <p:cNvSpPr/>
          <p:nvPr/>
        </p:nvSpPr>
        <p:spPr>
          <a:xfrm>
            <a:off x="6478135" y="377069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1" name="Freeform 4611"/>
          <p:cNvSpPr/>
          <p:nvPr/>
        </p:nvSpPr>
        <p:spPr>
          <a:xfrm>
            <a:off x="6550424" y="3772096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2" name="Freeform 4612"/>
          <p:cNvSpPr/>
          <p:nvPr/>
        </p:nvSpPr>
        <p:spPr>
          <a:xfrm>
            <a:off x="6622526" y="377209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3" name="Freeform 4613"/>
          <p:cNvSpPr/>
          <p:nvPr/>
        </p:nvSpPr>
        <p:spPr>
          <a:xfrm>
            <a:off x="6686847" y="377069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4" name="Freeform 4614"/>
          <p:cNvSpPr/>
          <p:nvPr/>
        </p:nvSpPr>
        <p:spPr>
          <a:xfrm>
            <a:off x="6755793" y="3772096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5" name="Freeform 4615"/>
          <p:cNvSpPr/>
          <p:nvPr/>
        </p:nvSpPr>
        <p:spPr>
          <a:xfrm>
            <a:off x="6842831" y="3772096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6" name="Freeform 4616"/>
          <p:cNvSpPr/>
          <p:nvPr/>
        </p:nvSpPr>
        <p:spPr>
          <a:xfrm>
            <a:off x="6917230" y="377209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7" name="Freeform 4617"/>
          <p:cNvSpPr/>
          <p:nvPr/>
        </p:nvSpPr>
        <p:spPr>
          <a:xfrm>
            <a:off x="6990695" y="377069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8" name="Freeform 4618"/>
          <p:cNvSpPr/>
          <p:nvPr/>
        </p:nvSpPr>
        <p:spPr>
          <a:xfrm>
            <a:off x="7069199" y="377069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19" name="Freeform 4619"/>
          <p:cNvSpPr/>
          <p:nvPr/>
        </p:nvSpPr>
        <p:spPr>
          <a:xfrm>
            <a:off x="7137460" y="377209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20" name="Freeform 4620"/>
          <p:cNvSpPr/>
          <p:nvPr/>
        </p:nvSpPr>
        <p:spPr>
          <a:xfrm>
            <a:off x="7212276" y="377209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21" name="Rectangle 4621"/>
          <p:cNvSpPr/>
          <p:nvPr/>
        </p:nvSpPr>
        <p:spPr>
          <a:xfrm>
            <a:off x="4762900" y="4167173"/>
            <a:ext cx="3824673" cy="339089"/>
          </a:xfrm>
          <a:prstGeom prst="rect">
            <a:avLst/>
          </a:prstGeom>
        </p:spPr>
      </p:sp>
      <p:sp>
        <p:nvSpPr>
          <p:cNvPr id="4622" name="Freeform 4622"/>
          <p:cNvSpPr/>
          <p:nvPr/>
        </p:nvSpPr>
        <p:spPr>
          <a:xfrm>
            <a:off x="4771769" y="4200561"/>
            <a:ext cx="80831" cy="99326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23" name="Freeform 4623"/>
          <p:cNvSpPr/>
          <p:nvPr/>
        </p:nvSpPr>
        <p:spPr>
          <a:xfrm>
            <a:off x="4866166" y="4224729"/>
            <a:ext cx="65621" cy="7655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24" name="Freeform 4624"/>
          <p:cNvSpPr/>
          <p:nvPr/>
        </p:nvSpPr>
        <p:spPr>
          <a:xfrm>
            <a:off x="4945276" y="4226126"/>
            <a:ext cx="65757" cy="73761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25" name="Freeform 4625"/>
          <p:cNvSpPr/>
          <p:nvPr/>
        </p:nvSpPr>
        <p:spPr>
          <a:xfrm>
            <a:off x="5022910" y="422612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26" name="Freeform 4626"/>
          <p:cNvSpPr/>
          <p:nvPr/>
        </p:nvSpPr>
        <p:spPr>
          <a:xfrm>
            <a:off x="5102120" y="4226126"/>
            <a:ext cx="50272" cy="73761"/>
          </a:xfrm>
          <a:custGeom>
            <a:avLst/>
            <a:gdLst/>
            <a:ahLst/>
            <a:cxnLst/>
            <a:rect l="0" t="0" r="0" b="0"/>
            <a:pathLst>
              <a:path w="4570214" h="6705600">
                <a:moveTo>
                  <a:pt x="4570214" y="1451174"/>
                </a:move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5702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27" name="Freeform 4627"/>
          <p:cNvSpPr/>
          <p:nvPr/>
        </p:nvSpPr>
        <p:spPr>
          <a:xfrm>
            <a:off x="5157581" y="4224729"/>
            <a:ext cx="65621" cy="7655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28" name="Freeform 4628"/>
          <p:cNvSpPr/>
          <p:nvPr/>
        </p:nvSpPr>
        <p:spPr>
          <a:xfrm>
            <a:off x="5228959" y="422612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29" name="Freeform 4629"/>
          <p:cNvSpPr/>
          <p:nvPr/>
        </p:nvSpPr>
        <p:spPr>
          <a:xfrm>
            <a:off x="5300498" y="422472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0" name="Freeform 4630"/>
          <p:cNvSpPr/>
          <p:nvPr/>
        </p:nvSpPr>
        <p:spPr>
          <a:xfrm>
            <a:off x="5382498" y="422472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1" name="Freeform 4631"/>
          <p:cNvSpPr/>
          <p:nvPr/>
        </p:nvSpPr>
        <p:spPr>
          <a:xfrm>
            <a:off x="5524640" y="4252669"/>
            <a:ext cx="32674" cy="6888"/>
          </a:xfrm>
          <a:custGeom>
            <a:avLst/>
            <a:gdLst/>
            <a:ahLst/>
            <a:cxnLst/>
            <a:rect l="0" t="0" r="0" b="0"/>
            <a:pathLst>
              <a:path w="2970411" h="626269">
                <a:moveTo>
                  <a:pt x="2970411" y="626269"/>
                </a:moveTo>
                <a:lnTo>
                  <a:pt x="0" y="626269"/>
                </a:lnTo>
                <a:lnTo>
                  <a:pt x="0" y="0"/>
                </a:lnTo>
                <a:lnTo>
                  <a:pt x="29704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2" name="Freeform 4632"/>
          <p:cNvSpPr/>
          <p:nvPr/>
        </p:nvSpPr>
        <p:spPr>
          <a:xfrm>
            <a:off x="5606386" y="42261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3" name="Freeform 4633"/>
          <p:cNvSpPr/>
          <p:nvPr/>
        </p:nvSpPr>
        <p:spPr>
          <a:xfrm>
            <a:off x="5679851" y="422472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4" name="Freeform 4634"/>
          <p:cNvSpPr/>
          <p:nvPr/>
        </p:nvSpPr>
        <p:spPr>
          <a:xfrm>
            <a:off x="5792575" y="4224729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5" name="Freeform 4635"/>
          <p:cNvSpPr/>
          <p:nvPr/>
        </p:nvSpPr>
        <p:spPr>
          <a:xfrm>
            <a:off x="5863399" y="422472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6" name="Freeform 4636"/>
          <p:cNvSpPr/>
          <p:nvPr/>
        </p:nvSpPr>
        <p:spPr>
          <a:xfrm>
            <a:off x="5941891" y="422472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7" name="Freeform 4637"/>
          <p:cNvSpPr/>
          <p:nvPr/>
        </p:nvSpPr>
        <p:spPr>
          <a:xfrm>
            <a:off x="6015532" y="422472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8" name="Freeform 4638"/>
          <p:cNvSpPr/>
          <p:nvPr/>
        </p:nvSpPr>
        <p:spPr>
          <a:xfrm>
            <a:off x="6090067" y="4193995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39" name="Freeform 4639"/>
          <p:cNvSpPr/>
          <p:nvPr/>
        </p:nvSpPr>
        <p:spPr>
          <a:xfrm>
            <a:off x="6166426" y="422472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0" name="Freeform 4640"/>
          <p:cNvSpPr/>
          <p:nvPr/>
        </p:nvSpPr>
        <p:spPr>
          <a:xfrm>
            <a:off x="6239849" y="422612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1" name="Freeform 4641"/>
          <p:cNvSpPr/>
          <p:nvPr/>
        </p:nvSpPr>
        <p:spPr>
          <a:xfrm>
            <a:off x="6314665" y="42261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2" name="Freeform 4642"/>
          <p:cNvSpPr/>
          <p:nvPr/>
        </p:nvSpPr>
        <p:spPr>
          <a:xfrm>
            <a:off x="6388130" y="4224729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3" name="Freeform 4643"/>
          <p:cNvSpPr/>
          <p:nvPr/>
        </p:nvSpPr>
        <p:spPr>
          <a:xfrm>
            <a:off x="6471408" y="4199583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4" name="Freeform 4644"/>
          <p:cNvSpPr/>
          <p:nvPr/>
        </p:nvSpPr>
        <p:spPr>
          <a:xfrm>
            <a:off x="6583867" y="42261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5" name="Freeform 4645"/>
          <p:cNvSpPr/>
          <p:nvPr/>
        </p:nvSpPr>
        <p:spPr>
          <a:xfrm>
            <a:off x="6654193" y="4226126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6" name="Freeform 4646"/>
          <p:cNvSpPr/>
          <p:nvPr/>
        </p:nvSpPr>
        <p:spPr>
          <a:xfrm>
            <a:off x="6736524" y="422472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7" name="Freeform 4647"/>
          <p:cNvSpPr/>
          <p:nvPr/>
        </p:nvSpPr>
        <p:spPr>
          <a:xfrm>
            <a:off x="6806193" y="422612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8" name="Freeform 4648"/>
          <p:cNvSpPr/>
          <p:nvPr/>
        </p:nvSpPr>
        <p:spPr>
          <a:xfrm>
            <a:off x="6870514" y="422472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49" name="Freeform 4649"/>
          <p:cNvSpPr/>
          <p:nvPr/>
        </p:nvSpPr>
        <p:spPr>
          <a:xfrm>
            <a:off x="6940551" y="4287064"/>
            <a:ext cx="14393" cy="31377"/>
          </a:xfrm>
          <a:custGeom>
            <a:avLst/>
            <a:gdLst/>
            <a:ahLst/>
            <a:cxnLst/>
            <a:rect l="0" t="0" r="0" b="0"/>
            <a:pathLst>
              <a:path w="1308497" h="2852538">
                <a:moveTo>
                  <a:pt x="440333" y="2852538"/>
                </a:moveTo>
                <a:lnTo>
                  <a:pt x="0" y="2530077"/>
                </a:lnTo>
                <a:cubicBezTo>
                  <a:pt x="376237" y="2025782"/>
                  <a:pt x="570574" y="1502833"/>
                  <a:pt x="583009" y="961231"/>
                </a:cubicBezTo>
                <a:lnTo>
                  <a:pt x="583009" y="0"/>
                </a:lnTo>
                <a:lnTo>
                  <a:pt x="1308497" y="0"/>
                </a:lnTo>
                <a:lnTo>
                  <a:pt x="1308497" y="775097"/>
                </a:lnTo>
                <a:cubicBezTo>
                  <a:pt x="1308497" y="1634992"/>
                  <a:pt x="1019109" y="2327473"/>
                  <a:pt x="440333" y="2852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0" name="Freeform 4650"/>
          <p:cNvSpPr/>
          <p:nvPr/>
        </p:nvSpPr>
        <p:spPr>
          <a:xfrm>
            <a:off x="7008276" y="42261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1" name="Freeform 4651"/>
          <p:cNvSpPr/>
          <p:nvPr/>
        </p:nvSpPr>
        <p:spPr>
          <a:xfrm>
            <a:off x="7081740" y="422472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2" name="Freeform 4652"/>
          <p:cNvSpPr/>
          <p:nvPr/>
        </p:nvSpPr>
        <p:spPr>
          <a:xfrm>
            <a:off x="7158258" y="422472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3" name="Freeform 4653"/>
          <p:cNvSpPr/>
          <p:nvPr/>
        </p:nvSpPr>
        <p:spPr>
          <a:xfrm>
            <a:off x="7231492" y="4224729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4" name="Freeform 4654"/>
          <p:cNvSpPr/>
          <p:nvPr/>
        </p:nvSpPr>
        <p:spPr>
          <a:xfrm>
            <a:off x="7308211" y="42261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5" name="Freeform 4655"/>
          <p:cNvSpPr/>
          <p:nvPr/>
        </p:nvSpPr>
        <p:spPr>
          <a:xfrm>
            <a:off x="7381676" y="4224729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6" name="Freeform 4656"/>
          <p:cNvSpPr/>
          <p:nvPr/>
        </p:nvSpPr>
        <p:spPr>
          <a:xfrm>
            <a:off x="7458740" y="4226126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7" name="Freeform 4657"/>
          <p:cNvSpPr/>
          <p:nvPr/>
        </p:nvSpPr>
        <p:spPr>
          <a:xfrm>
            <a:off x="7522714" y="422612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8" name="Freeform 4658"/>
          <p:cNvSpPr/>
          <p:nvPr/>
        </p:nvSpPr>
        <p:spPr>
          <a:xfrm>
            <a:off x="7597530" y="42261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59" name="Freeform 4659"/>
          <p:cNvSpPr/>
          <p:nvPr/>
        </p:nvSpPr>
        <p:spPr>
          <a:xfrm>
            <a:off x="7676382" y="4226126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0" name="Freeform 4660"/>
          <p:cNvSpPr/>
          <p:nvPr/>
        </p:nvSpPr>
        <p:spPr>
          <a:xfrm>
            <a:off x="7749768" y="422472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1" name="Freeform 4661"/>
          <p:cNvSpPr/>
          <p:nvPr/>
        </p:nvSpPr>
        <p:spPr>
          <a:xfrm>
            <a:off x="7829214" y="4226126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2" name="Freeform 4662"/>
          <p:cNvSpPr/>
          <p:nvPr/>
        </p:nvSpPr>
        <p:spPr>
          <a:xfrm>
            <a:off x="7964188" y="4224729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3" name="Freeform 4663"/>
          <p:cNvSpPr/>
          <p:nvPr/>
        </p:nvSpPr>
        <p:spPr>
          <a:xfrm>
            <a:off x="8037830" y="4224729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4" name="Freeform 4664"/>
          <p:cNvSpPr/>
          <p:nvPr/>
        </p:nvSpPr>
        <p:spPr>
          <a:xfrm>
            <a:off x="8112434" y="4224729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5" name="Freeform 4665"/>
          <p:cNvSpPr/>
          <p:nvPr/>
        </p:nvSpPr>
        <p:spPr>
          <a:xfrm>
            <a:off x="8187963" y="4226126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6" name="Freeform 4666"/>
          <p:cNvSpPr/>
          <p:nvPr/>
        </p:nvSpPr>
        <p:spPr>
          <a:xfrm>
            <a:off x="8265715" y="42261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7" name="Freeform 4667"/>
          <p:cNvSpPr/>
          <p:nvPr/>
        </p:nvSpPr>
        <p:spPr>
          <a:xfrm>
            <a:off x="8335768" y="4226126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8" name="Freeform 4668"/>
          <p:cNvSpPr/>
          <p:nvPr/>
        </p:nvSpPr>
        <p:spPr>
          <a:xfrm>
            <a:off x="8410584" y="4226126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69" name="Freeform 4669"/>
          <p:cNvSpPr/>
          <p:nvPr/>
        </p:nvSpPr>
        <p:spPr>
          <a:xfrm>
            <a:off x="8484252" y="4226126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0" name="Freeform 4670"/>
          <p:cNvSpPr/>
          <p:nvPr/>
        </p:nvSpPr>
        <p:spPr>
          <a:xfrm>
            <a:off x="4770472" y="439757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1" name="Freeform 4671"/>
          <p:cNvSpPr/>
          <p:nvPr/>
        </p:nvSpPr>
        <p:spPr>
          <a:xfrm>
            <a:off x="4849682" y="439617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2" name="Freeform 4672"/>
          <p:cNvSpPr/>
          <p:nvPr/>
        </p:nvSpPr>
        <p:spPr>
          <a:xfrm>
            <a:off x="4925124" y="439617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3" name="Freeform 4673"/>
          <p:cNvSpPr/>
          <p:nvPr/>
        </p:nvSpPr>
        <p:spPr>
          <a:xfrm>
            <a:off x="5004190" y="4366563"/>
            <a:ext cx="92769" cy="133134"/>
          </a:xfrm>
          <a:custGeom>
            <a:avLst/>
            <a:gdLst/>
            <a:ahLst/>
            <a:cxnLst/>
            <a:rect l="0" t="0" r="0" b="0"/>
            <a:pathLst>
              <a:path w="8433594" h="12103100">
                <a:moveTo>
                  <a:pt x="0" y="6221810"/>
                </a:moveTo>
                <a:cubicBezTo>
                  <a:pt x="0" y="5142575"/>
                  <a:pt x="220134" y="4284531"/>
                  <a:pt x="660400" y="3647679"/>
                </a:cubicBezTo>
                <a:cubicBezTo>
                  <a:pt x="1100667" y="3010827"/>
                  <a:pt x="1707356" y="2692400"/>
                  <a:pt x="2480469" y="2692400"/>
                </a:cubicBezTo>
                <a:cubicBezTo>
                  <a:pt x="2782226" y="2692400"/>
                  <a:pt x="3057128" y="2752395"/>
                  <a:pt x="3305175" y="2872383"/>
                </a:cubicBezTo>
                <a:lnTo>
                  <a:pt x="3305175" y="0"/>
                </a:lnTo>
                <a:lnTo>
                  <a:pt x="5097463" y="0"/>
                </a:lnTo>
                <a:lnTo>
                  <a:pt x="5097463" y="2878535"/>
                </a:lnTo>
                <a:cubicBezTo>
                  <a:pt x="5353712" y="2754446"/>
                  <a:pt x="5636882" y="2692400"/>
                  <a:pt x="5946974" y="2692400"/>
                </a:cubicBezTo>
                <a:cubicBezTo>
                  <a:pt x="6724187" y="2692400"/>
                  <a:pt x="7332927" y="3009768"/>
                  <a:pt x="7773194" y="3644504"/>
                </a:cubicBezTo>
                <a:cubicBezTo>
                  <a:pt x="8213461" y="4279239"/>
                  <a:pt x="8433594" y="5181733"/>
                  <a:pt x="8433594" y="6351985"/>
                </a:cubicBezTo>
                <a:cubicBezTo>
                  <a:pt x="8433594" y="7365207"/>
                  <a:pt x="8212402" y="8168548"/>
                  <a:pt x="7770019" y="8762008"/>
                </a:cubicBezTo>
                <a:cubicBezTo>
                  <a:pt x="7327768" y="9355336"/>
                  <a:pt x="6724187" y="9652000"/>
                  <a:pt x="5959277" y="9652000"/>
                </a:cubicBezTo>
                <a:cubicBezTo>
                  <a:pt x="5640983" y="9652000"/>
                  <a:pt x="5353712" y="9594122"/>
                  <a:pt x="5097463" y="9478368"/>
                </a:cubicBezTo>
                <a:lnTo>
                  <a:pt x="5097463" y="12103100"/>
                </a:lnTo>
                <a:lnTo>
                  <a:pt x="3305175" y="12103100"/>
                </a:lnTo>
                <a:lnTo>
                  <a:pt x="3305175" y="9484519"/>
                </a:lnTo>
                <a:cubicBezTo>
                  <a:pt x="3057128" y="9596172"/>
                  <a:pt x="2778125" y="9652000"/>
                  <a:pt x="2468166" y="9652000"/>
                </a:cubicBezTo>
                <a:cubicBezTo>
                  <a:pt x="1744663" y="9652000"/>
                  <a:pt x="1163770" y="9381133"/>
                  <a:pt x="725488" y="8839399"/>
                </a:cubicBezTo>
                <a:cubicBezTo>
                  <a:pt x="287338" y="8297665"/>
                  <a:pt x="47559" y="7555376"/>
                  <a:pt x="6152" y="6612533"/>
                </a:cubicBezTo>
                <a:close/>
                <a:moveTo>
                  <a:pt x="6635353" y="6221810"/>
                </a:moveTo>
                <a:cubicBezTo>
                  <a:pt x="6635353" y="5551885"/>
                  <a:pt x="6534018" y="5038064"/>
                  <a:pt x="6331347" y="4680347"/>
                </a:cubicBezTo>
                <a:cubicBezTo>
                  <a:pt x="6128808" y="4322498"/>
                  <a:pt x="5843588" y="4143574"/>
                  <a:pt x="5475685" y="4143574"/>
                </a:cubicBezTo>
                <a:cubicBezTo>
                  <a:pt x="5359929" y="4143574"/>
                  <a:pt x="5233856" y="4158060"/>
                  <a:pt x="5097463" y="4187032"/>
                </a:cubicBezTo>
                <a:lnTo>
                  <a:pt x="5097463" y="8176022"/>
                </a:lnTo>
                <a:cubicBezTo>
                  <a:pt x="5213218" y="8200893"/>
                  <a:pt x="5343393" y="8213329"/>
                  <a:pt x="5487988" y="8213329"/>
                </a:cubicBezTo>
                <a:cubicBezTo>
                  <a:pt x="6190853" y="8213329"/>
                  <a:pt x="6571192" y="7679796"/>
                  <a:pt x="6629003" y="6612732"/>
                </a:cubicBezTo>
                <a:close/>
                <a:moveTo>
                  <a:pt x="1792089" y="6352183"/>
                </a:moveTo>
                <a:cubicBezTo>
                  <a:pt x="1792089" y="7588846"/>
                  <a:pt x="2170377" y="8207177"/>
                  <a:pt x="2926953" y="8207177"/>
                </a:cubicBezTo>
                <a:cubicBezTo>
                  <a:pt x="3084116" y="8207177"/>
                  <a:pt x="3210190" y="8196858"/>
                  <a:pt x="3305175" y="8176221"/>
                </a:cubicBezTo>
                <a:lnTo>
                  <a:pt x="3305175" y="4187032"/>
                </a:lnTo>
                <a:cubicBezTo>
                  <a:pt x="3168782" y="4158060"/>
                  <a:pt x="3046876" y="4143574"/>
                  <a:pt x="2939455" y="4143574"/>
                </a:cubicBezTo>
                <a:cubicBezTo>
                  <a:pt x="2571419" y="4143574"/>
                  <a:pt x="2288183" y="4318331"/>
                  <a:pt x="2089746" y="4667846"/>
                </a:cubicBezTo>
                <a:cubicBezTo>
                  <a:pt x="1891308" y="5017361"/>
                  <a:pt x="1792089" y="5578806"/>
                  <a:pt x="1792089" y="635218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4" name="Freeform 4674"/>
          <p:cNvSpPr/>
          <p:nvPr/>
        </p:nvSpPr>
        <p:spPr>
          <a:xfrm>
            <a:off x="5106444" y="439617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5" name="Freeform 4675"/>
          <p:cNvSpPr/>
          <p:nvPr/>
        </p:nvSpPr>
        <p:spPr>
          <a:xfrm>
            <a:off x="5181474" y="4396179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6" name="Freeform 4676"/>
          <p:cNvSpPr/>
          <p:nvPr/>
        </p:nvSpPr>
        <p:spPr>
          <a:xfrm>
            <a:off x="5254257" y="4396179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7" name="Freeform 4677"/>
          <p:cNvSpPr/>
          <p:nvPr/>
        </p:nvSpPr>
        <p:spPr>
          <a:xfrm>
            <a:off x="5330110" y="439757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8" name="Freeform 4678"/>
          <p:cNvSpPr/>
          <p:nvPr/>
        </p:nvSpPr>
        <p:spPr>
          <a:xfrm>
            <a:off x="5409320" y="439757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79" name="Freeform 4679"/>
          <p:cNvSpPr/>
          <p:nvPr/>
        </p:nvSpPr>
        <p:spPr>
          <a:xfrm>
            <a:off x="5483346" y="4454556"/>
            <a:ext cx="23805" cy="41648"/>
          </a:xfrm>
          <a:custGeom>
            <a:avLst/>
            <a:gdLst/>
            <a:ahLst/>
            <a:cxnLst/>
            <a:rect l="0" t="0" r="0" b="0"/>
            <a:pathLst>
              <a:path w="2164160" h="3786187">
                <a:moveTo>
                  <a:pt x="936427" y="3786187"/>
                </a:moveTo>
                <a:lnTo>
                  <a:pt x="0" y="3296641"/>
                </a:lnTo>
                <a:lnTo>
                  <a:pt x="223242" y="2893813"/>
                </a:lnTo>
                <a:cubicBezTo>
                  <a:pt x="500261" y="2389782"/>
                  <a:pt x="642871" y="1887867"/>
                  <a:pt x="651074" y="1388070"/>
                </a:cubicBezTo>
                <a:lnTo>
                  <a:pt x="651074" y="0"/>
                </a:lnTo>
                <a:lnTo>
                  <a:pt x="2164160" y="0"/>
                </a:lnTo>
                <a:lnTo>
                  <a:pt x="2158008" y="1239441"/>
                </a:lnTo>
                <a:cubicBezTo>
                  <a:pt x="2153907" y="1697963"/>
                  <a:pt x="2038152" y="2160587"/>
                  <a:pt x="1810742" y="2627312"/>
                </a:cubicBezTo>
                <a:cubicBezTo>
                  <a:pt x="1583333" y="3094169"/>
                  <a:pt x="1291894" y="3480460"/>
                  <a:pt x="936427" y="378618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0" name="Freeform 4680"/>
          <p:cNvSpPr/>
          <p:nvPr/>
        </p:nvSpPr>
        <p:spPr>
          <a:xfrm>
            <a:off x="5554333" y="439617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1" name="Freeform 4681"/>
          <p:cNvSpPr/>
          <p:nvPr/>
        </p:nvSpPr>
        <p:spPr>
          <a:xfrm>
            <a:off x="5628920" y="4397576"/>
            <a:ext cx="66711" cy="73761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2" name="Freeform 4682"/>
          <p:cNvSpPr/>
          <p:nvPr/>
        </p:nvSpPr>
        <p:spPr>
          <a:xfrm>
            <a:off x="5705484" y="439617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3" name="Freeform 4683"/>
          <p:cNvSpPr/>
          <p:nvPr/>
        </p:nvSpPr>
        <p:spPr>
          <a:xfrm>
            <a:off x="5781062" y="4396179"/>
            <a:ext cx="65621" cy="7655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4" name="Freeform 4684"/>
          <p:cNvSpPr/>
          <p:nvPr/>
        </p:nvSpPr>
        <p:spPr>
          <a:xfrm>
            <a:off x="5855806" y="4396179"/>
            <a:ext cx="64665" cy="7655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5" name="Freeform 4685"/>
          <p:cNvSpPr/>
          <p:nvPr/>
        </p:nvSpPr>
        <p:spPr>
          <a:xfrm>
            <a:off x="5925588" y="4397576"/>
            <a:ext cx="70258" cy="73761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6" name="Freeform 4686"/>
          <p:cNvSpPr/>
          <p:nvPr/>
        </p:nvSpPr>
        <p:spPr>
          <a:xfrm>
            <a:off x="6011008" y="439757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7" name="Freeform 4687"/>
          <p:cNvSpPr/>
          <p:nvPr/>
        </p:nvSpPr>
        <p:spPr>
          <a:xfrm>
            <a:off x="6085034" y="4454556"/>
            <a:ext cx="23805" cy="41648"/>
          </a:xfrm>
          <a:custGeom>
            <a:avLst/>
            <a:gdLst/>
            <a:ahLst/>
            <a:cxnLst/>
            <a:rect l="0" t="0" r="0" b="0"/>
            <a:pathLst>
              <a:path w="2164160" h="3786187">
                <a:moveTo>
                  <a:pt x="936427" y="3786187"/>
                </a:moveTo>
                <a:lnTo>
                  <a:pt x="0" y="3296641"/>
                </a:lnTo>
                <a:lnTo>
                  <a:pt x="223242" y="2893813"/>
                </a:lnTo>
                <a:cubicBezTo>
                  <a:pt x="500261" y="2389782"/>
                  <a:pt x="642871" y="1887867"/>
                  <a:pt x="651074" y="1388070"/>
                </a:cubicBezTo>
                <a:lnTo>
                  <a:pt x="651074" y="0"/>
                </a:lnTo>
                <a:lnTo>
                  <a:pt x="2164160" y="0"/>
                </a:lnTo>
                <a:lnTo>
                  <a:pt x="2158008" y="1239441"/>
                </a:lnTo>
                <a:cubicBezTo>
                  <a:pt x="2153907" y="1697963"/>
                  <a:pt x="2038152" y="2160587"/>
                  <a:pt x="1810742" y="2627312"/>
                </a:cubicBezTo>
                <a:cubicBezTo>
                  <a:pt x="1583333" y="3094169"/>
                  <a:pt x="1291894" y="3480460"/>
                  <a:pt x="936427" y="378618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8" name="Freeform 4688"/>
          <p:cNvSpPr/>
          <p:nvPr/>
        </p:nvSpPr>
        <p:spPr>
          <a:xfrm>
            <a:off x="6159090" y="4396179"/>
            <a:ext cx="66438" cy="103517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89" name="Freeform 4689"/>
          <p:cNvSpPr/>
          <p:nvPr/>
        </p:nvSpPr>
        <p:spPr>
          <a:xfrm>
            <a:off x="6234941" y="4396179"/>
            <a:ext cx="66986" cy="7655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90" name="Freeform 4690"/>
          <p:cNvSpPr/>
          <p:nvPr/>
        </p:nvSpPr>
        <p:spPr>
          <a:xfrm>
            <a:off x="6313040" y="4397576"/>
            <a:ext cx="50272" cy="73761"/>
          </a:xfrm>
          <a:custGeom>
            <a:avLst/>
            <a:gdLst/>
            <a:ahLst/>
            <a:cxnLst/>
            <a:rect l="0" t="0" r="0" b="0"/>
            <a:pathLst>
              <a:path w="4570214" h="6705600">
                <a:moveTo>
                  <a:pt x="4570214" y="1451174"/>
                </a:move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5702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91" name="Freeform 4691"/>
          <p:cNvSpPr/>
          <p:nvPr/>
        </p:nvSpPr>
        <p:spPr>
          <a:xfrm>
            <a:off x="6371434" y="4397576"/>
            <a:ext cx="64187" cy="73761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92" name="Freeform 4692"/>
          <p:cNvSpPr/>
          <p:nvPr/>
        </p:nvSpPr>
        <p:spPr>
          <a:xfrm>
            <a:off x="6447575" y="4396179"/>
            <a:ext cx="69917" cy="7655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93" name="Freeform 4693"/>
          <p:cNvSpPr/>
          <p:nvPr/>
        </p:nvSpPr>
        <p:spPr>
          <a:xfrm>
            <a:off x="6529574" y="4397576"/>
            <a:ext cx="63982" cy="73761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94" name="Freeform 4694"/>
          <p:cNvSpPr/>
          <p:nvPr/>
        </p:nvSpPr>
        <p:spPr>
          <a:xfrm>
            <a:off x="6605851" y="4396179"/>
            <a:ext cx="65621" cy="7655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95" name="Rectangle 4695"/>
          <p:cNvSpPr/>
          <p:nvPr/>
        </p:nvSpPr>
        <p:spPr>
          <a:xfrm>
            <a:off x="4762900" y="4681269"/>
            <a:ext cx="27774" cy="137160"/>
          </a:xfrm>
          <a:prstGeom prst="rect">
            <a:avLst/>
          </a:prstGeom>
        </p:spPr>
      </p:sp>
      <p:sp>
        <p:nvSpPr>
          <p:cNvPr id="4696" name="Rectangle 4696"/>
          <p:cNvSpPr/>
          <p:nvPr/>
        </p:nvSpPr>
        <p:spPr>
          <a:xfrm>
            <a:off x="4330065" y="1507599"/>
            <a:ext cx="333451" cy="365759"/>
          </a:xfrm>
          <a:prstGeom prst="rect">
            <a:avLst/>
          </a:prstGeom>
        </p:spPr>
      </p:sp>
      <p:sp>
        <p:nvSpPr>
          <p:cNvPr id="4697" name="Freeform 4697"/>
          <p:cNvSpPr/>
          <p:nvPr/>
        </p:nvSpPr>
        <p:spPr>
          <a:xfrm>
            <a:off x="4348668" y="1577399"/>
            <a:ext cx="129630" cy="222808"/>
          </a:xfrm>
          <a:custGeom>
            <a:avLst/>
            <a:gdLst/>
            <a:ahLst/>
            <a:cxnLst/>
            <a:rect l="0" t="0" r="0" b="0"/>
            <a:pathLst>
              <a:path w="5401271" h="9283700">
                <a:moveTo>
                  <a:pt x="5401271" y="5475883"/>
                </a:moveTo>
                <a:cubicBezTo>
                  <a:pt x="5401271" y="6687278"/>
                  <a:pt x="5165593" y="7624763"/>
                  <a:pt x="4694238" y="8288338"/>
                </a:cubicBezTo>
                <a:cubicBezTo>
                  <a:pt x="4223015" y="8951913"/>
                  <a:pt x="3561623" y="9283700"/>
                  <a:pt x="2710061" y="9283700"/>
                </a:cubicBezTo>
                <a:cubicBezTo>
                  <a:pt x="1862468" y="9283700"/>
                  <a:pt x="1198894" y="8948804"/>
                  <a:pt x="719336" y="8279011"/>
                </a:cubicBezTo>
                <a:cubicBezTo>
                  <a:pt x="239779" y="7609219"/>
                  <a:pt x="0" y="6666574"/>
                  <a:pt x="0" y="5451079"/>
                </a:cubicBezTo>
                <a:lnTo>
                  <a:pt x="0" y="3813969"/>
                </a:lnTo>
                <a:cubicBezTo>
                  <a:pt x="0" y="2615010"/>
                  <a:pt x="236670" y="1679641"/>
                  <a:pt x="710010" y="1007865"/>
                </a:cubicBezTo>
                <a:cubicBezTo>
                  <a:pt x="1183482" y="335955"/>
                  <a:pt x="1845998" y="0"/>
                  <a:pt x="2697560" y="0"/>
                </a:cubicBezTo>
                <a:cubicBezTo>
                  <a:pt x="3553354" y="0"/>
                  <a:pt x="4217922" y="335955"/>
                  <a:pt x="4691261" y="1007865"/>
                </a:cubicBezTo>
                <a:cubicBezTo>
                  <a:pt x="5164601" y="1679641"/>
                  <a:pt x="5401271" y="2623278"/>
                  <a:pt x="5401271" y="3838774"/>
                </a:cubicBezTo>
                <a:close/>
                <a:moveTo>
                  <a:pt x="5066507" y="3813969"/>
                </a:moveTo>
                <a:cubicBezTo>
                  <a:pt x="5066507" y="2718330"/>
                  <a:pt x="4860793" y="1864585"/>
                  <a:pt x="4449366" y="1252736"/>
                </a:cubicBezTo>
                <a:cubicBezTo>
                  <a:pt x="4038071" y="640888"/>
                  <a:pt x="3454136" y="334963"/>
                  <a:pt x="2697560" y="334963"/>
                </a:cubicBezTo>
                <a:cubicBezTo>
                  <a:pt x="1936883" y="334963"/>
                  <a:pt x="1352947" y="641946"/>
                  <a:pt x="945754" y="1255911"/>
                </a:cubicBezTo>
                <a:cubicBezTo>
                  <a:pt x="538560" y="1869877"/>
                  <a:pt x="334963" y="2732882"/>
                  <a:pt x="334963" y="3844925"/>
                </a:cubicBezTo>
                <a:lnTo>
                  <a:pt x="334963" y="5463580"/>
                </a:lnTo>
                <a:cubicBezTo>
                  <a:pt x="334963" y="6554986"/>
                  <a:pt x="543719" y="7408731"/>
                  <a:pt x="961232" y="8024813"/>
                </a:cubicBezTo>
                <a:cubicBezTo>
                  <a:pt x="1378744" y="8640763"/>
                  <a:pt x="1961687" y="8948738"/>
                  <a:pt x="2710061" y="8948738"/>
                </a:cubicBezTo>
                <a:cubicBezTo>
                  <a:pt x="3462404" y="8948738"/>
                  <a:pt x="4043231" y="8640763"/>
                  <a:pt x="4452541" y="8024813"/>
                </a:cubicBezTo>
                <a:cubicBezTo>
                  <a:pt x="4861851" y="7408731"/>
                  <a:pt x="5066507" y="6544668"/>
                  <a:pt x="5066507" y="543262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98" name="Freeform 4698"/>
          <p:cNvSpPr/>
          <p:nvPr/>
        </p:nvSpPr>
        <p:spPr>
          <a:xfrm>
            <a:off x="4524623" y="1579837"/>
            <a:ext cx="70246" cy="217322"/>
          </a:xfrm>
          <a:custGeom>
            <a:avLst/>
            <a:gdLst/>
            <a:ahLst/>
            <a:cxnLst/>
            <a:rect l="0" t="0" r="0" b="0"/>
            <a:pathLst>
              <a:path w="2926953" h="9055100">
                <a:moveTo>
                  <a:pt x="2926953" y="9055100"/>
                </a:moveTo>
                <a:lnTo>
                  <a:pt x="2591991" y="9055100"/>
                </a:lnTo>
                <a:lnTo>
                  <a:pt x="2591991" y="446485"/>
                </a:lnTo>
                <a:lnTo>
                  <a:pt x="0" y="1420019"/>
                </a:lnTo>
                <a:lnTo>
                  <a:pt x="0" y="1054100"/>
                </a:lnTo>
                <a:lnTo>
                  <a:pt x="2858691" y="0"/>
                </a:lnTo>
                <a:lnTo>
                  <a:pt x="2926953" y="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699" name="Rectangle 4699"/>
          <p:cNvSpPr/>
          <p:nvPr/>
        </p:nvSpPr>
        <p:spPr>
          <a:xfrm>
            <a:off x="4330065" y="2181749"/>
            <a:ext cx="333451" cy="365759"/>
          </a:xfrm>
          <a:prstGeom prst="rect">
            <a:avLst/>
          </a:prstGeom>
        </p:spPr>
      </p:sp>
      <p:sp>
        <p:nvSpPr>
          <p:cNvPr id="4700" name="Freeform 4700"/>
          <p:cNvSpPr/>
          <p:nvPr/>
        </p:nvSpPr>
        <p:spPr>
          <a:xfrm>
            <a:off x="4348668" y="2251549"/>
            <a:ext cx="129630" cy="222808"/>
          </a:xfrm>
          <a:custGeom>
            <a:avLst/>
            <a:gdLst/>
            <a:ahLst/>
            <a:cxnLst/>
            <a:rect l="0" t="0" r="0" b="0"/>
            <a:pathLst>
              <a:path w="5401271" h="9283700">
                <a:moveTo>
                  <a:pt x="5401271" y="5475883"/>
                </a:moveTo>
                <a:cubicBezTo>
                  <a:pt x="5401271" y="6687278"/>
                  <a:pt x="5165593" y="7624763"/>
                  <a:pt x="4694238" y="8288338"/>
                </a:cubicBezTo>
                <a:cubicBezTo>
                  <a:pt x="4223015" y="8951913"/>
                  <a:pt x="3561623" y="9283700"/>
                  <a:pt x="2710061" y="9283700"/>
                </a:cubicBezTo>
                <a:cubicBezTo>
                  <a:pt x="1862468" y="9283700"/>
                  <a:pt x="1198894" y="8948804"/>
                  <a:pt x="719336" y="8279011"/>
                </a:cubicBezTo>
                <a:cubicBezTo>
                  <a:pt x="239779" y="7609219"/>
                  <a:pt x="0" y="6666574"/>
                  <a:pt x="0" y="5451079"/>
                </a:cubicBezTo>
                <a:lnTo>
                  <a:pt x="0" y="3813969"/>
                </a:lnTo>
                <a:cubicBezTo>
                  <a:pt x="0" y="2615010"/>
                  <a:pt x="236670" y="1679641"/>
                  <a:pt x="710010" y="1007865"/>
                </a:cubicBezTo>
                <a:cubicBezTo>
                  <a:pt x="1183482" y="335955"/>
                  <a:pt x="1845998" y="0"/>
                  <a:pt x="2697560" y="0"/>
                </a:cubicBezTo>
                <a:cubicBezTo>
                  <a:pt x="3553354" y="0"/>
                  <a:pt x="4217922" y="335955"/>
                  <a:pt x="4691261" y="1007865"/>
                </a:cubicBezTo>
                <a:cubicBezTo>
                  <a:pt x="5164601" y="1679641"/>
                  <a:pt x="5401271" y="2623278"/>
                  <a:pt x="5401271" y="3838774"/>
                </a:cubicBezTo>
                <a:close/>
                <a:moveTo>
                  <a:pt x="5066507" y="3813969"/>
                </a:moveTo>
                <a:cubicBezTo>
                  <a:pt x="5066507" y="2718330"/>
                  <a:pt x="4860793" y="1864585"/>
                  <a:pt x="4449366" y="1252736"/>
                </a:cubicBezTo>
                <a:cubicBezTo>
                  <a:pt x="4038071" y="640888"/>
                  <a:pt x="3454136" y="334963"/>
                  <a:pt x="2697560" y="334963"/>
                </a:cubicBezTo>
                <a:cubicBezTo>
                  <a:pt x="1936883" y="334963"/>
                  <a:pt x="1352947" y="641946"/>
                  <a:pt x="945754" y="1255911"/>
                </a:cubicBezTo>
                <a:cubicBezTo>
                  <a:pt x="538560" y="1869877"/>
                  <a:pt x="334963" y="2732882"/>
                  <a:pt x="334963" y="3844925"/>
                </a:cubicBezTo>
                <a:lnTo>
                  <a:pt x="334963" y="5463580"/>
                </a:lnTo>
                <a:cubicBezTo>
                  <a:pt x="334963" y="6554986"/>
                  <a:pt x="543719" y="7408731"/>
                  <a:pt x="961232" y="8024813"/>
                </a:cubicBezTo>
                <a:cubicBezTo>
                  <a:pt x="1378744" y="8640763"/>
                  <a:pt x="1961687" y="8948738"/>
                  <a:pt x="2710061" y="8948738"/>
                </a:cubicBezTo>
                <a:cubicBezTo>
                  <a:pt x="3462404" y="8948738"/>
                  <a:pt x="4043231" y="8640763"/>
                  <a:pt x="4452541" y="8024813"/>
                </a:cubicBezTo>
                <a:cubicBezTo>
                  <a:pt x="4861851" y="7408731"/>
                  <a:pt x="5066507" y="6544668"/>
                  <a:pt x="5066507" y="543262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01" name="Freeform 4701"/>
          <p:cNvSpPr/>
          <p:nvPr/>
        </p:nvSpPr>
        <p:spPr>
          <a:xfrm>
            <a:off x="4514203" y="2251549"/>
            <a:ext cx="134988" cy="219760"/>
          </a:xfrm>
          <a:custGeom>
            <a:avLst/>
            <a:gdLst/>
            <a:ahLst/>
            <a:cxnLst/>
            <a:rect l="0" t="0" r="0" b="0"/>
            <a:pathLst>
              <a:path w="5624513" h="9156700">
                <a:moveTo>
                  <a:pt x="5624513" y="9156700"/>
                </a:moveTo>
                <a:lnTo>
                  <a:pt x="223242" y="9156700"/>
                </a:lnTo>
                <a:lnTo>
                  <a:pt x="223242" y="8821738"/>
                </a:lnTo>
                <a:lnTo>
                  <a:pt x="3305373" y="5267127"/>
                </a:lnTo>
                <a:cubicBezTo>
                  <a:pt x="3809669" y="4675651"/>
                  <a:pt x="4184782" y="4150387"/>
                  <a:pt x="4430713" y="3691335"/>
                </a:cubicBezTo>
                <a:cubicBezTo>
                  <a:pt x="4676775" y="3232150"/>
                  <a:pt x="4799806" y="2810272"/>
                  <a:pt x="4799806" y="2425700"/>
                </a:cubicBezTo>
                <a:cubicBezTo>
                  <a:pt x="4799806" y="1763977"/>
                  <a:pt x="4607520" y="1250091"/>
                  <a:pt x="4222948" y="884040"/>
                </a:cubicBezTo>
                <a:cubicBezTo>
                  <a:pt x="3838509" y="517988"/>
                  <a:pt x="3296973" y="334963"/>
                  <a:pt x="2598341" y="334963"/>
                </a:cubicBezTo>
                <a:cubicBezTo>
                  <a:pt x="2176727" y="334963"/>
                  <a:pt x="1792288" y="436299"/>
                  <a:pt x="1445022" y="638969"/>
                </a:cubicBezTo>
                <a:cubicBezTo>
                  <a:pt x="1097756" y="841640"/>
                  <a:pt x="825897" y="1121834"/>
                  <a:pt x="629444" y="1479550"/>
                </a:cubicBezTo>
                <a:cubicBezTo>
                  <a:pt x="433123" y="1837267"/>
                  <a:pt x="334963" y="2235333"/>
                  <a:pt x="334963" y="2673747"/>
                </a:cubicBezTo>
                <a:lnTo>
                  <a:pt x="0" y="2673747"/>
                </a:lnTo>
                <a:cubicBezTo>
                  <a:pt x="0" y="2189824"/>
                  <a:pt x="111588" y="1741091"/>
                  <a:pt x="334764" y="1327547"/>
                </a:cubicBezTo>
                <a:cubicBezTo>
                  <a:pt x="558072" y="914004"/>
                  <a:pt x="868164" y="589360"/>
                  <a:pt x="1265039" y="353616"/>
                </a:cubicBezTo>
                <a:cubicBezTo>
                  <a:pt x="1661914" y="117872"/>
                  <a:pt x="2106348" y="0"/>
                  <a:pt x="2598341" y="0"/>
                </a:cubicBezTo>
                <a:cubicBezTo>
                  <a:pt x="3400425" y="0"/>
                  <a:pt x="4024709" y="212990"/>
                  <a:pt x="4471194" y="638969"/>
                </a:cubicBezTo>
                <a:cubicBezTo>
                  <a:pt x="4917678" y="1064949"/>
                  <a:pt x="5140920" y="1660525"/>
                  <a:pt x="5140920" y="2425700"/>
                </a:cubicBezTo>
                <a:cubicBezTo>
                  <a:pt x="5140920" y="3128831"/>
                  <a:pt x="4746096" y="3970470"/>
                  <a:pt x="3956447" y="4950619"/>
                </a:cubicBezTo>
                <a:lnTo>
                  <a:pt x="3392091" y="5639197"/>
                </a:lnTo>
                <a:lnTo>
                  <a:pt x="663575" y="8821738"/>
                </a:lnTo>
                <a:lnTo>
                  <a:pt x="5624513" y="8821738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02" name="Rectangle 4702"/>
          <p:cNvSpPr/>
          <p:nvPr/>
        </p:nvSpPr>
        <p:spPr>
          <a:xfrm>
            <a:off x="4330065" y="2855900"/>
            <a:ext cx="333451" cy="365759"/>
          </a:xfrm>
          <a:prstGeom prst="rect">
            <a:avLst/>
          </a:prstGeom>
        </p:spPr>
      </p:sp>
      <p:sp>
        <p:nvSpPr>
          <p:cNvPr id="4703" name="Freeform 4703"/>
          <p:cNvSpPr/>
          <p:nvPr/>
        </p:nvSpPr>
        <p:spPr>
          <a:xfrm>
            <a:off x="4348668" y="2925699"/>
            <a:ext cx="129630" cy="222808"/>
          </a:xfrm>
          <a:custGeom>
            <a:avLst/>
            <a:gdLst/>
            <a:ahLst/>
            <a:cxnLst/>
            <a:rect l="0" t="0" r="0" b="0"/>
            <a:pathLst>
              <a:path w="5401271" h="9283700">
                <a:moveTo>
                  <a:pt x="5401271" y="5475883"/>
                </a:moveTo>
                <a:cubicBezTo>
                  <a:pt x="5401271" y="6687278"/>
                  <a:pt x="5165593" y="7624763"/>
                  <a:pt x="4694238" y="8288338"/>
                </a:cubicBezTo>
                <a:cubicBezTo>
                  <a:pt x="4223015" y="8951913"/>
                  <a:pt x="3561623" y="9283700"/>
                  <a:pt x="2710061" y="9283700"/>
                </a:cubicBezTo>
                <a:cubicBezTo>
                  <a:pt x="1862468" y="9283700"/>
                  <a:pt x="1198894" y="8948804"/>
                  <a:pt x="719336" y="8279011"/>
                </a:cubicBezTo>
                <a:cubicBezTo>
                  <a:pt x="239779" y="7609219"/>
                  <a:pt x="0" y="6666574"/>
                  <a:pt x="0" y="5451079"/>
                </a:cubicBezTo>
                <a:lnTo>
                  <a:pt x="0" y="3813969"/>
                </a:lnTo>
                <a:cubicBezTo>
                  <a:pt x="0" y="2615010"/>
                  <a:pt x="236670" y="1679641"/>
                  <a:pt x="710010" y="1007865"/>
                </a:cubicBezTo>
                <a:cubicBezTo>
                  <a:pt x="1183482" y="335955"/>
                  <a:pt x="1845998" y="0"/>
                  <a:pt x="2697560" y="0"/>
                </a:cubicBezTo>
                <a:cubicBezTo>
                  <a:pt x="3553354" y="0"/>
                  <a:pt x="4217922" y="335955"/>
                  <a:pt x="4691261" y="1007865"/>
                </a:cubicBezTo>
                <a:cubicBezTo>
                  <a:pt x="5164601" y="1679641"/>
                  <a:pt x="5401271" y="2623278"/>
                  <a:pt x="5401271" y="3838774"/>
                </a:cubicBezTo>
                <a:close/>
                <a:moveTo>
                  <a:pt x="5066507" y="3813969"/>
                </a:moveTo>
                <a:cubicBezTo>
                  <a:pt x="5066507" y="2718330"/>
                  <a:pt x="4860793" y="1864585"/>
                  <a:pt x="4449366" y="1252736"/>
                </a:cubicBezTo>
                <a:cubicBezTo>
                  <a:pt x="4038071" y="640888"/>
                  <a:pt x="3454136" y="334963"/>
                  <a:pt x="2697560" y="334963"/>
                </a:cubicBezTo>
                <a:cubicBezTo>
                  <a:pt x="1936883" y="334963"/>
                  <a:pt x="1352947" y="641946"/>
                  <a:pt x="945754" y="1255911"/>
                </a:cubicBezTo>
                <a:cubicBezTo>
                  <a:pt x="538560" y="1869877"/>
                  <a:pt x="334963" y="2732882"/>
                  <a:pt x="334963" y="3844925"/>
                </a:cubicBezTo>
                <a:lnTo>
                  <a:pt x="334963" y="5463580"/>
                </a:lnTo>
                <a:cubicBezTo>
                  <a:pt x="334963" y="6554986"/>
                  <a:pt x="543719" y="7408731"/>
                  <a:pt x="961232" y="8024813"/>
                </a:cubicBezTo>
                <a:cubicBezTo>
                  <a:pt x="1378744" y="8640763"/>
                  <a:pt x="1961687" y="8948738"/>
                  <a:pt x="2710061" y="8948738"/>
                </a:cubicBezTo>
                <a:cubicBezTo>
                  <a:pt x="3462404" y="8948738"/>
                  <a:pt x="4043231" y="8640763"/>
                  <a:pt x="4452541" y="8024813"/>
                </a:cubicBezTo>
                <a:cubicBezTo>
                  <a:pt x="4861851" y="7408731"/>
                  <a:pt x="5066507" y="6544668"/>
                  <a:pt x="5066507" y="543262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04" name="Freeform 4704"/>
          <p:cNvSpPr/>
          <p:nvPr/>
        </p:nvSpPr>
        <p:spPr>
          <a:xfrm>
            <a:off x="4512121" y="2925699"/>
            <a:ext cx="134540" cy="222808"/>
          </a:xfrm>
          <a:custGeom>
            <a:avLst/>
            <a:gdLst/>
            <a:ahLst/>
            <a:cxnLst/>
            <a:rect l="0" t="0" r="0" b="0"/>
            <a:pathLst>
              <a:path w="5605859" h="9283700">
                <a:moveTo>
                  <a:pt x="1947069" y="4368800"/>
                </a:moveTo>
                <a:lnTo>
                  <a:pt x="2703711" y="4368800"/>
                </a:lnTo>
                <a:cubicBezTo>
                  <a:pt x="3410677" y="4356365"/>
                  <a:pt x="3982177" y="4168709"/>
                  <a:pt x="4418211" y="3805833"/>
                </a:cubicBezTo>
                <a:cubicBezTo>
                  <a:pt x="4854376" y="3442825"/>
                  <a:pt x="5072459" y="2980862"/>
                  <a:pt x="5072459" y="2419946"/>
                </a:cubicBezTo>
                <a:cubicBezTo>
                  <a:pt x="5072459" y="1780580"/>
                  <a:pt x="4877130" y="1273241"/>
                  <a:pt x="4486473" y="897930"/>
                </a:cubicBezTo>
                <a:cubicBezTo>
                  <a:pt x="4095816" y="522619"/>
                  <a:pt x="3553222" y="334963"/>
                  <a:pt x="2858690" y="334963"/>
                </a:cubicBezTo>
                <a:cubicBezTo>
                  <a:pt x="2180696" y="334963"/>
                  <a:pt x="1622557" y="532938"/>
                  <a:pt x="1184275" y="928886"/>
                </a:cubicBezTo>
                <a:cubicBezTo>
                  <a:pt x="746125" y="1324835"/>
                  <a:pt x="527050" y="1844543"/>
                  <a:pt x="527050" y="2488010"/>
                </a:cubicBezTo>
                <a:lnTo>
                  <a:pt x="192286" y="2488010"/>
                </a:lnTo>
                <a:cubicBezTo>
                  <a:pt x="192286" y="2009379"/>
                  <a:pt x="308041" y="1580291"/>
                  <a:pt x="539551" y="1200746"/>
                </a:cubicBezTo>
                <a:cubicBezTo>
                  <a:pt x="771062" y="821069"/>
                  <a:pt x="1091406" y="526058"/>
                  <a:pt x="1500584" y="315715"/>
                </a:cubicBezTo>
                <a:cubicBezTo>
                  <a:pt x="1909895" y="105238"/>
                  <a:pt x="2362597" y="0"/>
                  <a:pt x="2858690" y="0"/>
                </a:cubicBezTo>
                <a:cubicBezTo>
                  <a:pt x="3640005" y="0"/>
                  <a:pt x="4260122" y="219737"/>
                  <a:pt x="4719042" y="659210"/>
                </a:cubicBezTo>
                <a:cubicBezTo>
                  <a:pt x="5177962" y="1098550"/>
                  <a:pt x="5407422" y="1693599"/>
                  <a:pt x="5407422" y="2444354"/>
                </a:cubicBezTo>
                <a:cubicBezTo>
                  <a:pt x="5407422" y="2922985"/>
                  <a:pt x="5255485" y="3350022"/>
                  <a:pt x="4951611" y="3725466"/>
                </a:cubicBezTo>
                <a:cubicBezTo>
                  <a:pt x="4647737" y="4100910"/>
                  <a:pt x="4237434" y="4367015"/>
                  <a:pt x="3720703" y="4523780"/>
                </a:cubicBezTo>
                <a:cubicBezTo>
                  <a:pt x="4311915" y="4660702"/>
                  <a:pt x="4773877" y="4917877"/>
                  <a:pt x="5106590" y="5295305"/>
                </a:cubicBezTo>
                <a:cubicBezTo>
                  <a:pt x="5439436" y="5672733"/>
                  <a:pt x="5605859" y="6160162"/>
                  <a:pt x="5605859" y="6757591"/>
                </a:cubicBezTo>
                <a:cubicBezTo>
                  <a:pt x="5605859" y="7529116"/>
                  <a:pt x="5359863" y="8143016"/>
                  <a:pt x="4867870" y="8599290"/>
                </a:cubicBezTo>
                <a:cubicBezTo>
                  <a:pt x="4375877" y="9055564"/>
                  <a:pt x="3724738" y="9283700"/>
                  <a:pt x="2914451" y="9283700"/>
                </a:cubicBezTo>
                <a:cubicBezTo>
                  <a:pt x="2368748" y="9283700"/>
                  <a:pt x="1864386" y="9165497"/>
                  <a:pt x="1401365" y="8929093"/>
                </a:cubicBezTo>
                <a:cubicBezTo>
                  <a:pt x="938345" y="8692687"/>
                  <a:pt x="589028" y="8379553"/>
                  <a:pt x="353417" y="7989690"/>
                </a:cubicBezTo>
                <a:cubicBezTo>
                  <a:pt x="117806" y="7599694"/>
                  <a:pt x="0" y="7149638"/>
                  <a:pt x="0" y="6639521"/>
                </a:cubicBezTo>
                <a:lnTo>
                  <a:pt x="334764" y="6639521"/>
                </a:lnTo>
                <a:cubicBezTo>
                  <a:pt x="334764" y="7303493"/>
                  <a:pt x="578644" y="7854355"/>
                  <a:pt x="1066403" y="8292108"/>
                </a:cubicBezTo>
                <a:cubicBezTo>
                  <a:pt x="1554295" y="8729861"/>
                  <a:pt x="2170311" y="8948738"/>
                  <a:pt x="2914451" y="8948738"/>
                </a:cubicBezTo>
                <a:cubicBezTo>
                  <a:pt x="3654491" y="8948738"/>
                  <a:pt x="4232209" y="8756849"/>
                  <a:pt x="4647605" y="8373071"/>
                </a:cubicBezTo>
                <a:cubicBezTo>
                  <a:pt x="5063133" y="7989160"/>
                  <a:pt x="5270897" y="7459002"/>
                  <a:pt x="5270897" y="6782594"/>
                </a:cubicBezTo>
                <a:cubicBezTo>
                  <a:pt x="5270897" y="6114521"/>
                  <a:pt x="5048713" y="5604140"/>
                  <a:pt x="4604345" y="5251450"/>
                </a:cubicBezTo>
                <a:cubicBezTo>
                  <a:pt x="4159977" y="4898629"/>
                  <a:pt x="3509896" y="4720167"/>
                  <a:pt x="2654101" y="4716066"/>
                </a:cubicBezTo>
                <a:lnTo>
                  <a:pt x="1947069" y="4716066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05" name="Rectangle 4705"/>
          <p:cNvSpPr/>
          <p:nvPr/>
        </p:nvSpPr>
        <p:spPr>
          <a:xfrm>
            <a:off x="4330065" y="3533784"/>
            <a:ext cx="333451" cy="365759"/>
          </a:xfrm>
          <a:prstGeom prst="rect">
            <a:avLst/>
          </a:prstGeom>
        </p:spPr>
      </p:sp>
      <p:sp>
        <p:nvSpPr>
          <p:cNvPr id="4706" name="Freeform 4706"/>
          <p:cNvSpPr/>
          <p:nvPr/>
        </p:nvSpPr>
        <p:spPr>
          <a:xfrm>
            <a:off x="4348668" y="3603584"/>
            <a:ext cx="129630" cy="222808"/>
          </a:xfrm>
          <a:custGeom>
            <a:avLst/>
            <a:gdLst/>
            <a:ahLst/>
            <a:cxnLst/>
            <a:rect l="0" t="0" r="0" b="0"/>
            <a:pathLst>
              <a:path w="5401271" h="9283700">
                <a:moveTo>
                  <a:pt x="5401271" y="5475883"/>
                </a:moveTo>
                <a:cubicBezTo>
                  <a:pt x="5401271" y="6687278"/>
                  <a:pt x="5165593" y="7624763"/>
                  <a:pt x="4694238" y="8288338"/>
                </a:cubicBezTo>
                <a:cubicBezTo>
                  <a:pt x="4223015" y="8951913"/>
                  <a:pt x="3561623" y="9283700"/>
                  <a:pt x="2710061" y="9283700"/>
                </a:cubicBezTo>
                <a:cubicBezTo>
                  <a:pt x="1862468" y="9283700"/>
                  <a:pt x="1198894" y="8948804"/>
                  <a:pt x="719336" y="8279011"/>
                </a:cubicBezTo>
                <a:cubicBezTo>
                  <a:pt x="239779" y="7609219"/>
                  <a:pt x="0" y="6666574"/>
                  <a:pt x="0" y="5451079"/>
                </a:cubicBezTo>
                <a:lnTo>
                  <a:pt x="0" y="3813969"/>
                </a:lnTo>
                <a:cubicBezTo>
                  <a:pt x="0" y="2615010"/>
                  <a:pt x="236670" y="1679641"/>
                  <a:pt x="710010" y="1007865"/>
                </a:cubicBezTo>
                <a:cubicBezTo>
                  <a:pt x="1183482" y="335955"/>
                  <a:pt x="1845998" y="0"/>
                  <a:pt x="2697560" y="0"/>
                </a:cubicBezTo>
                <a:cubicBezTo>
                  <a:pt x="3553354" y="0"/>
                  <a:pt x="4217922" y="335955"/>
                  <a:pt x="4691261" y="1007865"/>
                </a:cubicBezTo>
                <a:cubicBezTo>
                  <a:pt x="5164601" y="1679641"/>
                  <a:pt x="5401271" y="2623278"/>
                  <a:pt x="5401271" y="3838774"/>
                </a:cubicBezTo>
                <a:close/>
                <a:moveTo>
                  <a:pt x="5066507" y="3813969"/>
                </a:moveTo>
                <a:cubicBezTo>
                  <a:pt x="5066507" y="2718330"/>
                  <a:pt x="4860793" y="1864585"/>
                  <a:pt x="4449366" y="1252736"/>
                </a:cubicBezTo>
                <a:cubicBezTo>
                  <a:pt x="4038071" y="640888"/>
                  <a:pt x="3454136" y="334963"/>
                  <a:pt x="2697560" y="334963"/>
                </a:cubicBezTo>
                <a:cubicBezTo>
                  <a:pt x="1936883" y="334963"/>
                  <a:pt x="1352947" y="641946"/>
                  <a:pt x="945754" y="1255911"/>
                </a:cubicBezTo>
                <a:cubicBezTo>
                  <a:pt x="538560" y="1869877"/>
                  <a:pt x="334963" y="2732882"/>
                  <a:pt x="334963" y="3844925"/>
                </a:cubicBezTo>
                <a:lnTo>
                  <a:pt x="334963" y="5463580"/>
                </a:lnTo>
                <a:cubicBezTo>
                  <a:pt x="334963" y="6554986"/>
                  <a:pt x="543719" y="7408731"/>
                  <a:pt x="961232" y="8024813"/>
                </a:cubicBezTo>
                <a:cubicBezTo>
                  <a:pt x="1378744" y="8640763"/>
                  <a:pt x="1961687" y="8948738"/>
                  <a:pt x="2710061" y="8948738"/>
                </a:cubicBezTo>
                <a:cubicBezTo>
                  <a:pt x="3462404" y="8948738"/>
                  <a:pt x="4043231" y="8640763"/>
                  <a:pt x="4452541" y="8024813"/>
                </a:cubicBezTo>
                <a:cubicBezTo>
                  <a:pt x="4861851" y="7408731"/>
                  <a:pt x="5066507" y="6544668"/>
                  <a:pt x="5066507" y="543262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07" name="Freeform 4707"/>
          <p:cNvSpPr/>
          <p:nvPr/>
        </p:nvSpPr>
        <p:spPr>
          <a:xfrm>
            <a:off x="4508997" y="3606632"/>
            <a:ext cx="150614" cy="216712"/>
          </a:xfrm>
          <a:custGeom>
            <a:avLst/>
            <a:gdLst/>
            <a:ahLst/>
            <a:cxnLst/>
            <a:rect l="0" t="0" r="0" b="0"/>
            <a:pathLst>
              <a:path w="6275586" h="9029700">
                <a:moveTo>
                  <a:pt x="4712890" y="6235700"/>
                </a:moveTo>
                <a:lnTo>
                  <a:pt x="6275586" y="6235700"/>
                </a:lnTo>
                <a:lnTo>
                  <a:pt x="6275586" y="6570663"/>
                </a:lnTo>
                <a:lnTo>
                  <a:pt x="4712890" y="6570663"/>
                </a:lnTo>
                <a:lnTo>
                  <a:pt x="4712890" y="9029700"/>
                </a:lnTo>
                <a:lnTo>
                  <a:pt x="4377928" y="9029700"/>
                </a:lnTo>
                <a:lnTo>
                  <a:pt x="4377928" y="6570663"/>
                </a:lnTo>
                <a:lnTo>
                  <a:pt x="0" y="6570663"/>
                </a:lnTo>
                <a:lnTo>
                  <a:pt x="0" y="6384529"/>
                </a:lnTo>
                <a:lnTo>
                  <a:pt x="4309665" y="0"/>
                </a:lnTo>
                <a:lnTo>
                  <a:pt x="4712890" y="0"/>
                </a:lnTo>
                <a:close/>
                <a:moveTo>
                  <a:pt x="520898" y="6235700"/>
                </a:moveTo>
                <a:lnTo>
                  <a:pt x="4377928" y="6235700"/>
                </a:lnTo>
                <a:lnTo>
                  <a:pt x="4377928" y="403027"/>
                </a:lnTo>
                <a:lnTo>
                  <a:pt x="3857030" y="1259285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08" name="Rectangle 4708"/>
          <p:cNvSpPr/>
          <p:nvPr/>
        </p:nvSpPr>
        <p:spPr>
          <a:xfrm>
            <a:off x="4330065" y="4211670"/>
            <a:ext cx="333451" cy="365759"/>
          </a:xfrm>
          <a:prstGeom prst="rect">
            <a:avLst/>
          </a:prstGeom>
        </p:spPr>
      </p:sp>
      <p:sp>
        <p:nvSpPr>
          <p:cNvPr id="4709" name="Freeform 4709"/>
          <p:cNvSpPr/>
          <p:nvPr/>
        </p:nvSpPr>
        <p:spPr>
          <a:xfrm>
            <a:off x="4348668" y="4281469"/>
            <a:ext cx="129630" cy="222808"/>
          </a:xfrm>
          <a:custGeom>
            <a:avLst/>
            <a:gdLst/>
            <a:ahLst/>
            <a:cxnLst/>
            <a:rect l="0" t="0" r="0" b="0"/>
            <a:pathLst>
              <a:path w="5401271" h="9283700">
                <a:moveTo>
                  <a:pt x="5401271" y="5475883"/>
                </a:moveTo>
                <a:cubicBezTo>
                  <a:pt x="5401271" y="6687278"/>
                  <a:pt x="5165593" y="7624763"/>
                  <a:pt x="4694238" y="8288338"/>
                </a:cubicBezTo>
                <a:cubicBezTo>
                  <a:pt x="4223015" y="8951913"/>
                  <a:pt x="3561623" y="9283700"/>
                  <a:pt x="2710061" y="9283700"/>
                </a:cubicBezTo>
                <a:cubicBezTo>
                  <a:pt x="1862468" y="9283700"/>
                  <a:pt x="1198894" y="8948804"/>
                  <a:pt x="719336" y="8279011"/>
                </a:cubicBezTo>
                <a:cubicBezTo>
                  <a:pt x="239779" y="7609219"/>
                  <a:pt x="0" y="6666574"/>
                  <a:pt x="0" y="5451079"/>
                </a:cubicBezTo>
                <a:lnTo>
                  <a:pt x="0" y="3813969"/>
                </a:lnTo>
                <a:cubicBezTo>
                  <a:pt x="0" y="2615010"/>
                  <a:pt x="236670" y="1679641"/>
                  <a:pt x="710010" y="1007865"/>
                </a:cubicBezTo>
                <a:cubicBezTo>
                  <a:pt x="1183482" y="335955"/>
                  <a:pt x="1845998" y="0"/>
                  <a:pt x="2697560" y="0"/>
                </a:cubicBezTo>
                <a:cubicBezTo>
                  <a:pt x="3553354" y="0"/>
                  <a:pt x="4217922" y="335955"/>
                  <a:pt x="4691261" y="1007865"/>
                </a:cubicBezTo>
                <a:cubicBezTo>
                  <a:pt x="5164601" y="1679641"/>
                  <a:pt x="5401271" y="2623278"/>
                  <a:pt x="5401271" y="3838774"/>
                </a:cubicBezTo>
                <a:close/>
                <a:moveTo>
                  <a:pt x="5066507" y="3813969"/>
                </a:moveTo>
                <a:cubicBezTo>
                  <a:pt x="5066507" y="2718330"/>
                  <a:pt x="4860793" y="1864585"/>
                  <a:pt x="4449366" y="1252736"/>
                </a:cubicBezTo>
                <a:cubicBezTo>
                  <a:pt x="4038071" y="640888"/>
                  <a:pt x="3454136" y="334963"/>
                  <a:pt x="2697560" y="334963"/>
                </a:cubicBezTo>
                <a:cubicBezTo>
                  <a:pt x="1936883" y="334963"/>
                  <a:pt x="1352947" y="641946"/>
                  <a:pt x="945754" y="1255911"/>
                </a:cubicBezTo>
                <a:cubicBezTo>
                  <a:pt x="538560" y="1869877"/>
                  <a:pt x="334963" y="2732882"/>
                  <a:pt x="334963" y="3844925"/>
                </a:cubicBezTo>
                <a:lnTo>
                  <a:pt x="334963" y="5463580"/>
                </a:lnTo>
                <a:cubicBezTo>
                  <a:pt x="334963" y="6554986"/>
                  <a:pt x="543719" y="7408731"/>
                  <a:pt x="961232" y="8024813"/>
                </a:cubicBezTo>
                <a:cubicBezTo>
                  <a:pt x="1378744" y="8640763"/>
                  <a:pt x="1961687" y="8948738"/>
                  <a:pt x="2710061" y="8948738"/>
                </a:cubicBezTo>
                <a:cubicBezTo>
                  <a:pt x="3462404" y="8948738"/>
                  <a:pt x="4043231" y="8640763"/>
                  <a:pt x="4452541" y="8024813"/>
                </a:cubicBezTo>
                <a:cubicBezTo>
                  <a:pt x="4861851" y="7408731"/>
                  <a:pt x="5066507" y="6544668"/>
                  <a:pt x="5066507" y="543262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10" name="Freeform 4710"/>
          <p:cNvSpPr/>
          <p:nvPr/>
        </p:nvSpPr>
        <p:spPr>
          <a:xfrm>
            <a:off x="4523880" y="4284517"/>
            <a:ext cx="125310" cy="219760"/>
          </a:xfrm>
          <a:custGeom>
            <a:avLst/>
            <a:gdLst/>
            <a:ahLst/>
            <a:cxnLst/>
            <a:rect l="0" t="0" r="0" b="0"/>
            <a:pathLst>
              <a:path w="5221288" h="9156700">
                <a:moveTo>
                  <a:pt x="303808" y="4307880"/>
                </a:moveTo>
                <a:lnTo>
                  <a:pt x="725488" y="0"/>
                </a:lnTo>
                <a:lnTo>
                  <a:pt x="5128220" y="0"/>
                </a:lnTo>
                <a:lnTo>
                  <a:pt x="5128220" y="328613"/>
                </a:lnTo>
                <a:lnTo>
                  <a:pt x="1029295" y="328613"/>
                </a:lnTo>
                <a:lnTo>
                  <a:pt x="663377" y="3954265"/>
                </a:lnTo>
                <a:cubicBezTo>
                  <a:pt x="878350" y="3776465"/>
                  <a:pt x="1162579" y="3631804"/>
                  <a:pt x="1516063" y="3520282"/>
                </a:cubicBezTo>
                <a:cubicBezTo>
                  <a:pt x="1869546" y="3408628"/>
                  <a:pt x="2215819" y="3352800"/>
                  <a:pt x="2554883" y="3352800"/>
                </a:cubicBezTo>
                <a:cubicBezTo>
                  <a:pt x="3365169" y="3352800"/>
                  <a:pt x="4012142" y="3609115"/>
                  <a:pt x="4495800" y="4121746"/>
                </a:cubicBezTo>
                <a:cubicBezTo>
                  <a:pt x="4979458" y="4634244"/>
                  <a:pt x="5221288" y="5312172"/>
                  <a:pt x="5221288" y="6155532"/>
                </a:cubicBezTo>
                <a:cubicBezTo>
                  <a:pt x="5221288" y="7135284"/>
                  <a:pt x="5002146" y="7880417"/>
                  <a:pt x="4563864" y="8390930"/>
                </a:cubicBezTo>
                <a:cubicBezTo>
                  <a:pt x="4125714" y="8901444"/>
                  <a:pt x="3497395" y="9156700"/>
                  <a:pt x="2678906" y="9156700"/>
                </a:cubicBezTo>
                <a:cubicBezTo>
                  <a:pt x="1905794" y="9156700"/>
                  <a:pt x="1281509" y="8935575"/>
                  <a:pt x="806053" y="8493324"/>
                </a:cubicBezTo>
                <a:cubicBezTo>
                  <a:pt x="330597" y="8050941"/>
                  <a:pt x="61913" y="7439092"/>
                  <a:pt x="0" y="6657777"/>
                </a:cubicBezTo>
                <a:lnTo>
                  <a:pt x="340916" y="6657777"/>
                </a:lnTo>
                <a:cubicBezTo>
                  <a:pt x="407061" y="7364611"/>
                  <a:pt x="638572" y="7901980"/>
                  <a:pt x="1035447" y="8269883"/>
                </a:cubicBezTo>
                <a:cubicBezTo>
                  <a:pt x="1432322" y="8637786"/>
                  <a:pt x="1980142" y="8821738"/>
                  <a:pt x="2678906" y="8821738"/>
                </a:cubicBezTo>
                <a:cubicBezTo>
                  <a:pt x="3423047" y="8821738"/>
                  <a:pt x="3975960" y="8597504"/>
                  <a:pt x="4337645" y="8149035"/>
                </a:cubicBezTo>
                <a:cubicBezTo>
                  <a:pt x="4699331" y="7700566"/>
                  <a:pt x="4880173" y="7040232"/>
                  <a:pt x="4880173" y="6168033"/>
                </a:cubicBezTo>
                <a:cubicBezTo>
                  <a:pt x="4880173" y="5415690"/>
                  <a:pt x="4670359" y="4814226"/>
                  <a:pt x="4250730" y="4363641"/>
                </a:cubicBezTo>
                <a:cubicBezTo>
                  <a:pt x="3831233" y="3913056"/>
                  <a:pt x="3268001" y="3687763"/>
                  <a:pt x="2561034" y="3687763"/>
                </a:cubicBezTo>
                <a:cubicBezTo>
                  <a:pt x="2126985" y="3687763"/>
                  <a:pt x="1748697" y="3745640"/>
                  <a:pt x="1426170" y="3861396"/>
                </a:cubicBezTo>
                <a:cubicBezTo>
                  <a:pt x="1103775" y="3977151"/>
                  <a:pt x="814388" y="4159052"/>
                  <a:pt x="558006" y="4407099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30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11" name="Rectangle 4711"/>
          <p:cNvSpPr/>
          <p:nvPr/>
        </p:nvSpPr>
        <p:spPr>
          <a:xfrm>
            <a:off x="934658" y="2791759"/>
            <a:ext cx="1179956" cy="476250"/>
          </a:xfrm>
          <a:prstGeom prst="rect">
            <a:avLst/>
          </a:prstGeom>
        </p:spPr>
      </p:sp>
      <p:sp>
        <p:nvSpPr>
          <p:cNvPr id="4712" name="Freeform 4712"/>
          <p:cNvSpPr/>
          <p:nvPr/>
        </p:nvSpPr>
        <p:spPr>
          <a:xfrm>
            <a:off x="937263" y="2837289"/>
            <a:ext cx="119154" cy="135445"/>
          </a:xfrm>
          <a:custGeom>
            <a:avLst/>
            <a:gdLst/>
            <a:ahLst/>
            <a:cxnLst/>
            <a:rect l="0" t="0" r="0" b="0"/>
            <a:pathLst>
              <a:path w="7943652" h="9029700">
                <a:moveTo>
                  <a:pt x="5860058" y="6669485"/>
                </a:moveTo>
                <a:lnTo>
                  <a:pt x="2077443" y="6669485"/>
                </a:lnTo>
                <a:lnTo>
                  <a:pt x="1227932" y="9029700"/>
                </a:lnTo>
                <a:lnTo>
                  <a:pt x="0" y="9029700"/>
                </a:lnTo>
                <a:lnTo>
                  <a:pt x="3447852" y="0"/>
                </a:lnTo>
                <a:lnTo>
                  <a:pt x="4489649" y="0"/>
                </a:lnTo>
                <a:lnTo>
                  <a:pt x="7943652" y="9029700"/>
                </a:lnTo>
                <a:lnTo>
                  <a:pt x="6722071" y="9029700"/>
                </a:lnTo>
                <a:close/>
                <a:moveTo>
                  <a:pt x="2437011" y="5689600"/>
                </a:moveTo>
                <a:lnTo>
                  <a:pt x="5506641" y="5689600"/>
                </a:lnTo>
                <a:lnTo>
                  <a:pt x="3968750" y="1469827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13" name="Freeform 4713"/>
          <p:cNvSpPr/>
          <p:nvPr/>
        </p:nvSpPr>
        <p:spPr>
          <a:xfrm>
            <a:off x="1057632" y="2872151"/>
            <a:ext cx="84087" cy="10058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14" name="Freeform 4714"/>
          <p:cNvSpPr/>
          <p:nvPr/>
        </p:nvSpPr>
        <p:spPr>
          <a:xfrm>
            <a:off x="1142015" y="2872151"/>
            <a:ext cx="91437" cy="10058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15" name="Freeform 4715"/>
          <p:cNvSpPr/>
          <p:nvPr/>
        </p:nvSpPr>
        <p:spPr>
          <a:xfrm>
            <a:off x="1258169" y="2870246"/>
            <a:ext cx="83066" cy="104394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16" name="Freeform 4716"/>
          <p:cNvSpPr/>
          <p:nvPr/>
        </p:nvSpPr>
        <p:spPr>
          <a:xfrm>
            <a:off x="1360030" y="2870246"/>
            <a:ext cx="84832" cy="104394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17" name="Freeform 4717"/>
          <p:cNvSpPr/>
          <p:nvPr/>
        </p:nvSpPr>
        <p:spPr>
          <a:xfrm>
            <a:off x="1512668" y="2872151"/>
            <a:ext cx="80739" cy="10058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18" name="Freeform 4718"/>
          <p:cNvSpPr/>
          <p:nvPr/>
        </p:nvSpPr>
        <p:spPr>
          <a:xfrm>
            <a:off x="1616351" y="2870246"/>
            <a:ext cx="91621" cy="104394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19" name="Freeform 4719"/>
          <p:cNvSpPr/>
          <p:nvPr/>
        </p:nvSpPr>
        <p:spPr>
          <a:xfrm>
            <a:off x="1731073" y="2872151"/>
            <a:ext cx="84459" cy="10058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0" name="Freeform 4720"/>
          <p:cNvSpPr/>
          <p:nvPr/>
        </p:nvSpPr>
        <p:spPr>
          <a:xfrm>
            <a:off x="1839849" y="2872151"/>
            <a:ext cx="116273" cy="10058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1" name="Freeform 4721"/>
          <p:cNvSpPr/>
          <p:nvPr/>
        </p:nvSpPr>
        <p:spPr>
          <a:xfrm>
            <a:off x="1976887" y="2872151"/>
            <a:ext cx="86415" cy="100584"/>
          </a:xfrm>
          <a:custGeom>
            <a:avLst/>
            <a:gdLst/>
            <a:ahLst/>
            <a:cxnLst/>
            <a:rect l="0" t="0" r="0" b="0"/>
            <a:pathLst>
              <a:path w="5761037" h="6705600">
                <a:moveTo>
                  <a:pt x="2865041" y="2447925"/>
                </a:moveTo>
                <a:lnTo>
                  <a:pt x="4353322" y="0"/>
                </a:lnTo>
                <a:lnTo>
                  <a:pt x="5692775" y="0"/>
                </a:lnTo>
                <a:lnTo>
                  <a:pt x="3497461" y="3315494"/>
                </a:lnTo>
                <a:lnTo>
                  <a:pt x="5761037" y="6705600"/>
                </a:lnTo>
                <a:lnTo>
                  <a:pt x="4433887" y="6705600"/>
                </a:lnTo>
                <a:lnTo>
                  <a:pt x="2883694" y="4195565"/>
                </a:lnTo>
                <a:lnTo>
                  <a:pt x="1333302" y="6705600"/>
                </a:lnTo>
                <a:lnTo>
                  <a:pt x="0" y="6705600"/>
                </a:lnTo>
                <a:lnTo>
                  <a:pt x="2263577" y="3315494"/>
                </a:lnTo>
                <a:lnTo>
                  <a:pt x="68262" y="0"/>
                </a:lnTo>
                <a:lnTo>
                  <a:pt x="1395412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2" name="Freeform 4722"/>
          <p:cNvSpPr/>
          <p:nvPr/>
        </p:nvSpPr>
        <p:spPr>
          <a:xfrm>
            <a:off x="1024002" y="3119801"/>
            <a:ext cx="80831" cy="10058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3" name="Freeform 4723"/>
          <p:cNvSpPr/>
          <p:nvPr/>
        </p:nvSpPr>
        <p:spPr>
          <a:xfrm>
            <a:off x="1132432" y="3117896"/>
            <a:ext cx="85019" cy="141160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4" name="Freeform 4724"/>
          <p:cNvSpPr/>
          <p:nvPr/>
        </p:nvSpPr>
        <p:spPr>
          <a:xfrm>
            <a:off x="1234745" y="3117896"/>
            <a:ext cx="91621" cy="104394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5" name="Freeform 4725"/>
          <p:cNvSpPr/>
          <p:nvPr/>
        </p:nvSpPr>
        <p:spPr>
          <a:xfrm>
            <a:off x="1344167" y="3077510"/>
            <a:ext cx="119526" cy="181546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6" name="Freeform 4726"/>
          <p:cNvSpPr/>
          <p:nvPr/>
        </p:nvSpPr>
        <p:spPr>
          <a:xfrm>
            <a:off x="1481627" y="3117896"/>
            <a:ext cx="85391" cy="104394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7" name="Freeform 4727"/>
          <p:cNvSpPr/>
          <p:nvPr/>
        </p:nvSpPr>
        <p:spPr>
          <a:xfrm>
            <a:off x="1582310" y="3117896"/>
            <a:ext cx="84832" cy="104394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8" name="Freeform 4728"/>
          <p:cNvSpPr/>
          <p:nvPr/>
        </p:nvSpPr>
        <p:spPr>
          <a:xfrm>
            <a:off x="1681941" y="3117896"/>
            <a:ext cx="84832" cy="104394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29" name="Freeform 4729"/>
          <p:cNvSpPr/>
          <p:nvPr/>
        </p:nvSpPr>
        <p:spPr>
          <a:xfrm>
            <a:off x="1787526" y="3119801"/>
            <a:ext cx="80831" cy="10058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30" name="Freeform 4730"/>
          <p:cNvSpPr/>
          <p:nvPr/>
        </p:nvSpPr>
        <p:spPr>
          <a:xfrm>
            <a:off x="1897444" y="3083034"/>
            <a:ext cx="80831" cy="137350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31" name="Rectangle 4731"/>
          <p:cNvSpPr/>
          <p:nvPr/>
        </p:nvSpPr>
        <p:spPr>
          <a:xfrm rot="334">
            <a:off x="351506" y="4802476"/>
            <a:ext cx="303593" cy="211453"/>
          </a:xfrm>
          <a:prstGeom prst="rect">
            <a:avLst/>
          </a:prstGeom>
        </p:spPr>
      </p:sp>
      <p:sp>
        <p:nvSpPr>
          <p:cNvPr id="4732" name="Freeform 4732"/>
          <p:cNvSpPr/>
          <p:nvPr/>
        </p:nvSpPr>
        <p:spPr>
          <a:xfrm rot="334">
            <a:off x="366487" y="4823713"/>
            <a:ext cx="43017" cy="63207"/>
          </a:xfrm>
          <a:custGeom>
            <a:avLst/>
            <a:gdLst/>
            <a:ahLst/>
            <a:cxnLst/>
            <a:rect l="0" t="0" r="0" b="0"/>
            <a:pathLst>
              <a:path w="6145411" h="9029700">
                <a:moveTo>
                  <a:pt x="0" y="9029700"/>
                </a:moveTo>
                <a:lnTo>
                  <a:pt x="0" y="0"/>
                </a:lnTo>
                <a:lnTo>
                  <a:pt x="2951758" y="0"/>
                </a:lnTo>
                <a:cubicBezTo>
                  <a:pt x="3931642" y="0"/>
                  <a:pt x="4668573" y="202473"/>
                  <a:pt x="5162550" y="607418"/>
                </a:cubicBezTo>
                <a:cubicBezTo>
                  <a:pt x="5656527" y="1012230"/>
                  <a:pt x="5903516" y="1611247"/>
                  <a:pt x="5903516" y="2404468"/>
                </a:cubicBezTo>
                <a:cubicBezTo>
                  <a:pt x="5903516" y="2825817"/>
                  <a:pt x="5783593" y="3198681"/>
                  <a:pt x="5543748" y="3523060"/>
                </a:cubicBezTo>
                <a:cubicBezTo>
                  <a:pt x="5304036" y="3847307"/>
                  <a:pt x="4977474" y="4098264"/>
                  <a:pt x="4564062" y="4275932"/>
                </a:cubicBezTo>
                <a:cubicBezTo>
                  <a:pt x="5051954" y="4412457"/>
                  <a:pt x="5437452" y="4672079"/>
                  <a:pt x="5720556" y="5054799"/>
                </a:cubicBezTo>
                <a:cubicBezTo>
                  <a:pt x="6003792" y="5437519"/>
                  <a:pt x="6145411" y="5893660"/>
                  <a:pt x="6145411" y="6423224"/>
                </a:cubicBezTo>
                <a:cubicBezTo>
                  <a:pt x="6145411" y="7234172"/>
                  <a:pt x="5882878" y="7871355"/>
                  <a:pt x="5357812" y="8334772"/>
                </a:cubicBezTo>
                <a:cubicBezTo>
                  <a:pt x="4832879" y="8798058"/>
                  <a:pt x="4090855" y="9029700"/>
                  <a:pt x="3131741" y="9029700"/>
                </a:cubicBezTo>
                <a:close/>
                <a:moveTo>
                  <a:pt x="1190625" y="4803180"/>
                </a:moveTo>
                <a:lnTo>
                  <a:pt x="1190625" y="8056166"/>
                </a:lnTo>
                <a:lnTo>
                  <a:pt x="3156545" y="8056166"/>
                </a:lnTo>
                <a:cubicBezTo>
                  <a:pt x="3710451" y="8056166"/>
                  <a:pt x="4147608" y="7912365"/>
                  <a:pt x="4468019" y="7624763"/>
                </a:cubicBezTo>
                <a:cubicBezTo>
                  <a:pt x="4788429" y="7337029"/>
                  <a:pt x="4948634" y="6940749"/>
                  <a:pt x="4948634" y="6435924"/>
                </a:cubicBezTo>
                <a:cubicBezTo>
                  <a:pt x="4948634" y="5347428"/>
                  <a:pt x="4357423" y="4803180"/>
                  <a:pt x="3175000" y="4803180"/>
                </a:cubicBezTo>
                <a:close/>
                <a:moveTo>
                  <a:pt x="1190625" y="3848100"/>
                </a:moveTo>
                <a:lnTo>
                  <a:pt x="2989064" y="3848100"/>
                </a:lnTo>
                <a:cubicBezTo>
                  <a:pt x="3509896" y="3848100"/>
                  <a:pt x="3926351" y="3718058"/>
                  <a:pt x="4238427" y="3457972"/>
                </a:cubicBezTo>
                <a:cubicBezTo>
                  <a:pt x="4550635" y="3197755"/>
                  <a:pt x="4706739" y="2844602"/>
                  <a:pt x="4706739" y="2398515"/>
                </a:cubicBezTo>
                <a:cubicBezTo>
                  <a:pt x="4706739" y="1902950"/>
                  <a:pt x="4562012" y="1542654"/>
                  <a:pt x="4272558" y="1317625"/>
                </a:cubicBezTo>
                <a:cubicBezTo>
                  <a:pt x="3983236" y="1092465"/>
                  <a:pt x="3542969" y="979885"/>
                  <a:pt x="2951758" y="979885"/>
                </a:cubicBezTo>
                <a:lnTo>
                  <a:pt x="1190625" y="979885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33" name="Freeform 4733"/>
          <p:cNvSpPr/>
          <p:nvPr/>
        </p:nvSpPr>
        <p:spPr>
          <a:xfrm rot="334">
            <a:off x="421263" y="4839987"/>
            <a:ext cx="54260" cy="46939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34" name="Freeform 4734"/>
          <p:cNvSpPr/>
          <p:nvPr/>
        </p:nvSpPr>
        <p:spPr>
          <a:xfrm rot="334">
            <a:off x="487644" y="4819546"/>
            <a:ext cx="41976" cy="68275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35" name="Freeform 4735"/>
          <p:cNvSpPr/>
          <p:nvPr/>
        </p:nvSpPr>
        <p:spPr>
          <a:xfrm rot="334">
            <a:off x="536458" y="4839109"/>
            <a:ext cx="42756" cy="48717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36" name="Freeform 4736"/>
          <p:cNvSpPr/>
          <p:nvPr/>
        </p:nvSpPr>
        <p:spPr>
          <a:xfrm rot="334">
            <a:off x="589257" y="4839113"/>
            <a:ext cx="39675" cy="65874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37" name="Freeform 4737"/>
          <p:cNvSpPr/>
          <p:nvPr/>
        </p:nvSpPr>
        <p:spPr>
          <a:xfrm rot="334">
            <a:off x="358268" y="4944756"/>
            <a:ext cx="58514" cy="46939"/>
          </a:xfrm>
          <a:custGeom>
            <a:avLst/>
            <a:gdLst/>
            <a:ahLst/>
            <a:cxnLst/>
            <a:rect l="0" t="0" r="0" b="0"/>
            <a:pathLst>
              <a:path w="8359180" h="6705600">
                <a:moveTo>
                  <a:pt x="1153518" y="0"/>
                </a:moveTo>
                <a:lnTo>
                  <a:pt x="1153518" y="5769174"/>
                </a:lnTo>
                <a:lnTo>
                  <a:pt x="3609182" y="5769174"/>
                </a:lnTo>
                <a:lnTo>
                  <a:pt x="3609182" y="0"/>
                </a:lnTo>
                <a:lnTo>
                  <a:pt x="4756349" y="0"/>
                </a:lnTo>
                <a:lnTo>
                  <a:pt x="4756349" y="5769174"/>
                </a:lnTo>
                <a:lnTo>
                  <a:pt x="7205861" y="5769174"/>
                </a:lnTo>
                <a:lnTo>
                  <a:pt x="7205861" y="0"/>
                </a:lnTo>
                <a:lnTo>
                  <a:pt x="8359180" y="0"/>
                </a:lnTo>
                <a:lnTo>
                  <a:pt x="8359180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38" name="Freeform 4738"/>
          <p:cNvSpPr/>
          <p:nvPr/>
        </p:nvSpPr>
        <p:spPr>
          <a:xfrm rot="334">
            <a:off x="430099" y="4944762"/>
            <a:ext cx="40413" cy="46939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39" name="Freeform 4739"/>
          <p:cNvSpPr/>
          <p:nvPr/>
        </p:nvSpPr>
        <p:spPr>
          <a:xfrm rot="334">
            <a:off x="474395" y="4943878"/>
            <a:ext cx="42756" cy="48717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40" name="Freeform 4740"/>
          <p:cNvSpPr/>
          <p:nvPr/>
        </p:nvSpPr>
        <p:spPr>
          <a:xfrm rot="334">
            <a:off x="522405" y="4944772"/>
            <a:ext cx="42670" cy="46939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41" name="Freeform 4741"/>
          <p:cNvSpPr/>
          <p:nvPr/>
        </p:nvSpPr>
        <p:spPr>
          <a:xfrm rot="334">
            <a:off x="578694" y="4944777"/>
            <a:ext cx="54260" cy="46939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42" name="Rectangle 4742"/>
          <p:cNvSpPr/>
          <p:nvPr/>
        </p:nvSpPr>
        <p:spPr>
          <a:xfrm rot="334">
            <a:off x="1091362" y="4774966"/>
            <a:ext cx="638922" cy="211453"/>
          </a:xfrm>
          <a:prstGeom prst="rect">
            <a:avLst/>
          </a:prstGeom>
        </p:spPr>
      </p:sp>
      <p:sp>
        <p:nvSpPr>
          <p:cNvPr id="4743" name="Freeform 4743"/>
          <p:cNvSpPr/>
          <p:nvPr/>
        </p:nvSpPr>
        <p:spPr>
          <a:xfrm rot="334">
            <a:off x="1281267" y="4796203"/>
            <a:ext cx="43017" cy="63207"/>
          </a:xfrm>
          <a:custGeom>
            <a:avLst/>
            <a:gdLst/>
            <a:ahLst/>
            <a:cxnLst/>
            <a:rect l="0" t="0" r="0" b="0"/>
            <a:pathLst>
              <a:path w="6145411" h="9029700">
                <a:moveTo>
                  <a:pt x="0" y="9029700"/>
                </a:moveTo>
                <a:lnTo>
                  <a:pt x="0" y="0"/>
                </a:lnTo>
                <a:lnTo>
                  <a:pt x="2951758" y="0"/>
                </a:lnTo>
                <a:cubicBezTo>
                  <a:pt x="3931642" y="0"/>
                  <a:pt x="4668573" y="202473"/>
                  <a:pt x="5162550" y="607418"/>
                </a:cubicBezTo>
                <a:cubicBezTo>
                  <a:pt x="5656527" y="1012230"/>
                  <a:pt x="5903516" y="1611247"/>
                  <a:pt x="5903516" y="2404468"/>
                </a:cubicBezTo>
                <a:cubicBezTo>
                  <a:pt x="5903516" y="2825817"/>
                  <a:pt x="5783593" y="3198681"/>
                  <a:pt x="5543748" y="3523060"/>
                </a:cubicBezTo>
                <a:cubicBezTo>
                  <a:pt x="5304036" y="3847307"/>
                  <a:pt x="4977474" y="4098264"/>
                  <a:pt x="4564062" y="4275932"/>
                </a:cubicBezTo>
                <a:cubicBezTo>
                  <a:pt x="5051954" y="4412457"/>
                  <a:pt x="5437452" y="4672079"/>
                  <a:pt x="5720556" y="5054799"/>
                </a:cubicBezTo>
                <a:cubicBezTo>
                  <a:pt x="6003792" y="5437519"/>
                  <a:pt x="6145411" y="5893660"/>
                  <a:pt x="6145411" y="6423224"/>
                </a:cubicBezTo>
                <a:cubicBezTo>
                  <a:pt x="6145411" y="7234172"/>
                  <a:pt x="5882878" y="7871355"/>
                  <a:pt x="5357812" y="8334772"/>
                </a:cubicBezTo>
                <a:cubicBezTo>
                  <a:pt x="4832879" y="8798058"/>
                  <a:pt x="4090855" y="9029700"/>
                  <a:pt x="3131741" y="9029700"/>
                </a:cubicBezTo>
                <a:close/>
                <a:moveTo>
                  <a:pt x="1190625" y="4803180"/>
                </a:moveTo>
                <a:lnTo>
                  <a:pt x="1190625" y="8056166"/>
                </a:lnTo>
                <a:lnTo>
                  <a:pt x="3156545" y="8056166"/>
                </a:lnTo>
                <a:cubicBezTo>
                  <a:pt x="3710451" y="8056166"/>
                  <a:pt x="4147608" y="7912365"/>
                  <a:pt x="4468019" y="7624763"/>
                </a:cubicBezTo>
                <a:cubicBezTo>
                  <a:pt x="4788429" y="7337029"/>
                  <a:pt x="4948634" y="6940749"/>
                  <a:pt x="4948634" y="6435924"/>
                </a:cubicBezTo>
                <a:cubicBezTo>
                  <a:pt x="4948634" y="5347428"/>
                  <a:pt x="4357423" y="4803180"/>
                  <a:pt x="3175000" y="4803180"/>
                </a:cubicBezTo>
                <a:close/>
                <a:moveTo>
                  <a:pt x="1190625" y="3848100"/>
                </a:moveTo>
                <a:lnTo>
                  <a:pt x="2989064" y="3848100"/>
                </a:lnTo>
                <a:cubicBezTo>
                  <a:pt x="3509896" y="3848100"/>
                  <a:pt x="3926351" y="3718058"/>
                  <a:pt x="4238427" y="3457972"/>
                </a:cubicBezTo>
                <a:cubicBezTo>
                  <a:pt x="4550635" y="3197755"/>
                  <a:pt x="4706739" y="2844602"/>
                  <a:pt x="4706739" y="2398515"/>
                </a:cubicBezTo>
                <a:cubicBezTo>
                  <a:pt x="4706739" y="1902950"/>
                  <a:pt x="4562012" y="1542654"/>
                  <a:pt x="4272558" y="1317625"/>
                </a:cubicBezTo>
                <a:cubicBezTo>
                  <a:pt x="3983236" y="1092465"/>
                  <a:pt x="3542969" y="979885"/>
                  <a:pt x="2951758" y="979885"/>
                </a:cubicBezTo>
                <a:lnTo>
                  <a:pt x="1190625" y="979885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44" name="Freeform 4744"/>
          <p:cNvSpPr/>
          <p:nvPr/>
        </p:nvSpPr>
        <p:spPr>
          <a:xfrm rot="334">
            <a:off x="1336043" y="4812477"/>
            <a:ext cx="54260" cy="46939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45" name="Freeform 4745"/>
          <p:cNvSpPr/>
          <p:nvPr/>
        </p:nvSpPr>
        <p:spPr>
          <a:xfrm rot="334">
            <a:off x="1402424" y="4792036"/>
            <a:ext cx="41976" cy="68275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46" name="Freeform 4746"/>
          <p:cNvSpPr/>
          <p:nvPr/>
        </p:nvSpPr>
        <p:spPr>
          <a:xfrm rot="334">
            <a:off x="1451238" y="4811599"/>
            <a:ext cx="42756" cy="48717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47" name="Freeform 4747"/>
          <p:cNvSpPr/>
          <p:nvPr/>
        </p:nvSpPr>
        <p:spPr>
          <a:xfrm rot="334">
            <a:off x="1504037" y="4811603"/>
            <a:ext cx="39675" cy="65874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48" name="Freeform 4748"/>
          <p:cNvSpPr/>
          <p:nvPr/>
        </p:nvSpPr>
        <p:spPr>
          <a:xfrm rot="334">
            <a:off x="1095345" y="4916339"/>
            <a:ext cx="39588" cy="48717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49" name="Freeform 4749"/>
          <p:cNvSpPr/>
          <p:nvPr/>
        </p:nvSpPr>
        <p:spPr>
          <a:xfrm rot="334">
            <a:off x="1144618" y="4917232"/>
            <a:ext cx="37721" cy="46939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0" name="Freeform 4750"/>
          <p:cNvSpPr/>
          <p:nvPr/>
        </p:nvSpPr>
        <p:spPr>
          <a:xfrm rot="334">
            <a:off x="1193178" y="4916348"/>
            <a:ext cx="39849" cy="48717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1" name="Freeform 4751"/>
          <p:cNvSpPr/>
          <p:nvPr/>
        </p:nvSpPr>
        <p:spPr>
          <a:xfrm rot="334">
            <a:off x="1242941" y="4917243"/>
            <a:ext cx="43322" cy="60896"/>
          </a:xfrm>
          <a:custGeom>
            <a:avLst/>
            <a:gdLst/>
            <a:ahLst/>
            <a:cxnLst/>
            <a:rect l="0" t="0" r="0" b="0"/>
            <a:pathLst>
              <a:path w="6188869" h="8699500">
                <a:moveTo>
                  <a:pt x="0" y="0"/>
                </a:moveTo>
                <a:lnTo>
                  <a:pt x="1153518" y="0"/>
                </a:lnTo>
                <a:lnTo>
                  <a:pt x="1153518" y="5769174"/>
                </a:lnTo>
                <a:lnTo>
                  <a:pt x="4241602" y="5769174"/>
                </a:lnTo>
                <a:lnTo>
                  <a:pt x="4241602" y="0"/>
                </a:lnTo>
                <a:lnTo>
                  <a:pt x="5388769" y="0"/>
                </a:lnTo>
                <a:lnTo>
                  <a:pt x="5388769" y="5769174"/>
                </a:lnTo>
                <a:lnTo>
                  <a:pt x="6188869" y="5769174"/>
                </a:lnTo>
                <a:lnTo>
                  <a:pt x="6077149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2" name="Freeform 4752"/>
          <p:cNvSpPr/>
          <p:nvPr/>
        </p:nvSpPr>
        <p:spPr>
          <a:xfrm rot="334">
            <a:off x="1295570" y="4917247"/>
            <a:ext cx="37721" cy="46939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3" name="Freeform 4753"/>
          <p:cNvSpPr/>
          <p:nvPr/>
        </p:nvSpPr>
        <p:spPr>
          <a:xfrm rot="334">
            <a:off x="1344825" y="4916363"/>
            <a:ext cx="38764" cy="48717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4" name="Freeform 4754"/>
          <p:cNvSpPr/>
          <p:nvPr/>
        </p:nvSpPr>
        <p:spPr>
          <a:xfrm rot="334">
            <a:off x="1390276" y="4917257"/>
            <a:ext cx="42670" cy="46939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5" name="Freeform 4755"/>
          <p:cNvSpPr/>
          <p:nvPr/>
        </p:nvSpPr>
        <p:spPr>
          <a:xfrm rot="334">
            <a:off x="1446565" y="4917262"/>
            <a:ext cx="37504" cy="46939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6" name="Freeform 4756"/>
          <p:cNvSpPr/>
          <p:nvPr/>
        </p:nvSpPr>
        <p:spPr>
          <a:xfrm rot="334">
            <a:off x="1494706" y="4917266"/>
            <a:ext cx="37678" cy="46939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7" name="Freeform 4757"/>
          <p:cNvSpPr/>
          <p:nvPr/>
        </p:nvSpPr>
        <p:spPr>
          <a:xfrm rot="334">
            <a:off x="1543091" y="4916383"/>
            <a:ext cx="42756" cy="48717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8" name="Freeform 4758"/>
          <p:cNvSpPr/>
          <p:nvPr/>
        </p:nvSpPr>
        <p:spPr>
          <a:xfrm rot="334">
            <a:off x="1593807" y="4916387"/>
            <a:ext cx="39588" cy="48717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59" name="Freeform 4759"/>
          <p:cNvSpPr/>
          <p:nvPr/>
        </p:nvSpPr>
        <p:spPr>
          <a:xfrm rot="334">
            <a:off x="1638045" y="4917280"/>
            <a:ext cx="39241" cy="46939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60" name="Freeform 4760"/>
          <p:cNvSpPr/>
          <p:nvPr/>
        </p:nvSpPr>
        <p:spPr>
          <a:xfrm rot="334">
            <a:off x="1685752" y="4917285"/>
            <a:ext cx="37721" cy="46939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61" name="Rectangle 4761"/>
          <p:cNvSpPr/>
          <p:nvPr/>
        </p:nvSpPr>
        <p:spPr>
          <a:xfrm rot="334">
            <a:off x="2119930" y="4795280"/>
            <a:ext cx="489571" cy="211453"/>
          </a:xfrm>
          <a:prstGeom prst="rect">
            <a:avLst/>
          </a:prstGeom>
        </p:spPr>
      </p:sp>
      <p:sp>
        <p:nvSpPr>
          <p:cNvPr id="4762" name="Freeform 4762"/>
          <p:cNvSpPr/>
          <p:nvPr/>
        </p:nvSpPr>
        <p:spPr>
          <a:xfrm rot="334">
            <a:off x="2127656" y="4816507"/>
            <a:ext cx="49093" cy="63207"/>
          </a:xfrm>
          <a:custGeom>
            <a:avLst/>
            <a:gdLst/>
            <a:ahLst/>
            <a:cxnLst/>
            <a:rect l="0" t="0" r="0" b="0"/>
            <a:pathLst>
              <a:path w="7013377" h="9029700">
                <a:moveTo>
                  <a:pt x="2288183" y="4967288"/>
                </a:moveTo>
                <a:lnTo>
                  <a:pt x="1190625" y="49672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975100"/>
                </a:lnTo>
                <a:lnTo>
                  <a:pt x="2120702" y="3975100"/>
                </a:lnTo>
                <a:lnTo>
                  <a:pt x="5277049" y="0"/>
                </a:lnTo>
                <a:lnTo>
                  <a:pt x="6759178" y="0"/>
                </a:lnTo>
                <a:lnTo>
                  <a:pt x="3311327" y="4371975"/>
                </a:lnTo>
                <a:lnTo>
                  <a:pt x="7013377" y="9029700"/>
                </a:lnTo>
                <a:lnTo>
                  <a:pt x="5556250" y="90297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63" name="Freeform 4763"/>
          <p:cNvSpPr/>
          <p:nvPr/>
        </p:nvSpPr>
        <p:spPr>
          <a:xfrm rot="334">
            <a:off x="2181735" y="4831890"/>
            <a:ext cx="38764" cy="48717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64" name="Freeform 4764"/>
          <p:cNvSpPr/>
          <p:nvPr/>
        </p:nvSpPr>
        <p:spPr>
          <a:xfrm rot="334">
            <a:off x="2231353" y="4831895"/>
            <a:ext cx="39675" cy="65874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65" name="Freeform 4765"/>
          <p:cNvSpPr/>
          <p:nvPr/>
        </p:nvSpPr>
        <p:spPr>
          <a:xfrm rot="334">
            <a:off x="2281964" y="4832789"/>
            <a:ext cx="37504" cy="46939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66" name="Freeform 4766"/>
          <p:cNvSpPr/>
          <p:nvPr/>
        </p:nvSpPr>
        <p:spPr>
          <a:xfrm rot="334">
            <a:off x="2327370" y="4831905"/>
            <a:ext cx="39849" cy="48717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67" name="Freeform 4767"/>
          <p:cNvSpPr/>
          <p:nvPr/>
        </p:nvSpPr>
        <p:spPr>
          <a:xfrm rot="334">
            <a:off x="2376437" y="4831909"/>
            <a:ext cx="39675" cy="65874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68" name="Freeform 4768"/>
          <p:cNvSpPr/>
          <p:nvPr/>
        </p:nvSpPr>
        <p:spPr>
          <a:xfrm rot="334">
            <a:off x="2427006" y="4832803"/>
            <a:ext cx="37678" cy="46939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69" name="Freeform 4769"/>
          <p:cNvSpPr/>
          <p:nvPr/>
        </p:nvSpPr>
        <p:spPr>
          <a:xfrm rot="334">
            <a:off x="2478255" y="4832809"/>
            <a:ext cx="54260" cy="46939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70" name="Freeform 4770"/>
          <p:cNvSpPr/>
          <p:nvPr/>
        </p:nvSpPr>
        <p:spPr>
          <a:xfrm rot="334">
            <a:off x="2544464" y="4831926"/>
            <a:ext cx="39849" cy="48717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71" name="Freeform 4771"/>
          <p:cNvSpPr/>
          <p:nvPr/>
        </p:nvSpPr>
        <p:spPr>
          <a:xfrm rot="334">
            <a:off x="2176310" y="4936665"/>
            <a:ext cx="39675" cy="65874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72" name="Freeform 4772"/>
          <p:cNvSpPr/>
          <p:nvPr/>
        </p:nvSpPr>
        <p:spPr>
          <a:xfrm rot="334">
            <a:off x="2224143" y="4936670"/>
            <a:ext cx="39849" cy="48717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73" name="Freeform 4773"/>
          <p:cNvSpPr/>
          <p:nvPr/>
        </p:nvSpPr>
        <p:spPr>
          <a:xfrm rot="334">
            <a:off x="2273906" y="4937564"/>
            <a:ext cx="58514" cy="46939"/>
          </a:xfrm>
          <a:custGeom>
            <a:avLst/>
            <a:gdLst/>
            <a:ahLst/>
            <a:cxnLst/>
            <a:rect l="0" t="0" r="0" b="0"/>
            <a:pathLst>
              <a:path w="8359180" h="6705600">
                <a:moveTo>
                  <a:pt x="1153518" y="0"/>
                </a:moveTo>
                <a:lnTo>
                  <a:pt x="1153518" y="5769174"/>
                </a:lnTo>
                <a:lnTo>
                  <a:pt x="3609182" y="5769174"/>
                </a:lnTo>
                <a:lnTo>
                  <a:pt x="3609182" y="0"/>
                </a:lnTo>
                <a:lnTo>
                  <a:pt x="4756349" y="0"/>
                </a:lnTo>
                <a:lnTo>
                  <a:pt x="4756349" y="5769174"/>
                </a:lnTo>
                <a:lnTo>
                  <a:pt x="7205861" y="5769174"/>
                </a:lnTo>
                <a:lnTo>
                  <a:pt x="7205861" y="0"/>
                </a:lnTo>
                <a:lnTo>
                  <a:pt x="8359180" y="0"/>
                </a:lnTo>
                <a:lnTo>
                  <a:pt x="8359180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74" name="Freeform 4774"/>
          <p:cNvSpPr/>
          <p:nvPr/>
        </p:nvSpPr>
        <p:spPr>
          <a:xfrm rot="334">
            <a:off x="2343002" y="4936681"/>
            <a:ext cx="39849" cy="48717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75" name="Freeform 4775"/>
          <p:cNvSpPr/>
          <p:nvPr/>
        </p:nvSpPr>
        <p:spPr>
          <a:xfrm rot="334">
            <a:off x="2392766" y="4937575"/>
            <a:ext cx="37678" cy="46939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76" name="Freeform 4776"/>
          <p:cNvSpPr/>
          <p:nvPr/>
        </p:nvSpPr>
        <p:spPr>
          <a:xfrm rot="334">
            <a:off x="2443972" y="4937580"/>
            <a:ext cx="37721" cy="46939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77" name="Freeform 4777"/>
          <p:cNvSpPr/>
          <p:nvPr/>
        </p:nvSpPr>
        <p:spPr>
          <a:xfrm rot="334">
            <a:off x="2490536" y="4937584"/>
            <a:ext cx="39935" cy="46939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78" name="Rectangle 4778"/>
          <p:cNvSpPr/>
          <p:nvPr/>
        </p:nvSpPr>
        <p:spPr>
          <a:xfrm rot="334">
            <a:off x="2834734" y="4809923"/>
            <a:ext cx="946694" cy="211453"/>
          </a:xfrm>
          <a:prstGeom prst="rect">
            <a:avLst/>
          </a:prstGeom>
        </p:spPr>
      </p:sp>
      <p:sp>
        <p:nvSpPr>
          <p:cNvPr id="4779" name="Freeform 4779"/>
          <p:cNvSpPr/>
          <p:nvPr/>
        </p:nvSpPr>
        <p:spPr>
          <a:xfrm rot="334">
            <a:off x="2906983" y="4831134"/>
            <a:ext cx="47878" cy="63207"/>
          </a:xfrm>
          <a:custGeom>
            <a:avLst/>
            <a:gdLst/>
            <a:ahLst/>
            <a:cxnLst/>
            <a:rect l="0" t="0" r="0" b="0"/>
            <a:pathLst>
              <a:path w="6839744" h="9029700">
                <a:moveTo>
                  <a:pt x="6839744" y="9029700"/>
                </a:moveTo>
                <a:lnTo>
                  <a:pt x="5642968" y="9029700"/>
                </a:lnTo>
                <a:lnTo>
                  <a:pt x="5642968" y="979885"/>
                </a:lnTo>
                <a:lnTo>
                  <a:pt x="1190625" y="97988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683974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0" name="Freeform 4780"/>
          <p:cNvSpPr/>
          <p:nvPr/>
        </p:nvSpPr>
        <p:spPr>
          <a:xfrm rot="334">
            <a:off x="2968719" y="4846519"/>
            <a:ext cx="39675" cy="65874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1" name="Freeform 4781"/>
          <p:cNvSpPr/>
          <p:nvPr/>
        </p:nvSpPr>
        <p:spPr>
          <a:xfrm rot="334">
            <a:off x="3016466" y="4846525"/>
            <a:ext cx="42756" cy="48717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2" name="Freeform 4782"/>
          <p:cNvSpPr/>
          <p:nvPr/>
        </p:nvSpPr>
        <p:spPr>
          <a:xfrm rot="334">
            <a:off x="3067527" y="4827683"/>
            <a:ext cx="55779" cy="84721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3" name="Freeform 4783"/>
          <p:cNvSpPr/>
          <p:nvPr/>
        </p:nvSpPr>
        <p:spPr>
          <a:xfrm rot="334">
            <a:off x="3131678" y="4846535"/>
            <a:ext cx="39849" cy="48717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4" name="Freeform 4784"/>
          <p:cNvSpPr/>
          <p:nvPr/>
        </p:nvSpPr>
        <p:spPr>
          <a:xfrm rot="334">
            <a:off x="3178663" y="4846540"/>
            <a:ext cx="39588" cy="48717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5" name="Freeform 4785"/>
          <p:cNvSpPr/>
          <p:nvPr/>
        </p:nvSpPr>
        <p:spPr>
          <a:xfrm rot="334">
            <a:off x="3225157" y="4846544"/>
            <a:ext cx="39588" cy="48717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6" name="Freeform 4786"/>
          <p:cNvSpPr/>
          <p:nvPr/>
        </p:nvSpPr>
        <p:spPr>
          <a:xfrm rot="334">
            <a:off x="3274430" y="4847438"/>
            <a:ext cx="37721" cy="46939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7" name="Freeform 4787"/>
          <p:cNvSpPr/>
          <p:nvPr/>
        </p:nvSpPr>
        <p:spPr>
          <a:xfrm rot="334">
            <a:off x="3322904" y="4846555"/>
            <a:ext cx="42756" cy="48717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8" name="Freeform 4788"/>
          <p:cNvSpPr/>
          <p:nvPr/>
        </p:nvSpPr>
        <p:spPr>
          <a:xfrm rot="334">
            <a:off x="3376398" y="4847448"/>
            <a:ext cx="37678" cy="46939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89" name="Freeform 4789"/>
          <p:cNvSpPr/>
          <p:nvPr/>
        </p:nvSpPr>
        <p:spPr>
          <a:xfrm rot="334">
            <a:off x="3425564" y="4846564"/>
            <a:ext cx="38764" cy="48717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0" name="Freeform 4790"/>
          <p:cNvSpPr/>
          <p:nvPr/>
        </p:nvSpPr>
        <p:spPr>
          <a:xfrm rot="334">
            <a:off x="3471016" y="4847458"/>
            <a:ext cx="42670" cy="46939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1" name="Freeform 4791"/>
          <p:cNvSpPr/>
          <p:nvPr/>
        </p:nvSpPr>
        <p:spPr>
          <a:xfrm rot="334">
            <a:off x="3527305" y="4847462"/>
            <a:ext cx="37504" cy="46939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2" name="Freeform 4792"/>
          <p:cNvSpPr/>
          <p:nvPr/>
        </p:nvSpPr>
        <p:spPr>
          <a:xfrm rot="334">
            <a:off x="3575446" y="4847467"/>
            <a:ext cx="37678" cy="46939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3" name="Freeform 4793"/>
          <p:cNvSpPr/>
          <p:nvPr/>
        </p:nvSpPr>
        <p:spPr>
          <a:xfrm rot="334">
            <a:off x="3624611" y="4846583"/>
            <a:ext cx="38764" cy="48717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4" name="Freeform 4794"/>
          <p:cNvSpPr/>
          <p:nvPr/>
        </p:nvSpPr>
        <p:spPr>
          <a:xfrm rot="334">
            <a:off x="3670193" y="4847476"/>
            <a:ext cx="39935" cy="46939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5" name="Freeform 4795"/>
          <p:cNvSpPr/>
          <p:nvPr/>
        </p:nvSpPr>
        <p:spPr>
          <a:xfrm rot="334">
            <a:off x="2841409" y="4952171"/>
            <a:ext cx="29734" cy="46939"/>
          </a:xfrm>
          <a:custGeom>
            <a:avLst/>
            <a:gdLst/>
            <a:ahLst/>
            <a:cxnLst/>
            <a:rect l="0" t="0" r="0" b="0"/>
            <a:pathLst>
              <a:path w="4247753" h="6705600">
                <a:moveTo>
                  <a:pt x="4247753" y="948730"/>
                </a:moveTo>
                <a:lnTo>
                  <a:pt x="1153319" y="948730"/>
                </a:lnTo>
                <a:lnTo>
                  <a:pt x="115331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24775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6" name="Freeform 4796"/>
          <p:cNvSpPr/>
          <p:nvPr/>
        </p:nvSpPr>
        <p:spPr>
          <a:xfrm rot="334">
            <a:off x="2878049" y="4951285"/>
            <a:ext cx="39675" cy="65874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7" name="Freeform 4797"/>
          <p:cNvSpPr/>
          <p:nvPr/>
        </p:nvSpPr>
        <p:spPr>
          <a:xfrm rot="334">
            <a:off x="2926577" y="4951290"/>
            <a:ext cx="38764" cy="48717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8" name="Freeform 4798"/>
          <p:cNvSpPr/>
          <p:nvPr/>
        </p:nvSpPr>
        <p:spPr>
          <a:xfrm rot="334">
            <a:off x="2976933" y="4952185"/>
            <a:ext cx="52307" cy="46939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799" name="Freeform 4799"/>
          <p:cNvSpPr/>
          <p:nvPr/>
        </p:nvSpPr>
        <p:spPr>
          <a:xfrm rot="334">
            <a:off x="3039944" y="4951302"/>
            <a:ext cx="42756" cy="48717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0" name="Freeform 4800"/>
          <p:cNvSpPr/>
          <p:nvPr/>
        </p:nvSpPr>
        <p:spPr>
          <a:xfrm rot="334">
            <a:off x="3087513" y="4952195"/>
            <a:ext cx="39241" cy="46939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1" name="Freeform 4801"/>
          <p:cNvSpPr/>
          <p:nvPr/>
        </p:nvSpPr>
        <p:spPr>
          <a:xfrm rot="334">
            <a:off x="3135221" y="4952199"/>
            <a:ext cx="37678" cy="46939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2" name="Freeform 4802"/>
          <p:cNvSpPr/>
          <p:nvPr/>
        </p:nvSpPr>
        <p:spPr>
          <a:xfrm rot="334">
            <a:off x="3183606" y="4951316"/>
            <a:ext cx="42756" cy="48717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3" name="Freeform 4803"/>
          <p:cNvSpPr/>
          <p:nvPr/>
        </p:nvSpPr>
        <p:spPr>
          <a:xfrm rot="334">
            <a:off x="3234322" y="4951320"/>
            <a:ext cx="39588" cy="48717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4" name="Freeform 4804"/>
          <p:cNvSpPr/>
          <p:nvPr/>
        </p:nvSpPr>
        <p:spPr>
          <a:xfrm rot="334">
            <a:off x="3278559" y="4952213"/>
            <a:ext cx="39241" cy="46939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5" name="Freeform 4805"/>
          <p:cNvSpPr/>
          <p:nvPr/>
        </p:nvSpPr>
        <p:spPr>
          <a:xfrm rot="334">
            <a:off x="3326310" y="4952218"/>
            <a:ext cx="37504" cy="46939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6" name="Freeform 4806"/>
          <p:cNvSpPr/>
          <p:nvPr/>
        </p:nvSpPr>
        <p:spPr>
          <a:xfrm rot="334">
            <a:off x="3396409" y="4952225"/>
            <a:ext cx="37721" cy="46939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7" name="Freeform 4807"/>
          <p:cNvSpPr/>
          <p:nvPr/>
        </p:nvSpPr>
        <p:spPr>
          <a:xfrm rot="334">
            <a:off x="3469662" y="4952232"/>
            <a:ext cx="37678" cy="46939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8" name="Freeform 4808"/>
          <p:cNvSpPr/>
          <p:nvPr/>
        </p:nvSpPr>
        <p:spPr>
          <a:xfrm rot="334">
            <a:off x="3518828" y="4951348"/>
            <a:ext cx="38764" cy="48717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09" name="Freeform 4809"/>
          <p:cNvSpPr/>
          <p:nvPr/>
        </p:nvSpPr>
        <p:spPr>
          <a:xfrm rot="334">
            <a:off x="3569185" y="4952241"/>
            <a:ext cx="39414" cy="46939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10" name="Freeform 4810"/>
          <p:cNvSpPr/>
          <p:nvPr/>
        </p:nvSpPr>
        <p:spPr>
          <a:xfrm rot="334">
            <a:off x="3619947" y="4952247"/>
            <a:ext cx="54260" cy="46939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11" name="Freeform 4811"/>
          <p:cNvSpPr/>
          <p:nvPr/>
        </p:nvSpPr>
        <p:spPr>
          <a:xfrm rot="334">
            <a:off x="3688890" y="4952253"/>
            <a:ext cx="40413" cy="46939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812" name="Freeform 4812"/>
          <p:cNvSpPr/>
          <p:nvPr/>
        </p:nvSpPr>
        <p:spPr>
          <a:xfrm rot="334">
            <a:off x="3736896" y="4952258"/>
            <a:ext cx="37721" cy="46939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88">
            <a:noFill/>
          </a:ln>
          <a:effectDag name="">
            <a:xfrm kx="334"/>
          </a:effectDag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7563012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F532E3A6-6149-4E27-BF02-DC38EA87758F}"/>
              </a:ext>
            </a:extLst>
          </p:cNvPr>
          <p:cNvSpPr txBox="1">
            <a:spLocks/>
          </p:cNvSpPr>
          <p:nvPr/>
        </p:nvSpPr>
        <p:spPr>
          <a:xfrm>
            <a:off x="436910" y="1642716"/>
            <a:ext cx="1619250" cy="336441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57145" indent="-257145" algn="l" defTabSz="6857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150" indent="-214288" algn="l" defTabSz="6857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152" indent="-171430" algn="l" defTabSz="6857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13" indent="-171430" algn="l" defTabSz="6857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875" indent="-171430" algn="l" defTabSz="6857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735" indent="-171430" algn="l" defTabSz="6857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97" indent="-171430" algn="l" defTabSz="6857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457" indent="-171430" algn="l" defTabSz="6857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319" indent="-171430" algn="l" defTabSz="6857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4000"/>
              </a:lnSpc>
              <a:spcAft>
                <a:spcPts val="300"/>
              </a:spcAft>
              <a:buNone/>
              <a:defRPr/>
            </a:pPr>
            <a:r>
              <a:rPr lang="ru-RU" sz="1200" b="1" u="sng" dirty="0">
                <a:cs typeface="Arial" pitchFamily="34" charset="0"/>
              </a:rPr>
              <a:t>НАЦИОНАЛЬНЫЙ КЛАССИФИКАТОР ЗАНЯТИЙ (НКЗ)</a:t>
            </a:r>
          </a:p>
          <a:p>
            <a:pPr marL="298813" indent="-136907" fontAlgn="base">
              <a:lnSpc>
                <a:spcPct val="70000"/>
              </a:lnSpc>
              <a:spcBef>
                <a:spcPct val="0"/>
              </a:spcBef>
              <a:spcAft>
                <a:spcPts val="300"/>
              </a:spcAft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000000"/>
                </a:solidFill>
              </a:rPr>
              <a:t>Разработан в 2018 г. по классификации МОТ ISCO-08</a:t>
            </a:r>
          </a:p>
          <a:p>
            <a:pPr marL="298813" indent="-136907" fontAlgn="base">
              <a:lnSpc>
                <a:spcPct val="70000"/>
              </a:lnSpc>
              <a:spcBef>
                <a:spcPct val="0"/>
              </a:spcBef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000000"/>
                </a:solidFill>
              </a:rPr>
              <a:t>Содержит 1274 профессии и 12815 занятий</a:t>
            </a:r>
          </a:p>
          <a:p>
            <a:pPr marL="0" indent="0">
              <a:lnSpc>
                <a:spcPct val="84000"/>
              </a:lnSpc>
              <a:buNone/>
              <a:defRPr/>
            </a:pPr>
            <a:endParaRPr lang="ru-RU" sz="1200" b="1" u="sng" dirty="0"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E10CAF0-9851-46D2-A48C-3F4E2CBDEA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385" y="898488"/>
            <a:ext cx="1620837" cy="6861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sz="105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5FEB5805-610E-4189-978E-3F920392C4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9766" y="1136682"/>
            <a:ext cx="16192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cs typeface="Arial" pitchFamily="34" charset="0"/>
              </a:rPr>
              <a:t>КЛАССИФИКАЦИЯ ЗАНЯТИЙ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40681E5E-AABE-4AC1-8AA6-DFA33AE096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41139" y="843558"/>
            <a:ext cx="32385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2000" dirty="0">
                <a:solidFill>
                  <a:schemeClr val="bg1"/>
                </a:solidFill>
              </a:rPr>
              <a:t>1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9C0B8252-4F7D-4102-BBD7-9C1A56395C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3147" y="898488"/>
            <a:ext cx="1619250" cy="6861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sz="10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2767B330-6612-47BE-9A5A-C2493EF655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972" y="843558"/>
            <a:ext cx="32385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2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92E52DBF-D004-4321-8955-87B22AE6D1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95847" y="1136682"/>
            <a:ext cx="162083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cs typeface="Arial" pitchFamily="34" charset="0"/>
              </a:rPr>
              <a:t>СИСТЕМА КВАЛИФИКАЦИ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FD407F6-ADF7-493A-885E-BB531FECF3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21447" y="898488"/>
            <a:ext cx="1620838" cy="686121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57DA508-5A6B-4892-826A-C1BA5573D1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89860" y="843558"/>
            <a:ext cx="32385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20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55708EE9-A2D8-412E-A274-8FE96761F6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6685" y="1176424"/>
            <a:ext cx="165576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cs typeface="Arial" pitchFamily="34" charset="0"/>
              </a:rPr>
              <a:t>ПРОФСТАНДАРТЫ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328558F7-A677-45DF-BFAB-0CAB12C6A1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5622" y="898488"/>
            <a:ext cx="1619250" cy="686121"/>
          </a:xfrm>
          <a:prstGeom prst="rect">
            <a:avLst/>
          </a:prstGeom>
          <a:solidFill>
            <a:srgbClr val="FF7C8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sz="105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2D12D92-4DDC-4F8E-BC15-6F6CBC0DF2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2760" y="843558"/>
            <a:ext cx="32385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20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BC1A6B5D-B289-4141-82A5-A63275A167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86735" y="1136682"/>
            <a:ext cx="164782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rIns="3600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cs typeface="Arial" pitchFamily="34" charset="0"/>
              </a:rPr>
              <a:t>ОБРАЗОВАТЕЛЬНЫЕ ПРОГРАММЫ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F2196EF6-2770-4171-BFF3-C6A1338BB7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20272" y="898488"/>
            <a:ext cx="1619250" cy="686121"/>
          </a:xfrm>
          <a:prstGeom prst="rect">
            <a:avLst/>
          </a:prstGeom>
          <a:solidFill>
            <a:srgbClr val="FF7C8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sz="105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1B3EB887-6618-451E-8390-7CA32B4502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7097" y="843558"/>
            <a:ext cx="32385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20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F110828-D7E5-4719-9A71-0C6CCF9029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25382" y="1156169"/>
            <a:ext cx="162083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cs typeface="Arial" pitchFamily="34" charset="0"/>
              </a:rPr>
              <a:t>ОЦЕНКА КВАЛИФИКАЦИЙ</a:t>
            </a:r>
          </a:p>
        </p:txBody>
      </p:sp>
      <p:sp>
        <p:nvSpPr>
          <p:cNvPr id="19" name="Объект 2">
            <a:extLst>
              <a:ext uri="{FF2B5EF4-FFF2-40B4-BE49-F238E27FC236}">
                <a16:creationId xmlns:a16="http://schemas.microsoft.com/office/drawing/2014/main" xmlns="" id="{DB1509BC-DEEF-464A-B9B0-9FC6B46B428A}"/>
              </a:ext>
            </a:extLst>
          </p:cNvPr>
          <p:cNvSpPr txBox="1">
            <a:spLocks/>
          </p:cNvSpPr>
          <p:nvPr/>
        </p:nvSpPr>
        <p:spPr bwMode="auto">
          <a:xfrm>
            <a:off x="2048222" y="1633821"/>
            <a:ext cx="1619250" cy="337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rIns="0"/>
          <a:lstStyle/>
          <a:p>
            <a:pPr>
              <a:lnSpc>
                <a:spcPct val="84000"/>
              </a:lnSpc>
              <a:spcBef>
                <a:spcPct val="20000"/>
              </a:spcBef>
              <a:spcAft>
                <a:spcPts val="300"/>
              </a:spcAft>
              <a:buFont typeface="Arial" charset="0"/>
              <a:buNone/>
            </a:pPr>
            <a:r>
              <a:rPr lang="ru-RU" sz="1200" b="1" u="sng" dirty="0">
                <a:cs typeface="Arial" pitchFamily="34" charset="0"/>
              </a:rPr>
              <a:t>НАЦИОНАЛЬНАЯ РАМКА КВАЛИФИКАЦИЙ (НРК)</a:t>
            </a:r>
          </a:p>
          <a:p>
            <a:pPr marL="298813" indent="-136907" defTabSz="685722" fontAlgn="base">
              <a:lnSpc>
                <a:spcPct val="70000"/>
              </a:lnSpc>
              <a:spcBef>
                <a:spcPct val="0"/>
              </a:spcBef>
              <a:spcAft>
                <a:spcPts val="300"/>
              </a:spcAft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000000"/>
                </a:solidFill>
              </a:rPr>
              <a:t>Разработана в 2016 г. по Европейской рамке квалификаций </a:t>
            </a:r>
          </a:p>
          <a:p>
            <a:pPr marL="298813" indent="-136907" defTabSz="685722" fontAlgn="base">
              <a:lnSpc>
                <a:spcPct val="70000"/>
              </a:lnSpc>
              <a:spcBef>
                <a:spcPct val="0"/>
              </a:spcBef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000000"/>
                </a:solidFill>
              </a:rPr>
              <a:t>Содержит 8 уровней квалификаций</a:t>
            </a:r>
          </a:p>
          <a:p>
            <a:pPr defTabSz="685722" fontAlgn="base">
              <a:lnSpc>
                <a:spcPct val="95000"/>
              </a:lnSpc>
              <a:spcBef>
                <a:spcPct val="0"/>
              </a:spcBef>
              <a:buClr>
                <a:srgbClr val="FFD200"/>
              </a:buClr>
              <a:buSzPct val="70000"/>
              <a:defRPr/>
            </a:pPr>
            <a:endParaRPr lang="ru-RU" sz="700" b="1" u="sng" noProof="1">
              <a:cs typeface="Arial" pitchFamily="34" charset="0"/>
            </a:endParaRPr>
          </a:p>
          <a:p>
            <a:pPr defTabSz="685722" fontAlgn="base">
              <a:lnSpc>
                <a:spcPct val="95000"/>
              </a:lnSpc>
              <a:spcBef>
                <a:spcPct val="0"/>
              </a:spcBef>
              <a:spcAft>
                <a:spcPts val="300"/>
              </a:spcAft>
              <a:buClr>
                <a:srgbClr val="FFD200"/>
              </a:buClr>
              <a:buSzPct val="70000"/>
              <a:defRPr/>
            </a:pPr>
            <a:r>
              <a:rPr lang="ru-RU" sz="1200" b="1" u="sng" noProof="1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ОТРАСЛЕВЫЕ РАМКИ КВАЛИФИКАЦИЙ (ОРК)</a:t>
            </a:r>
          </a:p>
          <a:p>
            <a:pPr marL="298813" indent="-136907" defTabSz="685722" fontAlgn="base">
              <a:lnSpc>
                <a:spcPct val="70000"/>
              </a:lnSpc>
              <a:spcBef>
                <a:spcPct val="0"/>
              </a:spcBef>
              <a:spcAft>
                <a:spcPts val="300"/>
              </a:spcAft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000000"/>
                </a:solidFill>
              </a:rPr>
              <a:t>Разработано 32 ОРК по 17 отраслям (из 21) / 55 подотраслям (из 88)</a:t>
            </a:r>
          </a:p>
          <a:p>
            <a:pPr marL="298813" indent="-136907" defTabSz="685722" fontAlgn="base">
              <a:lnSpc>
                <a:spcPct val="70000"/>
              </a:lnSpc>
              <a:spcBef>
                <a:spcPct val="0"/>
              </a:spcBef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000000"/>
                </a:solidFill>
              </a:rPr>
              <a:t>Запланирована разработка еще 4 ОРК и доработка 19 из 32 ОРК </a:t>
            </a:r>
          </a:p>
          <a:p>
            <a:pPr marL="161906" defTabSz="685722" fontAlgn="base">
              <a:lnSpc>
                <a:spcPct val="95000"/>
              </a:lnSpc>
              <a:spcBef>
                <a:spcPct val="0"/>
              </a:spcBef>
              <a:buClr>
                <a:srgbClr val="FFD200"/>
              </a:buClr>
              <a:buSzPct val="70000"/>
              <a:defRPr/>
            </a:pPr>
            <a:endParaRPr lang="ru-RU" sz="1200" noProof="1">
              <a:solidFill>
                <a:srgbClr val="000000"/>
              </a:solidFill>
            </a:endParaRPr>
          </a:p>
          <a:p>
            <a:pPr>
              <a:lnSpc>
                <a:spcPct val="84000"/>
              </a:lnSpc>
              <a:spcBef>
                <a:spcPct val="20000"/>
              </a:spcBef>
              <a:buFont typeface="Arial" charset="0"/>
              <a:buNone/>
            </a:pPr>
            <a:endParaRPr lang="ru-RU" sz="1200" b="1" u="sng" dirty="0"/>
          </a:p>
        </p:txBody>
      </p:sp>
      <p:sp>
        <p:nvSpPr>
          <p:cNvPr id="20" name="Объект 2">
            <a:extLst>
              <a:ext uri="{FF2B5EF4-FFF2-40B4-BE49-F238E27FC236}">
                <a16:creationId xmlns:a16="http://schemas.microsoft.com/office/drawing/2014/main" xmlns="" id="{8C73644D-1977-4D1B-B604-8CD1E700E276}"/>
              </a:ext>
            </a:extLst>
          </p:cNvPr>
          <p:cNvSpPr txBox="1">
            <a:spLocks/>
          </p:cNvSpPr>
          <p:nvPr/>
        </p:nvSpPr>
        <p:spPr bwMode="auto">
          <a:xfrm>
            <a:off x="3717429" y="1633821"/>
            <a:ext cx="1694755" cy="3373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4000"/>
              </a:lnSpc>
              <a:spcBef>
                <a:spcPct val="20000"/>
              </a:spcBef>
              <a:spcAft>
                <a:spcPts val="300"/>
              </a:spcAft>
              <a:buFont typeface="Arial" charset="0"/>
              <a:buNone/>
            </a:pPr>
            <a:r>
              <a:rPr lang="ru-RU" sz="1200" b="1" u="sng" dirty="0">
                <a:solidFill>
                  <a:srgbClr val="C00000"/>
                </a:solidFill>
                <a:cs typeface="Arial" pitchFamily="34" charset="0"/>
              </a:rPr>
              <a:t>ПРИОРИТЕТНЫЕ ПРОФЕССИИ (для ПС)</a:t>
            </a:r>
          </a:p>
          <a:p>
            <a:pPr marL="180975" lvl="0" indent="-95250" defTabSz="685722" fontAlgn="base">
              <a:lnSpc>
                <a:spcPct val="70000"/>
              </a:lnSpc>
              <a:spcBef>
                <a:spcPct val="0"/>
              </a:spcBef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C00000"/>
                </a:solidFill>
              </a:rPr>
              <a:t>Будет сформирован перечень профессий для разработки ПС с учетом международных и национальных прогнозов и отраслевых трендов</a:t>
            </a:r>
          </a:p>
          <a:p>
            <a:pPr>
              <a:lnSpc>
                <a:spcPct val="84000"/>
              </a:lnSpc>
              <a:spcBef>
                <a:spcPct val="20000"/>
              </a:spcBef>
              <a:buFont typeface="Arial" charset="0"/>
              <a:buNone/>
            </a:pPr>
            <a:endParaRPr lang="ru-RU" sz="700" b="1" u="sng" dirty="0">
              <a:cs typeface="Arial" pitchFamily="34" charset="0"/>
            </a:endParaRPr>
          </a:p>
          <a:p>
            <a:pPr>
              <a:lnSpc>
                <a:spcPct val="84000"/>
              </a:lnSpc>
              <a:spcBef>
                <a:spcPct val="20000"/>
              </a:spcBef>
              <a:spcAft>
                <a:spcPts val="300"/>
              </a:spcAft>
              <a:buFont typeface="Arial" charset="0"/>
              <a:buNone/>
            </a:pPr>
            <a:r>
              <a:rPr lang="ru-RU" sz="1200" b="1" u="sng" dirty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ПРОФЕССИОНАЛЬНЫЕ СТАНДАРТЫ (ПС)</a:t>
            </a:r>
          </a:p>
          <a:p>
            <a:pPr marL="298813" indent="-136907" defTabSz="685722" fontAlgn="base">
              <a:lnSpc>
                <a:spcPct val="70000"/>
              </a:lnSpc>
              <a:spcBef>
                <a:spcPct val="0"/>
              </a:spcBef>
              <a:spcAft>
                <a:spcPts val="300"/>
              </a:spcAft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000000"/>
                </a:solidFill>
              </a:rPr>
              <a:t>В 2016-2018 гг. разработано и утверждено 108 ПС</a:t>
            </a:r>
          </a:p>
          <a:p>
            <a:pPr marL="298813" indent="-136907" defTabSz="685722" fontAlgn="base">
              <a:lnSpc>
                <a:spcPct val="70000"/>
              </a:lnSpc>
              <a:spcBef>
                <a:spcPct val="0"/>
              </a:spcBef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000000"/>
                </a:solidFill>
              </a:rPr>
              <a:t>Еще 480 ПС будут разработаны до конца 2019 г.</a:t>
            </a:r>
          </a:p>
          <a:p>
            <a:pPr>
              <a:lnSpc>
                <a:spcPct val="84000"/>
              </a:lnSpc>
              <a:spcBef>
                <a:spcPct val="20000"/>
              </a:spcBef>
              <a:buFont typeface="Arial" charset="0"/>
              <a:buNone/>
            </a:pPr>
            <a:endParaRPr lang="ru-RU" sz="1200" b="1" u="sng" dirty="0">
              <a:cs typeface="Arial" pitchFamily="34" charset="0"/>
            </a:endParaRPr>
          </a:p>
          <a:p>
            <a:pPr>
              <a:lnSpc>
                <a:spcPct val="84000"/>
              </a:lnSpc>
              <a:spcBef>
                <a:spcPct val="20000"/>
              </a:spcBef>
              <a:buFont typeface="Arial" charset="0"/>
              <a:buNone/>
            </a:pPr>
            <a:endParaRPr lang="ru-RU" sz="1200" b="1" u="sng" dirty="0">
              <a:cs typeface="Arial" pitchFamily="34" charset="0"/>
            </a:endParaRPr>
          </a:p>
        </p:txBody>
      </p:sp>
      <p:sp>
        <p:nvSpPr>
          <p:cNvPr id="21" name="Объект 2">
            <a:extLst>
              <a:ext uri="{FF2B5EF4-FFF2-40B4-BE49-F238E27FC236}">
                <a16:creationId xmlns:a16="http://schemas.microsoft.com/office/drawing/2014/main" xmlns="" id="{467A8F09-1E4D-4BC0-8366-1E6416DC4B61}"/>
              </a:ext>
            </a:extLst>
          </p:cNvPr>
          <p:cNvSpPr txBox="1">
            <a:spLocks/>
          </p:cNvSpPr>
          <p:nvPr/>
        </p:nvSpPr>
        <p:spPr bwMode="auto">
          <a:xfrm>
            <a:off x="5394672" y="1633821"/>
            <a:ext cx="1619250" cy="3373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4000"/>
              </a:lnSpc>
              <a:spcBef>
                <a:spcPct val="20000"/>
              </a:spcBef>
              <a:spcAft>
                <a:spcPts val="300"/>
              </a:spcAft>
              <a:buFont typeface="Arial" charset="0"/>
              <a:buNone/>
            </a:pPr>
            <a:r>
              <a:rPr lang="ru-RU" sz="1200" b="1" u="sng" dirty="0">
                <a:solidFill>
                  <a:srgbClr val="C00000"/>
                </a:solidFill>
                <a:cs typeface="Arial" pitchFamily="34" charset="0"/>
              </a:rPr>
              <a:t>ОБРАЗОВАТЕЛЬНЫЕ ПРОГРАММЫ (ОП)</a:t>
            </a:r>
          </a:p>
          <a:p>
            <a:pPr marL="180975" indent="-95250" defTabSz="685722" fontAlgn="base">
              <a:lnSpc>
                <a:spcPct val="70000"/>
              </a:lnSpc>
              <a:spcBef>
                <a:spcPct val="0"/>
              </a:spcBef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C00000"/>
                </a:solidFill>
              </a:rPr>
              <a:t>Необходимо выработать механизм и осуществить нормативное закрепление разработки ОП на основе ПС в обязательном порядке</a:t>
            </a:r>
          </a:p>
          <a:p>
            <a:pPr>
              <a:lnSpc>
                <a:spcPct val="84000"/>
              </a:lnSpc>
              <a:spcBef>
                <a:spcPct val="20000"/>
              </a:spcBef>
              <a:buFont typeface="Arial" charset="0"/>
              <a:buNone/>
            </a:pPr>
            <a:endParaRPr lang="ru-RU" sz="1200" dirty="0"/>
          </a:p>
        </p:txBody>
      </p:sp>
      <p:sp>
        <p:nvSpPr>
          <p:cNvPr id="22" name="Объект 2">
            <a:extLst>
              <a:ext uri="{FF2B5EF4-FFF2-40B4-BE49-F238E27FC236}">
                <a16:creationId xmlns:a16="http://schemas.microsoft.com/office/drawing/2014/main" xmlns="" id="{9D1836B7-9A6E-458B-929F-2FD9FDEF707C}"/>
              </a:ext>
            </a:extLst>
          </p:cNvPr>
          <p:cNvSpPr txBox="1">
            <a:spLocks/>
          </p:cNvSpPr>
          <p:nvPr/>
        </p:nvSpPr>
        <p:spPr bwMode="auto">
          <a:xfrm>
            <a:off x="7013922" y="1633821"/>
            <a:ext cx="1620838" cy="3373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4000"/>
              </a:lnSpc>
              <a:spcBef>
                <a:spcPct val="20000"/>
              </a:spcBef>
              <a:spcAft>
                <a:spcPts val="300"/>
              </a:spcAft>
              <a:buFont typeface="Arial" charset="0"/>
              <a:buNone/>
            </a:pPr>
            <a:r>
              <a:rPr lang="ru-RU" sz="1200" b="1" u="sng" dirty="0">
                <a:solidFill>
                  <a:srgbClr val="C00000"/>
                </a:solidFill>
                <a:cs typeface="Arial" pitchFamily="34" charset="0"/>
              </a:rPr>
              <a:t>КВАЛИФИКАЦИИ</a:t>
            </a:r>
          </a:p>
          <a:p>
            <a:pPr marL="257145" lvl="0" indent="-136907" defTabSz="685722" fontAlgn="base">
              <a:lnSpc>
                <a:spcPct val="70000"/>
              </a:lnSpc>
              <a:spcBef>
                <a:spcPct val="0"/>
              </a:spcBef>
              <a:buClr>
                <a:srgbClr val="FFD200"/>
              </a:buClr>
              <a:buSzPct val="70000"/>
              <a:buFont typeface="Arial" pitchFamily="34" charset="0"/>
              <a:buChar char="►"/>
              <a:defRPr/>
            </a:pPr>
            <a:r>
              <a:rPr lang="ru-RU" sz="1200" noProof="1">
                <a:solidFill>
                  <a:srgbClr val="C00000"/>
                </a:solidFill>
              </a:rPr>
              <a:t>Необходима методологическая и нормативная основа для системы сертификации и подтверждения квалификации</a:t>
            </a:r>
          </a:p>
          <a:p>
            <a:pPr>
              <a:lnSpc>
                <a:spcPct val="84000"/>
              </a:lnSpc>
              <a:spcBef>
                <a:spcPct val="20000"/>
              </a:spcBef>
              <a:buFont typeface="Arial" charset="0"/>
              <a:buNone/>
            </a:pPr>
            <a:endParaRPr lang="ru-RU" sz="1050" b="1" u="sng" dirty="0">
              <a:cs typeface="Arial" pitchFamily="34" charset="0"/>
            </a:endParaRP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C26F5378-C4B4-4E1F-B62C-181008C951FC}"/>
              </a:ext>
            </a:extLst>
          </p:cNvPr>
          <p:cNvCxnSpPr/>
          <p:nvPr/>
        </p:nvCxnSpPr>
        <p:spPr>
          <a:xfrm flipH="1">
            <a:off x="2048222" y="1551648"/>
            <a:ext cx="0" cy="33907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xmlns="" id="{2B56CEE0-DEAC-404A-AA9F-C0B27A1CF3DA}"/>
              </a:ext>
            </a:extLst>
          </p:cNvPr>
          <p:cNvCxnSpPr/>
          <p:nvPr/>
        </p:nvCxnSpPr>
        <p:spPr>
          <a:xfrm flipH="1">
            <a:off x="3692872" y="1550750"/>
            <a:ext cx="0" cy="33907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BE2332F3-8646-4FD8-9D22-2353502F1C23}"/>
              </a:ext>
            </a:extLst>
          </p:cNvPr>
          <p:cNvCxnSpPr/>
          <p:nvPr/>
        </p:nvCxnSpPr>
        <p:spPr>
          <a:xfrm flipH="1">
            <a:off x="5342285" y="1584658"/>
            <a:ext cx="0" cy="335716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xmlns="" id="{AF8DC5C0-C578-4FB1-822B-88995761CE66}"/>
              </a:ext>
            </a:extLst>
          </p:cNvPr>
          <p:cNvCxnSpPr/>
          <p:nvPr/>
        </p:nvCxnSpPr>
        <p:spPr>
          <a:xfrm flipH="1">
            <a:off x="6993285" y="1613233"/>
            <a:ext cx="0" cy="332392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B89B5112-93C7-4BB7-8C61-A01D0A38017C}"/>
              </a:ext>
            </a:extLst>
          </p:cNvPr>
          <p:cNvCxnSpPr/>
          <p:nvPr/>
        </p:nvCxnSpPr>
        <p:spPr>
          <a:xfrm flipH="1">
            <a:off x="8631585" y="1584658"/>
            <a:ext cx="0" cy="335716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xmlns="" id="{360CEA1F-8D33-4EE7-8075-3E3C5BE46103}"/>
              </a:ext>
            </a:extLst>
          </p:cNvPr>
          <p:cNvCxnSpPr/>
          <p:nvPr/>
        </p:nvCxnSpPr>
        <p:spPr>
          <a:xfrm flipH="1">
            <a:off x="435322" y="1584683"/>
            <a:ext cx="8204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E97C093F-F6E4-4895-B4D4-1D08CDAF2CEE}"/>
              </a:ext>
            </a:extLst>
          </p:cNvPr>
          <p:cNvCxnSpPr/>
          <p:nvPr/>
        </p:nvCxnSpPr>
        <p:spPr>
          <a:xfrm flipH="1">
            <a:off x="427385" y="1541225"/>
            <a:ext cx="0" cy="33907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Стрелка вправо 36">
            <a:extLst>
              <a:ext uri="{FF2B5EF4-FFF2-40B4-BE49-F238E27FC236}">
                <a16:creationId xmlns:a16="http://schemas.microsoft.com/office/drawing/2014/main" xmlns="" id="{B162B1A4-5DF4-44A3-A2C4-2FA5571AFFEF}"/>
              </a:ext>
            </a:extLst>
          </p:cNvPr>
          <p:cNvSpPr/>
          <p:nvPr/>
        </p:nvSpPr>
        <p:spPr>
          <a:xfrm>
            <a:off x="1937097" y="1297271"/>
            <a:ext cx="257175" cy="287338"/>
          </a:xfrm>
          <a:prstGeom prst="right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/>
          </a:p>
        </p:txBody>
      </p:sp>
      <p:sp>
        <p:nvSpPr>
          <p:cNvPr id="31" name="Стрелка вправо 37">
            <a:extLst>
              <a:ext uri="{FF2B5EF4-FFF2-40B4-BE49-F238E27FC236}">
                <a16:creationId xmlns:a16="http://schemas.microsoft.com/office/drawing/2014/main" xmlns="" id="{0FA9AAFF-B6A8-425A-A509-BFBBF535B559}"/>
              </a:ext>
            </a:extLst>
          </p:cNvPr>
          <p:cNvSpPr/>
          <p:nvPr/>
        </p:nvSpPr>
        <p:spPr>
          <a:xfrm>
            <a:off x="3591272" y="1297271"/>
            <a:ext cx="257175" cy="287338"/>
          </a:xfrm>
          <a:prstGeom prst="right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/>
          </a:p>
        </p:txBody>
      </p:sp>
      <p:sp>
        <p:nvSpPr>
          <p:cNvPr id="32" name="Стрелка вправо 38">
            <a:extLst>
              <a:ext uri="{FF2B5EF4-FFF2-40B4-BE49-F238E27FC236}">
                <a16:creationId xmlns:a16="http://schemas.microsoft.com/office/drawing/2014/main" xmlns="" id="{A836EB37-65D9-4582-BBC9-EFF8B9D92EFB}"/>
              </a:ext>
            </a:extLst>
          </p:cNvPr>
          <p:cNvSpPr/>
          <p:nvPr/>
        </p:nvSpPr>
        <p:spPr>
          <a:xfrm>
            <a:off x="5232747" y="1297271"/>
            <a:ext cx="257175" cy="287338"/>
          </a:xfrm>
          <a:prstGeom prst="right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/>
          </a:p>
        </p:txBody>
      </p:sp>
      <p:sp>
        <p:nvSpPr>
          <p:cNvPr id="33" name="Стрелка вправо 39">
            <a:extLst>
              <a:ext uri="{FF2B5EF4-FFF2-40B4-BE49-F238E27FC236}">
                <a16:creationId xmlns:a16="http://schemas.microsoft.com/office/drawing/2014/main" xmlns="" id="{A597FF16-5A5E-45E5-BC5D-CA2ED57E09E6}"/>
              </a:ext>
            </a:extLst>
          </p:cNvPr>
          <p:cNvSpPr/>
          <p:nvPr/>
        </p:nvSpPr>
        <p:spPr>
          <a:xfrm>
            <a:off x="6885335" y="1297271"/>
            <a:ext cx="257175" cy="287338"/>
          </a:xfrm>
          <a:prstGeom prst="right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xmlns="" id="{8571C87B-9E44-43B6-870F-CF19F0A39D90}"/>
              </a:ext>
            </a:extLst>
          </p:cNvPr>
          <p:cNvCxnSpPr/>
          <p:nvPr/>
        </p:nvCxnSpPr>
        <p:spPr>
          <a:xfrm flipH="1">
            <a:off x="427385" y="1152610"/>
            <a:ext cx="82042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xmlns="" id="{69B24D37-9DA5-4684-BE7F-46AA772FD801}"/>
              </a:ext>
            </a:extLst>
          </p:cNvPr>
          <p:cNvCxnSpPr/>
          <p:nvPr/>
        </p:nvCxnSpPr>
        <p:spPr>
          <a:xfrm flipH="1">
            <a:off x="427385" y="4940459"/>
            <a:ext cx="8204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9BFA50D7-C909-4426-9422-C5F8DFEFC5EB}"/>
              </a:ext>
            </a:extLst>
          </p:cNvPr>
          <p:cNvSpPr/>
          <p:nvPr/>
        </p:nvSpPr>
        <p:spPr>
          <a:xfrm>
            <a:off x="2699792" y="471614"/>
            <a:ext cx="34222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schemeClr val="accent6">
                    <a:lumMod val="75000"/>
                  </a:schemeClr>
                </a:solidFill>
              </a:rPr>
              <a:t>3.3. Национальная система квалификации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196FD334-8C25-4879-AD84-B5AE19F026B4}"/>
              </a:ext>
            </a:extLst>
          </p:cNvPr>
          <p:cNvSpPr/>
          <p:nvPr/>
        </p:nvSpPr>
        <p:spPr>
          <a:xfrm>
            <a:off x="957412" y="194618"/>
            <a:ext cx="8064896" cy="260842"/>
          </a:xfrm>
          <a:prstGeom prst="rect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430" tIns="45715" rIns="91430" bIns="45715" rtlCol="0" anchor="ctr"/>
          <a:lstStyle/>
          <a:p>
            <a:pPr>
              <a:defRPr/>
            </a:pPr>
            <a:r>
              <a:rPr lang="en-US" b="1" kern="0" dirty="0">
                <a:solidFill>
                  <a:srgbClr val="00B050"/>
                </a:solidFill>
                <a:latin typeface="Calibri"/>
              </a:rPr>
              <a:t> </a:t>
            </a:r>
            <a:r>
              <a:rPr lang="en-US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3.</a:t>
            </a:r>
            <a:r>
              <a:rPr lang="ru-RU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 Развитие инструментария сферы занятости. </a:t>
            </a:r>
          </a:p>
        </p:txBody>
      </p:sp>
    </p:spTree>
    <p:extLst>
      <p:ext uri="{BB962C8B-B14F-4D97-AF65-F5344CB8AC3E}">
        <p14:creationId xmlns:p14="http://schemas.microsoft.com/office/powerpoint/2010/main" val="2037171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9">
            <a:extLst>
              <a:ext uri="{FF2B5EF4-FFF2-40B4-BE49-F238E27FC236}">
                <a16:creationId xmlns:a16="http://schemas.microsoft.com/office/drawing/2014/main" xmlns="" id="{69B5260A-868F-48F4-8D56-AAAE00F38A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2623584"/>
              </p:ext>
            </p:extLst>
          </p:nvPr>
        </p:nvGraphicFramePr>
        <p:xfrm>
          <a:off x="467544" y="771550"/>
          <a:ext cx="8424930" cy="411062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27773">
                  <a:extLst>
                    <a:ext uri="{9D8B030D-6E8A-4147-A177-3AD203B41FA5}">
                      <a16:colId xmlns:a16="http://schemas.microsoft.com/office/drawing/2014/main" xmlns="" val="3544028281"/>
                    </a:ext>
                  </a:extLst>
                </a:gridCol>
                <a:gridCol w="1589253">
                  <a:extLst>
                    <a:ext uri="{9D8B030D-6E8A-4147-A177-3AD203B41FA5}">
                      <a16:colId xmlns:a16="http://schemas.microsoft.com/office/drawing/2014/main" xmlns="" val="2784426888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3333471593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569316210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131869700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3779889090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411523318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4064264946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929748243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2702629633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3126274988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802071797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2214067960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618579816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3908180691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4184306466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159895270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178201627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1013560062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429365517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1530094215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3291856564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870632988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3141132276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2238097463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258611765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1542399764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4117470550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2966970012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905055836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4212771166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4096929687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4289637731"/>
                    </a:ext>
                  </a:extLst>
                </a:gridCol>
                <a:gridCol w="206497">
                  <a:extLst>
                    <a:ext uri="{9D8B030D-6E8A-4147-A177-3AD203B41FA5}">
                      <a16:colId xmlns:a16="http://schemas.microsoft.com/office/drawing/2014/main" xmlns="" val="3103072387"/>
                    </a:ext>
                  </a:extLst>
                </a:gridCol>
              </a:tblGrid>
              <a:tr h="1697929"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. Туризм 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2. Гостиничное хозяйство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3. Переработка и реализация нефти и газ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4. Коммунальное хозяйство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5. Труд и содействие занятости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6. Социальное обеспечение и социальные услуги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7. Транспортировка и хранение нефти и газ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8. Разведка и добыча нефти и газ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9. Строительство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0. Пищевая промышленность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1. Информационные технологии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2. Телекоммуникации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3. Энергетик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4. МСБ (торговля)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5. Машиностроение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6. Металлообработк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17. Средства массовой информации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8. Водный транспорт 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19. Авиатранспорт (гражданская авиация</a:t>
                      </a:r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20. МСБ (сквозные профессии)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21. Услуги в сфере </a:t>
                      </a:r>
                      <a:r>
                        <a:rPr lang="ru-RU" sz="700" dirty="0" err="1">
                          <a:solidFill>
                            <a:schemeClr val="tx1"/>
                          </a:solidFill>
                        </a:rPr>
                        <a:t>бьюти</a:t>
                      </a: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-индустрии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22. Автотранспорт 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23. Железнодорожный транспорт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24. Транспортная логистика 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25. Инновационная деятельность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26. Управление человеческими ресурсами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27. Горно-металлургический комплекс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28. Геология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29. Интервьюирование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30. Сельское хозяйство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31. Услуги в сфере технического регулирования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32. Услуги в сфере промышленной безопасности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15838957"/>
                  </a:ext>
                </a:extLst>
              </a:tr>
              <a:tr h="226085">
                <a:tc gridSpan="2"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Является ли отрасль приоритетной? (да/нет)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bg1"/>
                          </a:solidFill>
                        </a:rPr>
                        <a:t>да</a:t>
                      </a: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vert="vert27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47133315"/>
                  </a:ext>
                </a:extLst>
              </a:tr>
              <a:tr h="230419">
                <a:tc gridSpan="2">
                  <a:txBody>
                    <a:bodyPr/>
                    <a:lstStyle/>
                    <a:p>
                      <a:r>
                        <a:rPr lang="ru-RU" sz="700" b="1" dirty="0">
                          <a:solidFill>
                            <a:schemeClr val="tx1"/>
                          </a:solidFill>
                        </a:rPr>
                        <a:t>Общая экспертная оценка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8345787"/>
                  </a:ext>
                </a:extLst>
              </a:tr>
              <a:tr h="219974">
                <a:tc rowSpan="7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Критерии общей экспертной оценки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 КПК по методике ОРК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87746778"/>
                  </a:ext>
                </a:extLst>
              </a:tr>
              <a:tr h="226085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т функциональной карты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3860785"/>
                  </a:ext>
                </a:extLst>
              </a:tr>
              <a:tr h="384955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 указана группировка профессий по ПС в ОРК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99573781"/>
                  </a:ext>
                </a:extLst>
              </a:tr>
              <a:tr h="31163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 отражены взаимосвязи между профессиями в КПК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72157570"/>
                  </a:ext>
                </a:extLst>
              </a:tr>
              <a:tr h="226085">
                <a:tc vMerge="1">
                  <a:txBody>
                    <a:bodyPr/>
                    <a:lstStyle/>
                    <a:p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 выделены смежные профессии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04774127"/>
                  </a:ext>
                </a:extLst>
              </a:tr>
              <a:tr h="311630">
                <a:tc vMerge="1">
                  <a:txBody>
                    <a:bodyPr/>
                    <a:lstStyle/>
                    <a:p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достаточно качественно проведен анализ отрасли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32171628"/>
                  </a:ext>
                </a:extLst>
              </a:tr>
              <a:tr h="219974">
                <a:tc vMerge="1">
                  <a:txBody>
                    <a:bodyPr/>
                    <a:lstStyle/>
                    <a:p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Не согласовано с НПП/ГО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i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59160138"/>
                  </a:ext>
                </a:extLst>
              </a:tr>
            </a:tbl>
          </a:graphicData>
        </a:graphic>
      </p:graphicFrame>
      <p:sp>
        <p:nvSpPr>
          <p:cNvPr id="4" name="Rectangle 4">
            <a:extLst>
              <a:ext uri="{FF2B5EF4-FFF2-40B4-BE49-F238E27FC236}">
                <a16:creationId xmlns:a16="http://schemas.microsoft.com/office/drawing/2014/main" xmlns="" id="{68BEF1E0-44C2-4A13-94F1-DEB869C2B289}"/>
              </a:ext>
            </a:extLst>
          </p:cNvPr>
          <p:cNvSpPr/>
          <p:nvPr/>
        </p:nvSpPr>
        <p:spPr>
          <a:xfrm>
            <a:off x="832952" y="1321973"/>
            <a:ext cx="198120" cy="20955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 anchorCtr="0"/>
          <a:lstStyle/>
          <a:p>
            <a:pPr algn="ctr" defTabSz="685722"/>
            <a:endParaRPr lang="en-US" sz="900" i="1" dirty="0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5" name="Rectangle 11">
            <a:extLst>
              <a:ext uri="{FF2B5EF4-FFF2-40B4-BE49-F238E27FC236}">
                <a16:creationId xmlns:a16="http://schemas.microsoft.com/office/drawing/2014/main" xmlns="" id="{3BE62EC3-6BE9-41B6-9FF8-9BA0C32944F3}"/>
              </a:ext>
            </a:extLst>
          </p:cNvPr>
          <p:cNvSpPr/>
          <p:nvPr/>
        </p:nvSpPr>
        <p:spPr>
          <a:xfrm>
            <a:off x="827584" y="1714128"/>
            <a:ext cx="198120" cy="209550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 anchorCtr="0"/>
          <a:lstStyle/>
          <a:p>
            <a:pPr algn="ctr" defTabSz="685722"/>
            <a:endParaRPr lang="en-US" sz="900" i="1" dirty="0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xmlns="" id="{493774C0-29AE-47E6-B1FD-A9C37AAAF1F8}"/>
              </a:ext>
            </a:extLst>
          </p:cNvPr>
          <p:cNvSpPr/>
          <p:nvPr/>
        </p:nvSpPr>
        <p:spPr>
          <a:xfrm>
            <a:off x="1095505" y="1321973"/>
            <a:ext cx="1015067" cy="2095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 anchorCtr="0"/>
          <a:lstStyle/>
          <a:p>
            <a:pPr algn="ctr" defTabSz="685722"/>
            <a:r>
              <a:rPr lang="ru-RU" sz="900" i="1" dirty="0">
                <a:solidFill>
                  <a:srgbClr val="2E2E38"/>
                </a:solidFill>
              </a:rPr>
              <a:t>Доработка ОРК не требуется</a:t>
            </a:r>
            <a:endParaRPr lang="en-US" sz="900" i="1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xmlns="" id="{E6211A91-1197-46CD-B76F-885BD2D92339}"/>
              </a:ext>
            </a:extLst>
          </p:cNvPr>
          <p:cNvSpPr/>
          <p:nvPr/>
        </p:nvSpPr>
        <p:spPr>
          <a:xfrm>
            <a:off x="1095505" y="1714128"/>
            <a:ext cx="1015067" cy="2095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 anchorCtr="0"/>
          <a:lstStyle/>
          <a:p>
            <a:pPr algn="ctr" defTabSz="685722"/>
            <a:r>
              <a:rPr lang="ru-RU" sz="900" i="1" dirty="0">
                <a:solidFill>
                  <a:srgbClr val="2E2E38"/>
                </a:solidFill>
              </a:rPr>
              <a:t>Необходима доработка ОРК</a:t>
            </a:r>
            <a:endParaRPr lang="en-US" sz="900" i="1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10ACCEA6-E1D4-455E-A0A4-9B59FA3D61D8}"/>
              </a:ext>
            </a:extLst>
          </p:cNvPr>
          <p:cNvSpPr/>
          <p:nvPr/>
        </p:nvSpPr>
        <p:spPr>
          <a:xfrm>
            <a:off x="107504" y="472162"/>
            <a:ext cx="229043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Текущее состояние проекта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F507E8EA-4915-44CB-B9BE-43772E78F27E}"/>
              </a:ext>
            </a:extLst>
          </p:cNvPr>
          <p:cNvSpPr/>
          <p:nvPr/>
        </p:nvSpPr>
        <p:spPr>
          <a:xfrm>
            <a:off x="1360084" y="96416"/>
            <a:ext cx="8064896" cy="260842"/>
          </a:xfrm>
          <a:prstGeom prst="rect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430" tIns="45715" rIns="91430" bIns="45715" rtlCol="0" anchor="ctr"/>
          <a:lstStyle/>
          <a:p>
            <a:pPr>
              <a:defRPr/>
            </a:pPr>
            <a:r>
              <a:rPr lang="en-US" b="1" kern="0" dirty="0">
                <a:solidFill>
                  <a:srgbClr val="00B050"/>
                </a:solidFill>
                <a:latin typeface="Calibri"/>
              </a:rPr>
              <a:t> </a:t>
            </a:r>
            <a:r>
              <a:rPr lang="en-US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3.</a:t>
            </a:r>
            <a:r>
              <a:rPr lang="ru-RU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 Развитие инструментария сферы занятости. </a:t>
            </a:r>
          </a:p>
        </p:txBody>
      </p:sp>
    </p:spTree>
    <p:extLst>
      <p:ext uri="{BB962C8B-B14F-4D97-AF65-F5344CB8AC3E}">
        <p14:creationId xmlns:p14="http://schemas.microsoft.com/office/powerpoint/2010/main" val="36314505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6">
            <a:extLst>
              <a:ext uri="{FF2B5EF4-FFF2-40B4-BE49-F238E27FC236}">
                <a16:creationId xmlns:a16="http://schemas.microsoft.com/office/drawing/2014/main" xmlns="" id="{EF7D76A2-738A-453A-9F6D-1C999A2B3D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3339610"/>
              </p:ext>
            </p:extLst>
          </p:nvPr>
        </p:nvGraphicFramePr>
        <p:xfrm>
          <a:off x="827584" y="627534"/>
          <a:ext cx="7704857" cy="4416552"/>
        </p:xfrm>
        <a:graphic>
          <a:graphicData uri="http://schemas.openxmlformats.org/drawingml/2006/table">
            <a:tbl>
              <a:tblPr firstRow="1" bandRow="1"/>
              <a:tblGrid>
                <a:gridCol w="577340">
                  <a:extLst>
                    <a:ext uri="{9D8B030D-6E8A-4147-A177-3AD203B41FA5}">
                      <a16:colId xmlns:a16="http://schemas.microsoft.com/office/drawing/2014/main" xmlns="" val="2261792099"/>
                    </a:ext>
                  </a:extLst>
                </a:gridCol>
                <a:gridCol w="3466685">
                  <a:extLst>
                    <a:ext uri="{9D8B030D-6E8A-4147-A177-3AD203B41FA5}">
                      <a16:colId xmlns:a16="http://schemas.microsoft.com/office/drawing/2014/main" xmlns="" val="2340507478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312822031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3544276948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2208643070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2375211179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1890748366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2007581613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3897350087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1369793377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830423036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1460464025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1565164522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3549299362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2151042959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3543677918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3838649301"/>
                    </a:ext>
                  </a:extLst>
                </a:gridCol>
                <a:gridCol w="228802">
                  <a:extLst>
                    <a:ext uri="{9D8B030D-6E8A-4147-A177-3AD203B41FA5}">
                      <a16:colId xmlns:a16="http://schemas.microsoft.com/office/drawing/2014/main" xmlns="" val="862663568"/>
                    </a:ext>
                  </a:extLst>
                </a:gridCol>
              </a:tblGrid>
              <a:tr h="5893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Сентябрь 19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Октябрь 19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Ноябрь 19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Декабрь 19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258439"/>
                  </a:ext>
                </a:extLst>
              </a:tr>
              <a:tr h="5893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27752760"/>
                  </a:ext>
                </a:extLst>
              </a:tr>
              <a:tr h="58930">
                <a:tc rowSpan="5"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1 этап. </a:t>
                      </a:r>
                    </a:p>
                    <a:p>
                      <a:pPr algn="ctr"/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60 ПС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Круглые столы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40440211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 в 2 шага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6463172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Согласование в ГО (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при внесении изменений ГО)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42697908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Управляющий комитет ЦРТР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88032045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Внесение и утверждение в НПП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1279364"/>
                  </a:ext>
                </a:extLst>
              </a:tr>
              <a:tr h="58930">
                <a:tc rowSpan="5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2 этап. </a:t>
                      </a:r>
                    </a:p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60 ПС</a:t>
                      </a:r>
                      <a:endParaRPr kumimoji="0" lang="en-US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34290" marR="34290" marT="6858" marB="6858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Круглые столы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0957127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 в 2 шага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02678128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Согласование в ГО (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при внесении изменений ГО)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75157118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Расширенный управляющий комитет ЦРТР с участием Зам ПМ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22434919"/>
                  </a:ext>
                </a:extLst>
              </a:tr>
              <a:tr h="6742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Внесение и утверждение в НПП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63906880"/>
                  </a:ext>
                </a:extLst>
              </a:tr>
              <a:tr h="58930">
                <a:tc rowSpan="5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3 этап. </a:t>
                      </a:r>
                    </a:p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60 ПС</a:t>
                      </a:r>
                      <a:endParaRPr kumimoji="0" lang="en-US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34290" marR="34290" marT="6858" marB="6858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Круглые столы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45030576"/>
                  </a:ext>
                </a:extLst>
              </a:tr>
              <a:tr h="98914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 в 2 шага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0416021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Согласование в ГО (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при внесении изменений ГО)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95055909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Управляющий комитет ЦРТР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39475479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Внесение и утверждение в НПП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92026090"/>
                  </a:ext>
                </a:extLst>
              </a:tr>
              <a:tr h="58930">
                <a:tc rowSpan="5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4 этап. </a:t>
                      </a:r>
                    </a:p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60 ПС</a:t>
                      </a:r>
                      <a:endParaRPr kumimoji="0" lang="en-US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34290" marR="34290" marT="6858" marB="6858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Круглые столы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60972022"/>
                  </a:ext>
                </a:extLst>
              </a:tr>
              <a:tr h="7719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 в 2 шага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69977822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Согласование в ГО (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при внесении изменений ГО)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49609740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Управляющий комитет ЦРТР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10109677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Внесение и утверждение в НПП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53330234"/>
                  </a:ext>
                </a:extLst>
              </a:tr>
              <a:tr h="58930">
                <a:tc rowSpan="5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5 этап. </a:t>
                      </a:r>
                    </a:p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60 ПС</a:t>
                      </a:r>
                      <a:endParaRPr kumimoji="0" lang="en-US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34290" marR="34290" marT="6858" marB="6858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Круглые столы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92799551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 в 2 шага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22009406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Согласование в ГО (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при внесении изменений ГО)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45609029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Управляющий комитет ЦРТР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6162260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Внесение и утверждение в НПП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74577113"/>
                  </a:ext>
                </a:extLst>
              </a:tr>
              <a:tr h="58930">
                <a:tc rowSpan="5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6 этап. </a:t>
                      </a:r>
                    </a:p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60 ПС</a:t>
                      </a:r>
                      <a:endParaRPr kumimoji="0" lang="en-US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34290" marR="34290" marT="6858" marB="6858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Круглые столы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8996235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 в 2 шага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31131852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Согласование в ГО (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при внесении изменений ГО)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3031087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Расширенный управляющий комитет ЦРТР с участием Зам ПМ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72635359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Внесение и утверждение в НПП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61766337"/>
                  </a:ext>
                </a:extLst>
              </a:tr>
              <a:tr h="58930">
                <a:tc rowSpan="5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7 этап. </a:t>
                      </a:r>
                    </a:p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60 ПС</a:t>
                      </a:r>
                      <a:endParaRPr kumimoji="0" lang="en-US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34290" marR="34290" marT="6858" marB="6858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Круглые столы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1394277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 в 2 шага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42574452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Согласование в ГО (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при внесении изменений ГО)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84661569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Управляющий комитет ЦРТР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05983540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Внесение и утверждение в НПП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52827033"/>
                  </a:ext>
                </a:extLst>
              </a:tr>
              <a:tr h="58930">
                <a:tc rowSpan="5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8 этап. </a:t>
                      </a:r>
                    </a:p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/>
                          <a:ea typeface="+mn-ea"/>
                          <a:cs typeface="+mn-cs"/>
                        </a:rPr>
                        <a:t>60 ПС</a:t>
                      </a:r>
                      <a:endParaRPr kumimoji="0" lang="en-US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34290" marR="34290" marT="6858" marB="6858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Круглые столы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01122905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 в 2 шага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77272792"/>
                  </a:ext>
                </a:extLst>
              </a:tr>
              <a:tr h="7764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Согласование в ГО (экспертиза 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EY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при внесении изменений ГО)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66758772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="1" dirty="0">
                          <a:solidFill>
                            <a:schemeClr val="tx1"/>
                          </a:solidFill>
                        </a:rPr>
                        <a:t>Управляющий комитет ЦРТР</a:t>
                      </a:r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19494010"/>
                  </a:ext>
                </a:extLst>
              </a:tr>
              <a:tr h="58930">
                <a:tc vMerge="1"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EYInterstate Light"/>
                        <a:ea typeface="+mn-ea"/>
                        <a:cs typeface="+mn-cs"/>
                      </a:endParaRPr>
                    </a:p>
                  </a:txBody>
                  <a:tcPr marL="45720" marR="45720" marT="9144" marB="914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</a:rPr>
                        <a:t>Внесение и утверждение в НПП</a:t>
                      </a:r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6858" marB="68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92743624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1C9E993F-AC19-4B81-ABDD-AD127125E489}"/>
              </a:ext>
            </a:extLst>
          </p:cNvPr>
          <p:cNvSpPr/>
          <p:nvPr/>
        </p:nvSpPr>
        <p:spPr>
          <a:xfrm>
            <a:off x="2699792" y="296658"/>
            <a:ext cx="37494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schemeClr val="accent6">
                    <a:lumMod val="75000"/>
                  </a:schemeClr>
                </a:solidFill>
              </a:rPr>
              <a:t>План-график разработки и оценка качества ПС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A72A816-155F-4E6B-9D20-45A9E4F76875}"/>
              </a:ext>
            </a:extLst>
          </p:cNvPr>
          <p:cNvSpPr/>
          <p:nvPr/>
        </p:nvSpPr>
        <p:spPr>
          <a:xfrm>
            <a:off x="971600" y="101953"/>
            <a:ext cx="8064896" cy="260842"/>
          </a:xfrm>
          <a:prstGeom prst="rect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430" tIns="45715" rIns="91430" bIns="45715" rtlCol="0" anchor="ctr"/>
          <a:lstStyle/>
          <a:p>
            <a:pPr>
              <a:defRPr/>
            </a:pPr>
            <a:r>
              <a:rPr lang="en-US" b="1" kern="0" dirty="0">
                <a:solidFill>
                  <a:srgbClr val="00B050"/>
                </a:solidFill>
                <a:latin typeface="Calibri"/>
              </a:rPr>
              <a:t> </a:t>
            </a:r>
            <a:r>
              <a:rPr lang="en-US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3.</a:t>
            </a:r>
            <a:r>
              <a:rPr lang="ru-RU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 Развитие инструментария сферы занятости </a:t>
            </a:r>
          </a:p>
        </p:txBody>
      </p:sp>
    </p:spTree>
    <p:extLst>
      <p:ext uri="{BB962C8B-B14F-4D97-AF65-F5344CB8AC3E}">
        <p14:creationId xmlns:p14="http://schemas.microsoft.com/office/powerpoint/2010/main" val="3671575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bgerundetes Rechteck 24">
            <a:extLst>
              <a:ext uri="{FF2B5EF4-FFF2-40B4-BE49-F238E27FC236}">
                <a16:creationId xmlns:a16="http://schemas.microsoft.com/office/drawing/2014/main" xmlns="" id="{354FE0C2-6EFC-4D06-AB9C-E777E1173F44}"/>
              </a:ext>
            </a:extLst>
          </p:cNvPr>
          <p:cNvSpPr/>
          <p:nvPr/>
        </p:nvSpPr>
        <p:spPr bwMode="gray">
          <a:xfrm>
            <a:off x="1506817" y="1389117"/>
            <a:ext cx="3231199" cy="353151"/>
          </a:xfrm>
          <a:prstGeom prst="rect">
            <a:avLst/>
          </a:prstGeom>
          <a:noFill/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53994" rIns="80991" bIns="53994" anchor="ctr"/>
          <a:lstStyle/>
          <a:p>
            <a:pPr indent="-142859" defTabSz="601197" eaLnBrk="0" hangingPunct="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100 востребованных профессий Казахстан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F200D10-758B-4EC6-A53D-0C516D63DAEB}"/>
              </a:ext>
            </a:extLst>
          </p:cNvPr>
          <p:cNvSpPr txBox="1"/>
          <p:nvPr/>
        </p:nvSpPr>
        <p:spPr>
          <a:xfrm>
            <a:off x="1204002" y="2845309"/>
            <a:ext cx="128240" cy="235449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 defTabSz="685722">
              <a:lnSpc>
                <a:spcPct val="85000"/>
              </a:lnSpc>
              <a:spcAft>
                <a:spcPts val="450"/>
              </a:spcAft>
              <a:buClr>
                <a:srgbClr val="FFE600"/>
              </a:buClr>
              <a:buSzPct val="70000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5</a:t>
            </a:r>
            <a:endParaRPr lang="en-IN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C665AFA-18FD-4F6A-9FD5-2BC0919A79A3}"/>
              </a:ext>
            </a:extLst>
          </p:cNvPr>
          <p:cNvSpPr txBox="1"/>
          <p:nvPr/>
        </p:nvSpPr>
        <p:spPr>
          <a:xfrm>
            <a:off x="1199382" y="3135217"/>
            <a:ext cx="128240" cy="235449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 defTabSz="685722">
              <a:lnSpc>
                <a:spcPct val="85000"/>
              </a:lnSpc>
              <a:spcAft>
                <a:spcPts val="450"/>
              </a:spcAft>
              <a:buClr>
                <a:srgbClr val="FFE600"/>
              </a:buClr>
              <a:buSzPct val="70000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6</a:t>
            </a:r>
            <a:endParaRPr lang="en-IN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454BD42-B7F1-4B58-B958-40F25AF40270}"/>
              </a:ext>
            </a:extLst>
          </p:cNvPr>
          <p:cNvSpPr txBox="1"/>
          <p:nvPr/>
        </p:nvSpPr>
        <p:spPr>
          <a:xfrm>
            <a:off x="1220492" y="3532351"/>
            <a:ext cx="128240" cy="235449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 defTabSz="685722">
              <a:lnSpc>
                <a:spcPct val="85000"/>
              </a:lnSpc>
              <a:spcAft>
                <a:spcPts val="450"/>
              </a:spcAft>
              <a:buClr>
                <a:srgbClr val="FFE600"/>
              </a:buClr>
              <a:buSzPct val="70000"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7</a:t>
            </a:r>
            <a:endParaRPr lang="en-IN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C7A43C4-B1C5-410F-9086-C5EA5FA86537}"/>
              </a:ext>
            </a:extLst>
          </p:cNvPr>
          <p:cNvSpPr txBox="1"/>
          <p:nvPr/>
        </p:nvSpPr>
        <p:spPr>
          <a:xfrm>
            <a:off x="1191596" y="1452782"/>
            <a:ext cx="128240" cy="235449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 defTabSz="685722">
              <a:lnSpc>
                <a:spcPct val="85000"/>
              </a:lnSpc>
              <a:spcAft>
                <a:spcPts val="450"/>
              </a:spcAft>
              <a:buClr>
                <a:srgbClr val="FFE600"/>
              </a:buClr>
              <a:buSzPct val="70000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1</a:t>
            </a:r>
            <a:endParaRPr lang="en-IN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3" name="Abgerundetes Rechteck 24">
            <a:extLst>
              <a:ext uri="{FF2B5EF4-FFF2-40B4-BE49-F238E27FC236}">
                <a16:creationId xmlns:a16="http://schemas.microsoft.com/office/drawing/2014/main" xmlns="" id="{11437D1D-9890-4059-B372-E3DCA80EA220}"/>
              </a:ext>
            </a:extLst>
          </p:cNvPr>
          <p:cNvSpPr/>
          <p:nvPr/>
        </p:nvSpPr>
        <p:spPr bwMode="gray">
          <a:xfrm>
            <a:off x="1512657" y="1635646"/>
            <a:ext cx="4218109" cy="353151"/>
          </a:xfrm>
          <a:prstGeom prst="rect">
            <a:avLst/>
          </a:prstGeom>
          <a:noFill/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53994" rIns="80991" bIns="53994" anchor="ctr"/>
          <a:lstStyle/>
          <a:p>
            <a:pPr indent="-142859" defTabSz="601197" eaLnBrk="0" hangingPunct="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Перечень регулируемых профессий Казахстан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7814A97-834C-4A4D-8CDF-615C63919EA0}"/>
              </a:ext>
            </a:extLst>
          </p:cNvPr>
          <p:cNvSpPr txBox="1"/>
          <p:nvPr/>
        </p:nvSpPr>
        <p:spPr>
          <a:xfrm>
            <a:off x="1187999" y="1712187"/>
            <a:ext cx="128240" cy="235449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 defTabSz="685722">
              <a:lnSpc>
                <a:spcPct val="85000"/>
              </a:lnSpc>
              <a:spcAft>
                <a:spcPts val="450"/>
              </a:spcAft>
              <a:buClr>
                <a:srgbClr val="FFE600"/>
              </a:buClr>
              <a:buSzPct val="70000"/>
            </a:pPr>
            <a:r>
              <a:rPr lang="en-US" b="1" dirty="0">
                <a:solidFill>
                  <a:srgbClr val="808080"/>
                </a:solidFill>
                <a:latin typeface="Arial" panose="020B0604020202020204" pitchFamily="34" charset="0"/>
              </a:rPr>
              <a:t>2</a:t>
            </a:r>
            <a:endParaRPr lang="en-IN" b="1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15" name="Abgerundetes Rechteck 24">
            <a:extLst>
              <a:ext uri="{FF2B5EF4-FFF2-40B4-BE49-F238E27FC236}">
                <a16:creationId xmlns:a16="http://schemas.microsoft.com/office/drawing/2014/main" xmlns="" id="{437AAADF-08C8-4E14-A49A-488F89BEEF25}"/>
              </a:ext>
            </a:extLst>
          </p:cNvPr>
          <p:cNvSpPr/>
          <p:nvPr/>
        </p:nvSpPr>
        <p:spPr bwMode="gray">
          <a:xfrm>
            <a:off x="1507630" y="1995686"/>
            <a:ext cx="3496418" cy="353151"/>
          </a:xfrm>
          <a:prstGeom prst="rect">
            <a:avLst/>
          </a:prstGeom>
          <a:noFill/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53994" rIns="80991" bIns="53994" anchor="ctr"/>
          <a:lstStyle/>
          <a:p>
            <a:pPr indent="-142859" defTabSz="601197" eaLnBrk="0" hangingPunct="0">
              <a:lnSpc>
                <a:spcPct val="70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Профессии, на которые предоставляется квота иностранной рабочей силы в Казахстане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FDE1A3E3-3306-4049-97A3-CEB721F625FB}"/>
              </a:ext>
            </a:extLst>
          </p:cNvPr>
          <p:cNvSpPr txBox="1"/>
          <p:nvPr/>
        </p:nvSpPr>
        <p:spPr>
          <a:xfrm>
            <a:off x="1187624" y="2073998"/>
            <a:ext cx="128240" cy="235449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 defTabSz="685722">
              <a:lnSpc>
                <a:spcPct val="85000"/>
              </a:lnSpc>
              <a:spcAft>
                <a:spcPts val="450"/>
              </a:spcAft>
              <a:buClr>
                <a:srgbClr val="FFE600"/>
              </a:buClr>
              <a:buSzPct val="70000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3</a:t>
            </a:r>
            <a:endParaRPr lang="en-IN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7" name="Abgerundetes Rechteck 24">
            <a:extLst>
              <a:ext uri="{FF2B5EF4-FFF2-40B4-BE49-F238E27FC236}">
                <a16:creationId xmlns:a16="http://schemas.microsoft.com/office/drawing/2014/main" xmlns="" id="{0893D884-0380-4A4E-A6C9-F8BF6318AC8F}"/>
              </a:ext>
            </a:extLst>
          </p:cNvPr>
          <p:cNvSpPr/>
          <p:nvPr/>
        </p:nvSpPr>
        <p:spPr bwMode="gray">
          <a:xfrm>
            <a:off x="1527281" y="2434623"/>
            <a:ext cx="3620778" cy="353151"/>
          </a:xfrm>
          <a:prstGeom prst="rect">
            <a:avLst/>
          </a:prstGeom>
          <a:noFill/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53994" rIns="80991" bIns="53994" anchor="ctr"/>
          <a:lstStyle/>
          <a:p>
            <a:pPr indent="-142859" defTabSz="601197" eaLnBrk="0" hangingPunct="0">
              <a:lnSpc>
                <a:spcPct val="70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Востребованные профессии по данным прогнозов</a:t>
            </a:r>
            <a:r>
              <a:rPr lang="en-US" sz="1200" dirty="0">
                <a:solidFill>
                  <a:srgbClr val="2E2E38"/>
                </a:solidFill>
                <a:latin typeface="EYInterstate Light"/>
                <a:cs typeface="Arial" charset="0"/>
              </a:rPr>
              <a:t> </a:t>
            </a:r>
            <a:r>
              <a:rPr lang="ru-RU" sz="1200" dirty="0">
                <a:solidFill>
                  <a:srgbClr val="2E2E38"/>
                </a:solidFill>
                <a:cs typeface="Arial" charset="0"/>
              </a:rPr>
              <a:t>рынка труда в Казахстане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B13397A4-2BB3-466B-B62E-BEA91F85557F}"/>
              </a:ext>
            </a:extLst>
          </p:cNvPr>
          <p:cNvSpPr txBox="1"/>
          <p:nvPr/>
        </p:nvSpPr>
        <p:spPr>
          <a:xfrm>
            <a:off x="1192021" y="2527789"/>
            <a:ext cx="128240" cy="235449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 defTabSz="685722">
              <a:lnSpc>
                <a:spcPct val="85000"/>
              </a:lnSpc>
              <a:spcAft>
                <a:spcPts val="450"/>
              </a:spcAft>
              <a:buClr>
                <a:srgbClr val="FFE600"/>
              </a:buClr>
              <a:buSzPct val="70000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4</a:t>
            </a:r>
            <a:endParaRPr lang="en-IN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9" name="Abgerundetes Rechteck 24">
            <a:extLst>
              <a:ext uri="{FF2B5EF4-FFF2-40B4-BE49-F238E27FC236}">
                <a16:creationId xmlns:a16="http://schemas.microsoft.com/office/drawing/2014/main" xmlns="" id="{9899F020-192D-45F7-8A53-4CB19564A156}"/>
              </a:ext>
            </a:extLst>
          </p:cNvPr>
          <p:cNvSpPr/>
          <p:nvPr/>
        </p:nvSpPr>
        <p:spPr bwMode="gray">
          <a:xfrm>
            <a:off x="1512657" y="2737513"/>
            <a:ext cx="4244836" cy="353151"/>
          </a:xfrm>
          <a:prstGeom prst="rect">
            <a:avLst/>
          </a:prstGeom>
          <a:noFill/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53994" rIns="80991" bIns="53994" anchor="ctr"/>
          <a:lstStyle/>
          <a:p>
            <a:pPr indent="-142859" defTabSz="601197" eaLnBrk="0" hangingPunct="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Атлас новых профессий Казахстана</a:t>
            </a:r>
          </a:p>
        </p:txBody>
      </p:sp>
      <p:sp>
        <p:nvSpPr>
          <p:cNvPr id="20" name="Abgerundetes Rechteck 24">
            <a:extLst>
              <a:ext uri="{FF2B5EF4-FFF2-40B4-BE49-F238E27FC236}">
                <a16:creationId xmlns:a16="http://schemas.microsoft.com/office/drawing/2014/main" xmlns="" id="{17446B31-2748-4A7B-843A-15E5BE355725}"/>
              </a:ext>
            </a:extLst>
          </p:cNvPr>
          <p:cNvSpPr/>
          <p:nvPr/>
        </p:nvSpPr>
        <p:spPr bwMode="gray">
          <a:xfrm>
            <a:off x="1527279" y="3044595"/>
            <a:ext cx="4244836" cy="353151"/>
          </a:xfrm>
          <a:prstGeom prst="rect">
            <a:avLst/>
          </a:prstGeom>
          <a:noFill/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53994" rIns="80991" bIns="53994" anchor="ctr"/>
          <a:lstStyle/>
          <a:p>
            <a:pPr indent="-142859" defTabSz="601197" eaLnBrk="0" hangingPunct="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Профессии по стандартам </a:t>
            </a:r>
            <a:r>
              <a:rPr lang="en-US" sz="1200" dirty="0">
                <a:solidFill>
                  <a:srgbClr val="2E2E38"/>
                </a:solidFill>
                <a:latin typeface="EYInterstate Light"/>
                <a:cs typeface="Arial" charset="0"/>
              </a:rPr>
              <a:t>World Skills</a:t>
            </a:r>
            <a:endParaRPr lang="ru-RU" sz="1200" dirty="0">
              <a:solidFill>
                <a:srgbClr val="2E2E38"/>
              </a:solidFill>
              <a:cs typeface="Arial" charset="0"/>
            </a:endParaRPr>
          </a:p>
        </p:txBody>
      </p:sp>
      <p:sp>
        <p:nvSpPr>
          <p:cNvPr id="21" name="Abgerundetes Rechteck 24">
            <a:extLst>
              <a:ext uri="{FF2B5EF4-FFF2-40B4-BE49-F238E27FC236}">
                <a16:creationId xmlns:a16="http://schemas.microsoft.com/office/drawing/2014/main" xmlns="" id="{CF03B6CF-E728-4479-9A81-97A1C2263FBA}"/>
              </a:ext>
            </a:extLst>
          </p:cNvPr>
          <p:cNvSpPr/>
          <p:nvPr/>
        </p:nvSpPr>
        <p:spPr bwMode="gray">
          <a:xfrm>
            <a:off x="1527279" y="3401938"/>
            <a:ext cx="3476759" cy="493905"/>
          </a:xfrm>
          <a:prstGeom prst="rect">
            <a:avLst/>
          </a:prstGeom>
          <a:noFill/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53994" rIns="80991" bIns="53994" anchor="ctr"/>
          <a:lstStyle/>
          <a:p>
            <a:pPr indent="-142859" defTabSz="601197" eaLnBrk="0" hangingPunct="0">
              <a:lnSpc>
                <a:spcPct val="70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Востребованные профессии по данным прогнозов</a:t>
            </a:r>
            <a:r>
              <a:rPr lang="en-US" sz="1200" dirty="0">
                <a:solidFill>
                  <a:srgbClr val="2E2E38"/>
                </a:solidFill>
                <a:latin typeface="EYInterstate Light"/>
                <a:cs typeface="Arial" charset="0"/>
              </a:rPr>
              <a:t> </a:t>
            </a:r>
            <a:r>
              <a:rPr lang="ru-RU" sz="1200" dirty="0">
                <a:solidFill>
                  <a:srgbClr val="2E2E38"/>
                </a:solidFill>
                <a:cs typeface="Arial" charset="0"/>
              </a:rPr>
              <a:t>рынка труда в других странах (Россия, Канада, Австралия, Малайзия, Сингапур)</a:t>
            </a:r>
          </a:p>
        </p:txBody>
      </p:sp>
      <p:sp>
        <p:nvSpPr>
          <p:cNvPr id="22" name="Flowchart: Document 106">
            <a:extLst>
              <a:ext uri="{FF2B5EF4-FFF2-40B4-BE49-F238E27FC236}">
                <a16:creationId xmlns:a16="http://schemas.microsoft.com/office/drawing/2014/main" xmlns="" id="{998055A4-8B34-43BF-BC60-6BDEC0D51833}"/>
              </a:ext>
            </a:extLst>
          </p:cNvPr>
          <p:cNvSpPr/>
          <p:nvPr/>
        </p:nvSpPr>
        <p:spPr>
          <a:xfrm>
            <a:off x="5639424" y="3525443"/>
            <a:ext cx="2955498" cy="759692"/>
          </a:xfrm>
          <a:prstGeom prst="flowChartDocumen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t" anchorCtr="0"/>
          <a:lstStyle/>
          <a:p>
            <a:pPr defTabSz="685722">
              <a:spcBef>
                <a:spcPts val="450"/>
              </a:spcBef>
              <a:spcAft>
                <a:spcPts val="450"/>
              </a:spcAft>
            </a:pPr>
            <a:r>
              <a:rPr lang="ru-RU" sz="900" b="1" u="sng" dirty="0">
                <a:solidFill>
                  <a:srgbClr val="2E2E38"/>
                </a:solidFill>
              </a:rPr>
              <a:t>За исключением профессий:</a:t>
            </a:r>
          </a:p>
          <a:p>
            <a:pPr marL="72000" indent="-128573" defTabSz="685722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Охваченных разработанными ранее ПС</a:t>
            </a:r>
          </a:p>
          <a:p>
            <a:pPr defTabSz="685722">
              <a:lnSpc>
                <a:spcPct val="70000"/>
              </a:lnSpc>
            </a:pPr>
            <a:endParaRPr lang="ru-RU" sz="1200" dirty="0">
              <a:solidFill>
                <a:srgbClr val="2E2E38"/>
              </a:solidFill>
              <a:cs typeface="Arial" charset="0"/>
            </a:endParaRPr>
          </a:p>
          <a:p>
            <a:pPr marL="72000" indent="-128573" defTabSz="685722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Не включенных в ОРК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B760352E-CB9D-48EB-AB93-0C601306486C}"/>
              </a:ext>
            </a:extLst>
          </p:cNvPr>
          <p:cNvSpPr txBox="1"/>
          <p:nvPr/>
        </p:nvSpPr>
        <p:spPr>
          <a:xfrm>
            <a:off x="1205871" y="3957799"/>
            <a:ext cx="128240" cy="235449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 defTabSz="685722">
              <a:lnSpc>
                <a:spcPct val="85000"/>
              </a:lnSpc>
              <a:spcAft>
                <a:spcPts val="450"/>
              </a:spcAft>
              <a:buClr>
                <a:srgbClr val="FFE600"/>
              </a:buClr>
              <a:buSzPct val="70000"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8</a:t>
            </a:r>
            <a:endParaRPr lang="en-IN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4" name="Abgerundetes Rechteck 24">
            <a:extLst>
              <a:ext uri="{FF2B5EF4-FFF2-40B4-BE49-F238E27FC236}">
                <a16:creationId xmlns:a16="http://schemas.microsoft.com/office/drawing/2014/main" xmlns="" id="{9AEBE01B-E037-454F-A379-EE0CE9A115F0}"/>
              </a:ext>
            </a:extLst>
          </p:cNvPr>
          <p:cNvSpPr/>
          <p:nvPr/>
        </p:nvSpPr>
        <p:spPr bwMode="gray">
          <a:xfrm>
            <a:off x="1512657" y="3886944"/>
            <a:ext cx="3476754" cy="353151"/>
          </a:xfrm>
          <a:prstGeom prst="rect">
            <a:avLst/>
          </a:prstGeom>
          <a:noFill/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53994" rIns="80991" bIns="53994" anchor="ctr"/>
          <a:lstStyle/>
          <a:p>
            <a:pPr indent="-142859" defTabSz="601197" eaLnBrk="0" hangingPunct="0">
              <a:lnSpc>
                <a:spcPct val="70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Востребованные профессии по данным прогнозов</a:t>
            </a:r>
            <a:r>
              <a:rPr lang="en-US" sz="1200" dirty="0">
                <a:solidFill>
                  <a:srgbClr val="2E2E38"/>
                </a:solidFill>
                <a:latin typeface="EYInterstate Light"/>
                <a:cs typeface="Arial" charset="0"/>
              </a:rPr>
              <a:t> </a:t>
            </a:r>
            <a:r>
              <a:rPr lang="ru-RU" sz="1200" dirty="0">
                <a:solidFill>
                  <a:srgbClr val="2E2E38"/>
                </a:solidFill>
                <a:cs typeface="Arial" charset="0"/>
              </a:rPr>
              <a:t>рынка труда ВЭФ, МОТ, </a:t>
            </a:r>
            <a:r>
              <a:rPr lang="en-US" sz="1200" dirty="0">
                <a:solidFill>
                  <a:srgbClr val="2E2E38"/>
                </a:solidFill>
                <a:latin typeface="EYInterstate Light"/>
                <a:cs typeface="Arial" charset="0"/>
              </a:rPr>
              <a:t>UN, ETF</a:t>
            </a:r>
            <a:endParaRPr lang="ru-RU" sz="1200" dirty="0">
              <a:solidFill>
                <a:srgbClr val="2E2E38"/>
              </a:solidFill>
              <a:cs typeface="Arial" charset="0"/>
            </a:endParaRPr>
          </a:p>
        </p:txBody>
      </p:sp>
      <p:sp>
        <p:nvSpPr>
          <p:cNvPr id="33" name="Ellipse 45">
            <a:extLst>
              <a:ext uri="{FF2B5EF4-FFF2-40B4-BE49-F238E27FC236}">
                <a16:creationId xmlns:a16="http://schemas.microsoft.com/office/drawing/2014/main" xmlns="" id="{CC256A92-EAFA-450C-98E4-D4D6E061FB5D}"/>
              </a:ext>
            </a:extLst>
          </p:cNvPr>
          <p:cNvSpPr/>
          <p:nvPr/>
        </p:nvSpPr>
        <p:spPr bwMode="gray">
          <a:xfrm>
            <a:off x="5436096" y="3906314"/>
            <a:ext cx="299030" cy="238708"/>
          </a:xfrm>
          <a:prstGeom prst="ellipse">
            <a:avLst/>
          </a:prstGeom>
          <a:solidFill>
            <a:srgbClr val="FFFFFF"/>
          </a:solidFill>
          <a:ln w="6350">
            <a:noFill/>
            <a:round/>
            <a:headEnd/>
            <a:tailEnd/>
          </a:ln>
        </p:spPr>
        <p:txBody>
          <a:bodyPr lIns="80991" tIns="80991" rIns="107987" bIns="45715" rtlCol="0" anchor="ctr"/>
          <a:lstStyle/>
          <a:p>
            <a:pPr algn="ctr" defTabSz="685722" fontAlgn="base">
              <a:spcBef>
                <a:spcPct val="0"/>
              </a:spcBef>
              <a:spcAft>
                <a:spcPct val="0"/>
              </a:spcAft>
            </a:pPr>
            <a:r>
              <a:rPr lang="en-US" noProof="1">
                <a:solidFill>
                  <a:srgbClr val="F04C3E"/>
                </a:solidFill>
                <a:latin typeface="EYInterstate Light"/>
                <a:sym typeface="Wingdings"/>
              </a:rPr>
              <a:t></a:t>
            </a:r>
            <a:endParaRPr lang="en-US" noProof="1">
              <a:solidFill>
                <a:srgbClr val="F04C3E"/>
              </a:solidFill>
              <a:latin typeface="EYInterstate Light"/>
            </a:endParaRPr>
          </a:p>
        </p:txBody>
      </p:sp>
      <p:sp>
        <p:nvSpPr>
          <p:cNvPr id="35" name="Pentagon 4">
            <a:extLst>
              <a:ext uri="{FF2B5EF4-FFF2-40B4-BE49-F238E27FC236}">
                <a16:creationId xmlns:a16="http://schemas.microsoft.com/office/drawing/2014/main" xmlns="" id="{BCBFA79F-EA42-42A0-BE4E-A4C418281D0F}"/>
              </a:ext>
            </a:extLst>
          </p:cNvPr>
          <p:cNvSpPr/>
          <p:nvPr/>
        </p:nvSpPr>
        <p:spPr>
          <a:xfrm>
            <a:off x="1371262" y="987574"/>
            <a:ext cx="3776797" cy="394200"/>
          </a:xfrm>
          <a:prstGeom prst="homePlate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Источники для формирования </a:t>
            </a:r>
            <a:br>
              <a:rPr lang="ru-RU" sz="1200" dirty="0">
                <a:solidFill>
                  <a:srgbClr val="FFFFFF"/>
                </a:solidFill>
              </a:rPr>
            </a:br>
            <a:r>
              <a:rPr lang="ru-RU" sz="1200" dirty="0">
                <a:solidFill>
                  <a:srgbClr val="FFFFFF"/>
                </a:solidFill>
              </a:rPr>
              <a:t>перечня ПРОФЕССИЙ для ПС</a:t>
            </a:r>
          </a:p>
        </p:txBody>
      </p:sp>
      <p:sp>
        <p:nvSpPr>
          <p:cNvPr id="36" name="Chevron 5">
            <a:extLst>
              <a:ext uri="{FF2B5EF4-FFF2-40B4-BE49-F238E27FC236}">
                <a16:creationId xmlns:a16="http://schemas.microsoft.com/office/drawing/2014/main" xmlns="" id="{0C20F8B3-B5CA-4C1E-B585-825138F84EEA}"/>
              </a:ext>
            </a:extLst>
          </p:cNvPr>
          <p:cNvSpPr/>
          <p:nvPr/>
        </p:nvSpPr>
        <p:spPr>
          <a:xfrm>
            <a:off x="5468374" y="1004331"/>
            <a:ext cx="3057132" cy="394200"/>
          </a:xfrm>
          <a:prstGeom prst="chevron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Перечень рекомендуемых профессий для разработки ПС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10760DAB-8DAF-482E-83C7-3B93DD14E15B}"/>
              </a:ext>
            </a:extLst>
          </p:cNvPr>
          <p:cNvSpPr/>
          <p:nvPr/>
        </p:nvSpPr>
        <p:spPr>
          <a:xfrm>
            <a:off x="5595059" y="1492469"/>
            <a:ext cx="3009388" cy="3592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9600" indent="-128573" defTabSz="685722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Инженеры по 3D моделированию и дополненной реальности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3216F7DB-06A9-4007-BD26-DC9A03D50DBB}"/>
              </a:ext>
            </a:extLst>
          </p:cNvPr>
          <p:cNvSpPr/>
          <p:nvPr/>
        </p:nvSpPr>
        <p:spPr>
          <a:xfrm>
            <a:off x="5611088" y="1852509"/>
            <a:ext cx="3009388" cy="3592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9600" indent="-128573" defTabSz="685722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Графические и мультимедийные дизайнеры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5D331B0C-3D00-4AC4-8089-16CDD2347029}"/>
              </a:ext>
            </a:extLst>
          </p:cNvPr>
          <p:cNvSpPr/>
          <p:nvPr/>
        </p:nvSpPr>
        <p:spPr>
          <a:xfrm>
            <a:off x="5611088" y="2212549"/>
            <a:ext cx="3009388" cy="3592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9600" indent="-128573" defTabSz="685722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Изготовители и установщики металлоконструкций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8402089B-1DBD-4BC0-9BEE-53B29344A3C0}"/>
              </a:ext>
            </a:extLst>
          </p:cNvPr>
          <p:cNvSpPr/>
          <p:nvPr/>
        </p:nvSpPr>
        <p:spPr>
          <a:xfrm>
            <a:off x="5610176" y="2542249"/>
            <a:ext cx="30093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9600" indent="-128573" defTabSz="685722"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Сварщики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7F1B1472-E66A-42A8-AECB-1434B75E5B2A}"/>
              </a:ext>
            </a:extLst>
          </p:cNvPr>
          <p:cNvSpPr/>
          <p:nvPr/>
        </p:nvSpPr>
        <p:spPr>
          <a:xfrm>
            <a:off x="5610129" y="2813191"/>
            <a:ext cx="30093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9600" indent="-128573" defTabSz="685722"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E2E38"/>
                </a:solidFill>
                <a:cs typeface="Arial" charset="0"/>
              </a:rPr>
              <a:t>Слесари-монтажники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1F949A64-0BB4-49B5-9AB0-103D7D2F2AD8}"/>
              </a:ext>
            </a:extLst>
          </p:cNvPr>
          <p:cNvSpPr/>
          <p:nvPr/>
        </p:nvSpPr>
        <p:spPr>
          <a:xfrm>
            <a:off x="5619654" y="3133006"/>
            <a:ext cx="300938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9600" indent="-128573" defTabSz="685722"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ru-RU" sz="900" i="1" dirty="0">
                <a:solidFill>
                  <a:srgbClr val="2E2E38"/>
                </a:solidFill>
              </a:rPr>
              <a:t>. . . . . . . . </a:t>
            </a:r>
          </a:p>
        </p:txBody>
      </p:sp>
      <p:sp>
        <p:nvSpPr>
          <p:cNvPr id="43" name="Ellipse 45">
            <a:extLst>
              <a:ext uri="{FF2B5EF4-FFF2-40B4-BE49-F238E27FC236}">
                <a16:creationId xmlns:a16="http://schemas.microsoft.com/office/drawing/2014/main" xmlns="" id="{AC82315C-CAF1-4DA8-AB70-612A48F17088}"/>
              </a:ext>
            </a:extLst>
          </p:cNvPr>
          <p:cNvSpPr/>
          <p:nvPr/>
        </p:nvSpPr>
        <p:spPr bwMode="gray">
          <a:xfrm>
            <a:off x="5436096" y="3660363"/>
            <a:ext cx="299030" cy="238708"/>
          </a:xfrm>
          <a:prstGeom prst="ellipse">
            <a:avLst/>
          </a:prstGeom>
          <a:solidFill>
            <a:srgbClr val="FFFFFF"/>
          </a:solidFill>
          <a:ln w="6350">
            <a:noFill/>
            <a:round/>
            <a:headEnd/>
            <a:tailEnd/>
          </a:ln>
        </p:spPr>
        <p:txBody>
          <a:bodyPr lIns="80991" tIns="80991" rIns="107987" bIns="45715" rtlCol="0" anchor="ctr"/>
          <a:lstStyle/>
          <a:p>
            <a:pPr algn="ctr" defTabSz="685722" fontAlgn="base">
              <a:spcBef>
                <a:spcPct val="0"/>
              </a:spcBef>
              <a:spcAft>
                <a:spcPct val="0"/>
              </a:spcAft>
            </a:pPr>
            <a:r>
              <a:rPr lang="en-US" noProof="1">
                <a:solidFill>
                  <a:srgbClr val="F04C3E"/>
                </a:solidFill>
                <a:latin typeface="EYInterstate Light"/>
                <a:sym typeface="Wingdings"/>
              </a:rPr>
              <a:t></a:t>
            </a:r>
            <a:endParaRPr lang="en-US" noProof="1">
              <a:solidFill>
                <a:srgbClr val="F04C3E"/>
              </a:solidFill>
              <a:latin typeface="EYInterstate Light"/>
            </a:endParaRPr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xmlns="" id="{2DC8B1AE-9B3B-4121-8E4F-E1E1B1182ACB}"/>
              </a:ext>
            </a:extLst>
          </p:cNvPr>
          <p:cNvCxnSpPr/>
          <p:nvPr/>
        </p:nvCxnSpPr>
        <p:spPr>
          <a:xfrm>
            <a:off x="5249788" y="1381774"/>
            <a:ext cx="0" cy="2858321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A6FBC15A-B271-4A5D-9452-307EF58C38A8}"/>
              </a:ext>
            </a:extLst>
          </p:cNvPr>
          <p:cNvSpPr/>
          <p:nvPr/>
        </p:nvSpPr>
        <p:spPr>
          <a:xfrm>
            <a:off x="2699792" y="471614"/>
            <a:ext cx="34222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schemeClr val="accent6">
                    <a:lumMod val="75000"/>
                  </a:schemeClr>
                </a:solidFill>
              </a:rPr>
              <a:t>3.3. Национальная система квалификации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4BF2A5B9-E56E-403A-8630-A576036034E7}"/>
              </a:ext>
            </a:extLst>
          </p:cNvPr>
          <p:cNvSpPr/>
          <p:nvPr/>
        </p:nvSpPr>
        <p:spPr>
          <a:xfrm>
            <a:off x="957412" y="194618"/>
            <a:ext cx="8064896" cy="260842"/>
          </a:xfrm>
          <a:prstGeom prst="rect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430" tIns="45715" rIns="91430" bIns="45715" rtlCol="0" anchor="ctr"/>
          <a:lstStyle/>
          <a:p>
            <a:pPr>
              <a:defRPr/>
            </a:pPr>
            <a:r>
              <a:rPr lang="en-US" b="1" kern="0" dirty="0">
                <a:solidFill>
                  <a:srgbClr val="00B050"/>
                </a:solidFill>
                <a:latin typeface="Calibri"/>
              </a:rPr>
              <a:t> </a:t>
            </a:r>
            <a:r>
              <a:rPr lang="en-US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3.</a:t>
            </a:r>
            <a:r>
              <a:rPr lang="ru-RU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 Развитие инструментария сферы занятости.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E068BA51-752C-4AE9-8B4C-0E8300A98558}"/>
              </a:ext>
            </a:extLst>
          </p:cNvPr>
          <p:cNvSpPr txBox="1"/>
          <p:nvPr/>
        </p:nvSpPr>
        <p:spPr>
          <a:xfrm>
            <a:off x="2803546" y="4547241"/>
            <a:ext cx="4677837" cy="1604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b="1" dirty="0">
                <a:solidFill>
                  <a:schemeClr val="accent6"/>
                </a:solidFill>
              </a:rPr>
              <a:t>Формирование перечня приоритетных профессий для ПС</a:t>
            </a:r>
          </a:p>
        </p:txBody>
      </p:sp>
      <p:grpSp>
        <p:nvGrpSpPr>
          <p:cNvPr id="56" name="Group 42">
            <a:extLst>
              <a:ext uri="{FF2B5EF4-FFF2-40B4-BE49-F238E27FC236}">
                <a16:creationId xmlns:a16="http://schemas.microsoft.com/office/drawing/2014/main" xmlns="" id="{57304F88-A091-4784-8691-5CBE0627F750}"/>
              </a:ext>
            </a:extLst>
          </p:cNvPr>
          <p:cNvGrpSpPr>
            <a:grpSpLocks noChangeAspect="1"/>
          </p:cNvGrpSpPr>
          <p:nvPr/>
        </p:nvGrpSpPr>
        <p:grpSpPr>
          <a:xfrm>
            <a:off x="2411760" y="4515990"/>
            <a:ext cx="216000" cy="216000"/>
            <a:chOff x="982662" y="3868738"/>
            <a:chExt cx="269875" cy="269875"/>
          </a:xfrm>
        </p:grpSpPr>
        <p:sp>
          <p:nvSpPr>
            <p:cNvPr id="57" name="Oval 16">
              <a:extLst>
                <a:ext uri="{FF2B5EF4-FFF2-40B4-BE49-F238E27FC236}">
                  <a16:creationId xmlns:a16="http://schemas.microsoft.com/office/drawing/2014/main" xmlns="" id="{5F9F7BBB-8FF0-438B-8C6B-D64FCABCC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8D95CE-14A5-4D16-AC16-453D58800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9799AC19-7678-4627-9F3E-57BD9A9A90B2}"/>
              </a:ext>
            </a:extLst>
          </p:cNvPr>
          <p:cNvSpPr txBox="1"/>
          <p:nvPr/>
        </p:nvSpPr>
        <p:spPr>
          <a:xfrm rot="16200000">
            <a:off x="393391" y="2710499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Задачи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cxnSp>
        <p:nvCxnSpPr>
          <p:cNvPr id="64" name="Straight Connector 36">
            <a:extLst>
              <a:ext uri="{FF2B5EF4-FFF2-40B4-BE49-F238E27FC236}">
                <a16:creationId xmlns:a16="http://schemas.microsoft.com/office/drawing/2014/main" xmlns="" id="{E67FDCA7-0833-4BC9-91CB-048FC3266436}"/>
              </a:ext>
            </a:extLst>
          </p:cNvPr>
          <p:cNvCxnSpPr/>
          <p:nvPr/>
        </p:nvCxnSpPr>
        <p:spPr>
          <a:xfrm>
            <a:off x="897279" y="1495328"/>
            <a:ext cx="0" cy="273260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37">
            <a:extLst>
              <a:ext uri="{FF2B5EF4-FFF2-40B4-BE49-F238E27FC236}">
                <a16:creationId xmlns:a16="http://schemas.microsoft.com/office/drawing/2014/main" xmlns="" id="{87224BCF-50CE-45B1-AC15-2820F2DDD9B3}"/>
              </a:ext>
            </a:extLst>
          </p:cNvPr>
          <p:cNvCxnSpPr/>
          <p:nvPr/>
        </p:nvCxnSpPr>
        <p:spPr>
          <a:xfrm>
            <a:off x="897280" y="4343058"/>
            <a:ext cx="0" cy="43829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AF38BB0F-0963-4977-B287-7327ECE1FB6E}"/>
              </a:ext>
            </a:extLst>
          </p:cNvPr>
          <p:cNvSpPr txBox="1"/>
          <p:nvPr/>
        </p:nvSpPr>
        <p:spPr>
          <a:xfrm rot="16200000">
            <a:off x="337181" y="4266365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F434B0B9-2281-4A5E-A629-8A873AD154CD}"/>
              </a:ext>
            </a:extLst>
          </p:cNvPr>
          <p:cNvSpPr txBox="1"/>
          <p:nvPr/>
        </p:nvSpPr>
        <p:spPr>
          <a:xfrm rot="16200000">
            <a:off x="393392" y="4459162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Результат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cxnSp>
        <p:nvCxnSpPr>
          <p:cNvPr id="68" name="Straight Connector 22">
            <a:extLst>
              <a:ext uri="{FF2B5EF4-FFF2-40B4-BE49-F238E27FC236}">
                <a16:creationId xmlns:a16="http://schemas.microsoft.com/office/drawing/2014/main" xmlns="" id="{CB965437-979E-46B9-BE6E-A62905F9D739}"/>
              </a:ext>
            </a:extLst>
          </p:cNvPr>
          <p:cNvCxnSpPr/>
          <p:nvPr/>
        </p:nvCxnSpPr>
        <p:spPr>
          <a:xfrm>
            <a:off x="1187624" y="4335539"/>
            <a:ext cx="3166704" cy="0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23">
            <a:extLst>
              <a:ext uri="{FF2B5EF4-FFF2-40B4-BE49-F238E27FC236}">
                <a16:creationId xmlns:a16="http://schemas.microsoft.com/office/drawing/2014/main" xmlns="" id="{AA5AC98C-B1DB-49F0-85AB-BFB8569C2AA2}"/>
              </a:ext>
            </a:extLst>
          </p:cNvPr>
          <p:cNvCxnSpPr/>
          <p:nvPr/>
        </p:nvCxnSpPr>
        <p:spPr>
          <a:xfrm>
            <a:off x="5581944" y="4335539"/>
            <a:ext cx="3166704" cy="0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13233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1C9E993F-AC19-4B81-ABDD-AD127125E489}"/>
              </a:ext>
            </a:extLst>
          </p:cNvPr>
          <p:cNvSpPr/>
          <p:nvPr/>
        </p:nvSpPr>
        <p:spPr>
          <a:xfrm>
            <a:off x="3142602" y="483518"/>
            <a:ext cx="28587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schemeClr val="accent6">
                    <a:lumMod val="75000"/>
                  </a:schemeClr>
                </a:solidFill>
              </a:rPr>
              <a:t>Внедрение системы сертификации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A72A816-155F-4E6B-9D20-45A9E4F76875}"/>
              </a:ext>
            </a:extLst>
          </p:cNvPr>
          <p:cNvSpPr/>
          <p:nvPr/>
        </p:nvSpPr>
        <p:spPr>
          <a:xfrm>
            <a:off x="971600" y="101953"/>
            <a:ext cx="8064896" cy="260842"/>
          </a:xfrm>
          <a:prstGeom prst="rect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91430" tIns="45715" rIns="91430" bIns="45715" rtlCol="0" anchor="ctr"/>
          <a:lstStyle/>
          <a:p>
            <a:pPr>
              <a:defRPr/>
            </a:pPr>
            <a:r>
              <a:rPr lang="en-US" b="1" kern="0" dirty="0">
                <a:solidFill>
                  <a:srgbClr val="00B050"/>
                </a:solidFill>
                <a:latin typeface="Calibri"/>
              </a:rPr>
              <a:t> </a:t>
            </a:r>
            <a:r>
              <a:rPr lang="en-US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3.</a:t>
            </a:r>
            <a:r>
              <a:rPr lang="ru-RU" dirty="0">
                <a:solidFill>
                  <a:srgbClr val="4F81BD">
                    <a:lumMod val="75000"/>
                  </a:srgbClr>
                </a:solidFill>
                <a:latin typeface="+mj-lt"/>
                <a:sym typeface="Trebuchet MS" panose="020B0603020202020204" pitchFamily="34" charset="0"/>
              </a:rPr>
              <a:t> Развитие инструментария сферы занятости 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xmlns="" id="{790D5400-8029-4207-ADC9-19EC75FC3F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3488632"/>
              </p:ext>
            </p:extLst>
          </p:nvPr>
        </p:nvGraphicFramePr>
        <p:xfrm>
          <a:off x="899592" y="906028"/>
          <a:ext cx="7920881" cy="3277007"/>
        </p:xfrm>
        <a:graphic>
          <a:graphicData uri="http://schemas.openxmlformats.org/drawingml/2006/table">
            <a:tbl>
              <a:tblPr firstRow="1" bandRow="1"/>
              <a:tblGrid>
                <a:gridCol w="1857710">
                  <a:extLst>
                    <a:ext uri="{9D8B030D-6E8A-4147-A177-3AD203B41FA5}">
                      <a16:colId xmlns:a16="http://schemas.microsoft.com/office/drawing/2014/main" xmlns="" val="2340507478"/>
                    </a:ext>
                  </a:extLst>
                </a:gridCol>
                <a:gridCol w="1060983">
                  <a:extLst>
                    <a:ext uri="{9D8B030D-6E8A-4147-A177-3AD203B41FA5}">
                      <a16:colId xmlns:a16="http://schemas.microsoft.com/office/drawing/2014/main" xmlns="" val="312822031"/>
                    </a:ext>
                  </a:extLst>
                </a:gridCol>
                <a:gridCol w="833698">
                  <a:extLst>
                    <a:ext uri="{9D8B030D-6E8A-4147-A177-3AD203B41FA5}">
                      <a16:colId xmlns:a16="http://schemas.microsoft.com/office/drawing/2014/main" xmlns="" val="318071896"/>
                    </a:ext>
                  </a:extLst>
                </a:gridCol>
                <a:gridCol w="833698">
                  <a:extLst>
                    <a:ext uri="{9D8B030D-6E8A-4147-A177-3AD203B41FA5}">
                      <a16:colId xmlns:a16="http://schemas.microsoft.com/office/drawing/2014/main" xmlns="" val="2208643070"/>
                    </a:ext>
                  </a:extLst>
                </a:gridCol>
                <a:gridCol w="833698">
                  <a:extLst>
                    <a:ext uri="{9D8B030D-6E8A-4147-A177-3AD203B41FA5}">
                      <a16:colId xmlns:a16="http://schemas.microsoft.com/office/drawing/2014/main" xmlns="" val="2375211179"/>
                    </a:ext>
                  </a:extLst>
                </a:gridCol>
                <a:gridCol w="833698">
                  <a:extLst>
                    <a:ext uri="{9D8B030D-6E8A-4147-A177-3AD203B41FA5}">
                      <a16:colId xmlns:a16="http://schemas.microsoft.com/office/drawing/2014/main" xmlns="" val="1890748366"/>
                    </a:ext>
                  </a:extLst>
                </a:gridCol>
                <a:gridCol w="833698">
                  <a:extLst>
                    <a:ext uri="{9D8B030D-6E8A-4147-A177-3AD203B41FA5}">
                      <a16:colId xmlns:a16="http://schemas.microsoft.com/office/drawing/2014/main" xmlns="" val="2007581613"/>
                    </a:ext>
                  </a:extLst>
                </a:gridCol>
                <a:gridCol w="833698">
                  <a:extLst>
                    <a:ext uri="{9D8B030D-6E8A-4147-A177-3AD203B41FA5}">
                      <a16:colId xmlns:a16="http://schemas.microsoft.com/office/drawing/2014/main" xmlns="" val="3897350087"/>
                    </a:ext>
                  </a:extLst>
                </a:gridCol>
              </a:tblGrid>
              <a:tr h="228665"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</a:rPr>
                        <a:t>Ноябрь 19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</a:rPr>
                        <a:t>Декабрь 19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</a:rPr>
                        <a:t>Январь 20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</a:rPr>
                        <a:t>Февраль 20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</a:rPr>
                        <a:t>Март 20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</a:rPr>
                        <a:t>Апрель 20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</a:rPr>
                        <a:t>Май 20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258439"/>
                  </a:ext>
                </a:extLst>
              </a:tr>
              <a:tr h="724452">
                <a:tc>
                  <a:txBody>
                    <a:bodyPr/>
                    <a:lstStyle/>
                    <a:p>
                      <a:pPr algn="l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азработка </a:t>
                      </a:r>
                      <a:r>
                        <a:rPr lang="ru-RU" sz="800" b="1" u="sng" dirty="0">
                          <a:solidFill>
                            <a:schemeClr val="tx1"/>
                          </a:solidFill>
                        </a:rPr>
                        <a:t>МЕТОДОЛОГИИ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0" dirty="0">
                          <a:solidFill>
                            <a:schemeClr val="tx1"/>
                          </a:solidFill>
                        </a:rPr>
                        <a:t>по системе сертификации и подтверждения квалификации 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в Казахстане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ЧАСТЬ 1. Международный обзор и выбор наиболее приемлемой для Казахстана модели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системы сертификации и подтверждения квалификации</a:t>
                      </a:r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ЧАСТЬ 2. Разработка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методологий 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сертификации и подтверждения квалификации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899104665"/>
                  </a:ext>
                </a:extLst>
              </a:tr>
              <a:tr h="724452">
                <a:tc>
                  <a:txBody>
                    <a:bodyPr/>
                    <a:lstStyle/>
                    <a:p>
                      <a:pPr algn="l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азработка </a:t>
                      </a:r>
                      <a:r>
                        <a:rPr lang="ru-RU" sz="800" b="1" u="sng" dirty="0">
                          <a:solidFill>
                            <a:schemeClr val="tx1"/>
                          </a:solidFill>
                        </a:rPr>
                        <a:t>МЕХАНИЗМА МЕЖДУНАРОДНОГО ПРИЗНАНИЯ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0" dirty="0">
                          <a:solidFill>
                            <a:schemeClr val="tx1"/>
                          </a:solidFill>
                        </a:rPr>
                        <a:t>казахстанских сертификатов и квалификаций</a:t>
                      </a:r>
                      <a:endParaRPr lang="en-US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ЧАСТЬ 1. Международный обзор и выбор наиболее приемлемой для Казахстана модели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международного признания сертификатов и квалификаций</a:t>
                      </a:r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ЧАСТЬ 2. Разработка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механизма реализации 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международного признания </a:t>
                      </a:r>
                      <a:r>
                        <a:rPr lang="ru-RU" sz="800" b="0" dirty="0">
                          <a:solidFill>
                            <a:schemeClr val="tx1"/>
                          </a:solidFill>
                        </a:rPr>
                        <a:t>сертификатов и квалификаций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358531875"/>
                  </a:ext>
                </a:extLst>
              </a:tr>
              <a:tr h="648557">
                <a:tc>
                  <a:txBody>
                    <a:bodyPr/>
                    <a:lstStyle/>
                    <a:p>
                      <a:pPr algn="l"/>
                      <a:r>
                        <a:rPr lang="ru-RU" sz="800" b="1" u="sng" dirty="0">
                          <a:solidFill>
                            <a:schemeClr val="tx1"/>
                          </a:solidFill>
                        </a:rPr>
                        <a:t>НОРМАТИВНО-ПРАВОВОЕ РЕГУЛИРОВАНИЕ</a:t>
                      </a:r>
                      <a:r>
                        <a:rPr lang="ru-RU" sz="800" b="1" u="none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0" dirty="0">
                          <a:solidFill>
                            <a:schemeClr val="tx1"/>
                          </a:solidFill>
                        </a:rPr>
                        <a:t>системы сертификации и подтверждения квалификации 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в Казахстане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ЧАСТЬ 1. Разработка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концепции НПА</a:t>
                      </a:r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800" b="0" dirty="0">
                          <a:solidFill>
                            <a:schemeClr val="tx1"/>
                          </a:solidFill>
                        </a:rPr>
                        <a:t>ЧАСТЬ 2. Проработка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деталей по внесению изменений в НПА </a:t>
                      </a:r>
                      <a:r>
                        <a:rPr lang="ru-RU" sz="800" b="0" dirty="0">
                          <a:solidFill>
                            <a:schemeClr val="tx1"/>
                          </a:solidFill>
                        </a:rPr>
                        <a:t>для обеспечения правовой основы системы сертификации и подтверждения квалификации</a:t>
                      </a:r>
                      <a:endParaRPr lang="en-US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460283871"/>
                  </a:ext>
                </a:extLst>
              </a:tr>
              <a:tr h="496768">
                <a:tc>
                  <a:txBody>
                    <a:bodyPr/>
                    <a:lstStyle/>
                    <a:p>
                      <a:pPr algn="l"/>
                      <a:r>
                        <a:rPr lang="ru-RU" sz="800" b="1" u="sng" dirty="0">
                          <a:solidFill>
                            <a:schemeClr val="tx1"/>
                          </a:solidFill>
                        </a:rPr>
                        <a:t>ПИЛОТНАЯ АПРОБАЦИЯ 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системы </a:t>
                      </a:r>
                      <a:r>
                        <a:rPr lang="ru-RU" sz="800" b="0" dirty="0">
                          <a:solidFill>
                            <a:schemeClr val="tx1"/>
                          </a:solidFill>
                        </a:rPr>
                        <a:t>сертификации и подтверждения квалификации 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в Казахстане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ЧАСТЬ 1. Разработка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квалификационных программ и стандартов</a:t>
                      </a:r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ЧАСТЬ 2. Пилотная апробация системы сертификации и подтверждения квалификации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3 отраслях по 5 квалификациям в каждой отрасли</a:t>
                      </a:r>
                      <a:endParaRPr lang="en-US" sz="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20916703"/>
                  </a:ext>
                </a:extLst>
              </a:tr>
              <a:tr h="454113">
                <a:tc>
                  <a:txBody>
                    <a:bodyPr/>
                    <a:lstStyle/>
                    <a:p>
                      <a:pPr algn="l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Формирование основы для создания </a:t>
                      </a:r>
                      <a:r>
                        <a:rPr lang="ru-RU" sz="800" b="1" u="sng" dirty="0">
                          <a:solidFill>
                            <a:schemeClr val="tx1"/>
                          </a:solidFill>
                        </a:rPr>
                        <a:t>НАЦИОНАЛЬНОГО КВАЛИФИКАЦИОННОГО ОРГАНА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работка структуры, полномочий, механизма финансирования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, управления и распределения обязанностей национального квалификационного органа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с целью устойчивого развития НСК в Казахстане</a:t>
                      </a:r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6720379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4235728-6277-4426-B1DB-F4E4D8941612}"/>
              </a:ext>
            </a:extLst>
          </p:cNvPr>
          <p:cNvSpPr txBox="1"/>
          <p:nvPr/>
        </p:nvSpPr>
        <p:spPr>
          <a:xfrm rot="16200000">
            <a:off x="117601" y="2377566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Задачи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cxnSp>
        <p:nvCxnSpPr>
          <p:cNvPr id="8" name="Straight Connector 36">
            <a:extLst>
              <a:ext uri="{FF2B5EF4-FFF2-40B4-BE49-F238E27FC236}">
                <a16:creationId xmlns:a16="http://schemas.microsoft.com/office/drawing/2014/main" xmlns="" id="{5EA91DE9-96B4-4EEB-B599-49177A48847B}"/>
              </a:ext>
            </a:extLst>
          </p:cNvPr>
          <p:cNvCxnSpPr/>
          <p:nvPr/>
        </p:nvCxnSpPr>
        <p:spPr>
          <a:xfrm>
            <a:off x="621489" y="1177167"/>
            <a:ext cx="0" cy="300586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37">
            <a:extLst>
              <a:ext uri="{FF2B5EF4-FFF2-40B4-BE49-F238E27FC236}">
                <a16:creationId xmlns:a16="http://schemas.microsoft.com/office/drawing/2014/main" xmlns="" id="{4091F5FD-8677-45DE-A615-74FA8F8B09DD}"/>
              </a:ext>
            </a:extLst>
          </p:cNvPr>
          <p:cNvCxnSpPr/>
          <p:nvPr/>
        </p:nvCxnSpPr>
        <p:spPr>
          <a:xfrm>
            <a:off x="621490" y="4343058"/>
            <a:ext cx="0" cy="43829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96A7736-ED1F-46BD-AEAA-5833B34F20D6}"/>
              </a:ext>
            </a:extLst>
          </p:cNvPr>
          <p:cNvSpPr txBox="1"/>
          <p:nvPr/>
        </p:nvSpPr>
        <p:spPr>
          <a:xfrm rot="16200000">
            <a:off x="61391" y="3933432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9A6A0C5-D502-4FBE-89CA-59E1B850B2D9}"/>
              </a:ext>
            </a:extLst>
          </p:cNvPr>
          <p:cNvSpPr txBox="1"/>
          <p:nvPr/>
        </p:nvSpPr>
        <p:spPr>
          <a:xfrm rot="16200000">
            <a:off x="117602" y="4459162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Результат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927F8DC-D036-425D-816C-597E91034F93}"/>
              </a:ext>
            </a:extLst>
          </p:cNvPr>
          <p:cNvSpPr txBox="1"/>
          <p:nvPr/>
        </p:nvSpPr>
        <p:spPr>
          <a:xfrm>
            <a:off x="2555776" y="4408596"/>
            <a:ext cx="4677837" cy="1604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dirty="0">
                <a:solidFill>
                  <a:schemeClr val="accent6">
                    <a:lumMod val="75000"/>
                  </a:schemeClr>
                </a:solidFill>
              </a:rPr>
              <a:t>Формирование национальной системы сертификации</a:t>
            </a:r>
          </a:p>
        </p:txBody>
      </p:sp>
      <p:grpSp>
        <p:nvGrpSpPr>
          <p:cNvPr id="13" name="Group 42">
            <a:extLst>
              <a:ext uri="{FF2B5EF4-FFF2-40B4-BE49-F238E27FC236}">
                <a16:creationId xmlns:a16="http://schemas.microsoft.com/office/drawing/2014/main" xmlns="" id="{6AD58EB4-D0D4-47BD-A99A-7833BAD051EB}"/>
              </a:ext>
            </a:extLst>
          </p:cNvPr>
          <p:cNvGrpSpPr>
            <a:grpSpLocks noChangeAspect="1"/>
          </p:cNvGrpSpPr>
          <p:nvPr/>
        </p:nvGrpSpPr>
        <p:grpSpPr>
          <a:xfrm>
            <a:off x="2163990" y="4377345"/>
            <a:ext cx="216000" cy="216000"/>
            <a:chOff x="982662" y="3868738"/>
            <a:chExt cx="269875" cy="269875"/>
          </a:xfrm>
        </p:grpSpPr>
        <p:sp>
          <p:nvSpPr>
            <p:cNvPr id="14" name="Oval 16">
              <a:extLst>
                <a:ext uri="{FF2B5EF4-FFF2-40B4-BE49-F238E27FC236}">
                  <a16:creationId xmlns:a16="http://schemas.microsoft.com/office/drawing/2014/main" xmlns="" id="{C1E7FF6B-5638-479F-8B50-6709E8D424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xmlns="" id="{72E84E80-75CC-487C-8C14-E3C32289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A22C2365-F785-4C9A-96F4-F2BC815BFC77}"/>
              </a:ext>
            </a:extLst>
          </p:cNvPr>
          <p:cNvSpPr txBox="1"/>
          <p:nvPr/>
        </p:nvSpPr>
        <p:spPr>
          <a:xfrm>
            <a:off x="2555776" y="4698853"/>
            <a:ext cx="4677837" cy="1604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dirty="0">
                <a:solidFill>
                  <a:schemeClr val="accent6">
                    <a:lumMod val="75000"/>
                  </a:schemeClr>
                </a:solidFill>
              </a:rPr>
              <a:t>Создание национального квалификационного органа</a:t>
            </a:r>
          </a:p>
        </p:txBody>
      </p:sp>
      <p:grpSp>
        <p:nvGrpSpPr>
          <p:cNvPr id="17" name="Group 42">
            <a:extLst>
              <a:ext uri="{FF2B5EF4-FFF2-40B4-BE49-F238E27FC236}">
                <a16:creationId xmlns:a16="http://schemas.microsoft.com/office/drawing/2014/main" xmlns="" id="{0AA0B38A-87A3-400D-8F85-BFC536CE1AF3}"/>
              </a:ext>
            </a:extLst>
          </p:cNvPr>
          <p:cNvGrpSpPr>
            <a:grpSpLocks noChangeAspect="1"/>
          </p:cNvGrpSpPr>
          <p:nvPr/>
        </p:nvGrpSpPr>
        <p:grpSpPr>
          <a:xfrm>
            <a:off x="2163990" y="4667602"/>
            <a:ext cx="216000" cy="216000"/>
            <a:chOff x="982662" y="3868738"/>
            <a:chExt cx="269875" cy="269875"/>
          </a:xfrm>
        </p:grpSpPr>
        <p:sp>
          <p:nvSpPr>
            <p:cNvPr id="18" name="Oval 16">
              <a:extLst>
                <a:ext uri="{FF2B5EF4-FFF2-40B4-BE49-F238E27FC236}">
                  <a16:creationId xmlns:a16="http://schemas.microsoft.com/office/drawing/2014/main" xmlns="" id="{BD627551-63ED-4452-8851-55AA50AD6D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xmlns="" id="{6B8C8A47-EA47-4C58-ABA9-711605AE9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36308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xmlns="" id="{F8E90197-3F3E-430D-992B-8445E3C1B8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5674487"/>
              </p:ext>
            </p:extLst>
          </p:nvPr>
        </p:nvGraphicFramePr>
        <p:xfrm>
          <a:off x="1259632" y="267494"/>
          <a:ext cx="6868957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0EE1DA28-36E5-4A1D-B48B-52E5AFAC1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0"/>
            <a:ext cx="8229600" cy="4931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>
            <a:normAutofit fontScale="90000"/>
          </a:bodyPr>
          <a:lstStyle/>
          <a:p>
            <a:pPr lvl="0"/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sz="2000" dirty="0">
                <a:solidFill>
                  <a:srgbClr val="295E7E"/>
                </a:solidFill>
              </a:rPr>
              <a:t>3.</a:t>
            </a:r>
            <a:r>
              <a:rPr lang="ru-RU" sz="2000" dirty="0">
                <a:solidFill>
                  <a:srgbClr val="295E7E"/>
                </a:solidFill>
              </a:rPr>
              <a:t> Развитие инструментария сферы занятости</a:t>
            </a:r>
            <a:endParaRPr lang="x-none" sz="2000" dirty="0">
              <a:solidFill>
                <a:srgbClr val="295E7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77237D3-1E0C-4171-AA23-F3FAF003248E}"/>
              </a:ext>
            </a:extLst>
          </p:cNvPr>
          <p:cNvSpPr txBox="1"/>
          <p:nvPr/>
        </p:nvSpPr>
        <p:spPr>
          <a:xfrm>
            <a:off x="1403648" y="511101"/>
            <a:ext cx="57515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>
                <a:solidFill>
                  <a:srgbClr val="357B7F"/>
                </a:solidFill>
              </a:rPr>
              <a:t>3.4. Система непрерывного образования занятых и не занятых граждан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6A9285C7-9004-4DD6-B68C-A5433F3F08E5}"/>
              </a:ext>
            </a:extLst>
          </p:cNvPr>
          <p:cNvSpPr txBox="1"/>
          <p:nvPr/>
        </p:nvSpPr>
        <p:spPr>
          <a:xfrm>
            <a:off x="1212007" y="1203598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Гибкая и ускоренная подготовка кадров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DB8A2AA6-F8AA-41E1-B955-BF2752341B22}"/>
              </a:ext>
            </a:extLst>
          </p:cNvPr>
          <p:cNvSpPr txBox="1"/>
          <p:nvPr/>
        </p:nvSpPr>
        <p:spPr>
          <a:xfrm>
            <a:off x="3739697" y="1203598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Максимизация потенциала цифровых решений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88AF44B1-E280-4145-B933-47D8843005F4}"/>
              </a:ext>
            </a:extLst>
          </p:cNvPr>
          <p:cNvSpPr txBox="1"/>
          <p:nvPr/>
        </p:nvSpPr>
        <p:spPr>
          <a:xfrm>
            <a:off x="6219762" y="1184548"/>
            <a:ext cx="17281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Новые форматы подготовки на фоне появления новых форм занятост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C2AD16AA-6F97-4251-AC42-70E0AC66BE63}"/>
              </a:ext>
            </a:extLst>
          </p:cNvPr>
          <p:cNvSpPr txBox="1"/>
          <p:nvPr/>
        </p:nvSpPr>
        <p:spPr>
          <a:xfrm rot="16200000">
            <a:off x="393391" y="2154906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Задачи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cxnSp>
        <p:nvCxnSpPr>
          <p:cNvPr id="20" name="Straight Connector 36">
            <a:extLst>
              <a:ext uri="{FF2B5EF4-FFF2-40B4-BE49-F238E27FC236}">
                <a16:creationId xmlns:a16="http://schemas.microsoft.com/office/drawing/2014/main" xmlns="" id="{D1BAF730-7327-4F15-AA09-2112C653259E}"/>
              </a:ext>
            </a:extLst>
          </p:cNvPr>
          <p:cNvCxnSpPr>
            <a:cxnSpLocks/>
          </p:cNvCxnSpPr>
          <p:nvPr/>
        </p:nvCxnSpPr>
        <p:spPr>
          <a:xfrm>
            <a:off x="897279" y="1059582"/>
            <a:ext cx="0" cy="24841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37">
            <a:extLst>
              <a:ext uri="{FF2B5EF4-FFF2-40B4-BE49-F238E27FC236}">
                <a16:creationId xmlns:a16="http://schemas.microsoft.com/office/drawing/2014/main" xmlns="" id="{7FF765AA-772A-42C8-950D-A6CDF4F2F1D2}"/>
              </a:ext>
            </a:extLst>
          </p:cNvPr>
          <p:cNvCxnSpPr/>
          <p:nvPr/>
        </p:nvCxnSpPr>
        <p:spPr>
          <a:xfrm>
            <a:off x="897280" y="4083336"/>
            <a:ext cx="0" cy="43829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14AB12ED-5217-40C9-B3D6-04A67D91F6CB}"/>
              </a:ext>
            </a:extLst>
          </p:cNvPr>
          <p:cNvSpPr txBox="1"/>
          <p:nvPr/>
        </p:nvSpPr>
        <p:spPr>
          <a:xfrm rot="16200000">
            <a:off x="337181" y="4006643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F4CA12F0-870C-4C71-8257-6884B9D0EC09}"/>
              </a:ext>
            </a:extLst>
          </p:cNvPr>
          <p:cNvSpPr txBox="1"/>
          <p:nvPr/>
        </p:nvSpPr>
        <p:spPr>
          <a:xfrm rot="16200000">
            <a:off x="393392" y="4199440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Результат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xmlns="" id="{E19A014E-C9F4-444C-9CB6-88B060062A59}"/>
              </a:ext>
            </a:extLst>
          </p:cNvPr>
          <p:cNvCxnSpPr/>
          <p:nvPr/>
        </p:nvCxnSpPr>
        <p:spPr>
          <a:xfrm>
            <a:off x="971600" y="3723878"/>
            <a:ext cx="7344816" cy="0"/>
          </a:xfrm>
          <a:prstGeom prst="line">
            <a:avLst/>
          </a:prstGeom>
          <a:ln w="28575">
            <a:solidFill>
              <a:srgbClr val="007F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AAC45AC6-6830-4AB9-9635-CEF20D4A5970}"/>
              </a:ext>
            </a:extLst>
          </p:cNvPr>
          <p:cNvSpPr/>
          <p:nvPr/>
        </p:nvSpPr>
        <p:spPr>
          <a:xfrm>
            <a:off x="944906" y="3807252"/>
            <a:ext cx="225893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000000"/>
              </a:buClr>
              <a:buSzPts val="1000"/>
            </a:pPr>
            <a:r>
              <a:rPr lang="ru-RU" sz="1200" dirty="0">
                <a:solidFill>
                  <a:srgbClr val="00645D"/>
                </a:solidFill>
                <a:latin typeface="Roboto"/>
                <a:ea typeface="Roboto"/>
                <a:cs typeface="Roboto"/>
                <a:sym typeface="Roboto"/>
              </a:rPr>
              <a:t>Профессиональная ориентация лиц любого возраста и статуса с целью подбора подходящего вида деятельности </a:t>
            </a:r>
            <a:endParaRPr lang="ru-RU" sz="1200" dirty="0">
              <a:solidFill>
                <a:srgbClr val="00645D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B248ED8A-BD76-4E67-8EFF-5AF2025C90FB}"/>
              </a:ext>
            </a:extLst>
          </p:cNvPr>
          <p:cNvSpPr/>
          <p:nvPr/>
        </p:nvSpPr>
        <p:spPr>
          <a:xfrm>
            <a:off x="3564641" y="3807252"/>
            <a:ext cx="225893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000000"/>
              </a:buClr>
              <a:buSzPts val="1000"/>
            </a:pPr>
            <a:r>
              <a:rPr lang="ru-RU" sz="1200" dirty="0">
                <a:solidFill>
                  <a:srgbClr val="00645D"/>
                </a:solidFill>
                <a:latin typeface="Roboto"/>
                <a:ea typeface="Roboto"/>
                <a:cs typeface="Roboto"/>
                <a:sym typeface="Roboto"/>
              </a:rPr>
              <a:t>Развитие мягких навыков и цифровой грамотности вне зависимости от профессионального профиля</a:t>
            </a:r>
            <a:r>
              <a:rPr lang="ru-RU" sz="1200" b="1" dirty="0">
                <a:solidFill>
                  <a:srgbClr val="00645D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lang="ru-RU" sz="1200" dirty="0">
              <a:solidFill>
                <a:srgbClr val="00645D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918D6A7F-7F57-4C91-B738-AF2BFCDBCE4A}"/>
              </a:ext>
            </a:extLst>
          </p:cNvPr>
          <p:cNvSpPr/>
          <p:nvPr/>
        </p:nvSpPr>
        <p:spPr>
          <a:xfrm>
            <a:off x="6184376" y="3807252"/>
            <a:ext cx="225893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000000"/>
              </a:buClr>
              <a:buSzPts val="1000"/>
            </a:pPr>
            <a:r>
              <a:rPr lang="ru-RU" sz="1200" dirty="0">
                <a:solidFill>
                  <a:srgbClr val="00645D"/>
                </a:solidFill>
                <a:latin typeface="Roboto"/>
                <a:ea typeface="Roboto"/>
                <a:cs typeface="Roboto"/>
                <a:sym typeface="Roboto"/>
              </a:rPr>
              <a:t>Полная база онлайн и оффлайн провайдеров образовательных услуг (курсов) на казахстанском и мировом рынке</a:t>
            </a:r>
            <a:endParaRPr lang="ru-RU" sz="1200" dirty="0">
              <a:solidFill>
                <a:srgbClr val="00645D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8006463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12FDBBF5-EF03-4E41-83C8-A1DDBE6BB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0"/>
            <a:ext cx="8229600" cy="4931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>
            <a:normAutofit fontScale="90000"/>
          </a:bodyPr>
          <a:lstStyle/>
          <a:p>
            <a:pPr lvl="0"/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sz="2000" dirty="0">
                <a:solidFill>
                  <a:srgbClr val="295E7E"/>
                </a:solidFill>
              </a:rPr>
              <a:t>3.</a:t>
            </a:r>
            <a:r>
              <a:rPr lang="ru-RU" sz="2000" dirty="0">
                <a:solidFill>
                  <a:srgbClr val="295E7E"/>
                </a:solidFill>
              </a:rPr>
              <a:t> Развитие инструментария сферы занятости</a:t>
            </a:r>
            <a:endParaRPr lang="x-none" sz="2000" dirty="0">
              <a:solidFill>
                <a:srgbClr val="295E7E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09D8C0B7-2E93-4666-99A8-4EBDCABFEEDE}"/>
              </a:ext>
            </a:extLst>
          </p:cNvPr>
          <p:cNvSpPr txBox="1"/>
          <p:nvPr/>
        </p:nvSpPr>
        <p:spPr>
          <a:xfrm>
            <a:off x="1403648" y="511101"/>
            <a:ext cx="57515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>
                <a:solidFill>
                  <a:srgbClr val="357B7F"/>
                </a:solidFill>
              </a:rPr>
              <a:t>3.4. Система непрерывного образования занятых и не занятых граждан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28BCAE5-24F0-461B-8CDA-BC3E28730740}"/>
              </a:ext>
            </a:extLst>
          </p:cNvPr>
          <p:cNvSpPr txBox="1"/>
          <p:nvPr/>
        </p:nvSpPr>
        <p:spPr>
          <a:xfrm flipH="1">
            <a:off x="716384" y="1752761"/>
            <a:ext cx="3894670" cy="2728942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 rtlCol="0" anchor="ctr">
            <a:spAutoFit/>
          </a:bodyPr>
          <a:lstStyle>
            <a:defPPr>
              <a:defRPr lang="en-US"/>
            </a:defPPr>
            <a:lvl1pPr lvl="0">
              <a:defRPr sz="1600" b="0" kern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535720" indent="-404767">
              <a:spcBef>
                <a:spcPts val="450"/>
              </a:spcBef>
              <a:spcAft>
                <a:spcPts val="1350"/>
              </a:spcAft>
              <a:buClr>
                <a:srgbClr val="007F76"/>
              </a:buClr>
              <a:buSzPct val="119000"/>
              <a:buFont typeface="+mj-lt"/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Определение направлений подготовки, востребованных профессий и квалификаций </a:t>
            </a:r>
          </a:p>
          <a:p>
            <a:pPr marL="535720" indent="-404767">
              <a:spcBef>
                <a:spcPts val="450"/>
              </a:spcBef>
              <a:spcAft>
                <a:spcPts val="1350"/>
              </a:spcAft>
              <a:buClr>
                <a:srgbClr val="007F76"/>
              </a:buClr>
              <a:buSzPct val="119000"/>
              <a:buFont typeface="+mj-lt"/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Отбор провайдеров обучения  и подготовка «пула»  тренеров</a:t>
            </a:r>
          </a:p>
          <a:p>
            <a:pPr marL="535720" indent="-404767">
              <a:spcBef>
                <a:spcPts val="450"/>
              </a:spcBef>
              <a:spcAft>
                <a:spcPts val="1350"/>
              </a:spcAft>
              <a:buClr>
                <a:srgbClr val="007F76"/>
              </a:buClr>
              <a:buSzPct val="119000"/>
              <a:buFont typeface="+mj-lt"/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Разработка программ обучения</a:t>
            </a:r>
          </a:p>
          <a:p>
            <a:pPr marL="535720" indent="-404767">
              <a:spcBef>
                <a:spcPts val="450"/>
              </a:spcBef>
              <a:spcAft>
                <a:spcPts val="1350"/>
              </a:spcAft>
              <a:buClr>
                <a:srgbClr val="007F76"/>
              </a:buClr>
              <a:buSzPct val="119000"/>
              <a:buFont typeface="+mj-lt"/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Отбор и обучение бенефициаров</a:t>
            </a:r>
          </a:p>
          <a:p>
            <a:pPr marL="535720" indent="-404767">
              <a:spcBef>
                <a:spcPts val="450"/>
              </a:spcBef>
              <a:spcAft>
                <a:spcPts val="1350"/>
              </a:spcAft>
              <a:buClr>
                <a:srgbClr val="007F76"/>
              </a:buClr>
              <a:buSzPct val="119000"/>
              <a:buFont typeface="+mj-lt"/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Нормативно-правовое и методического обеспечение системы обучения</a:t>
            </a: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xmlns="" id="{CCF16766-D792-4434-9D58-52E6E5F8D383}"/>
              </a:ext>
            </a:extLst>
          </p:cNvPr>
          <p:cNvSpPr txBox="1">
            <a:spLocks/>
          </p:cNvSpPr>
          <p:nvPr/>
        </p:nvSpPr>
        <p:spPr>
          <a:xfrm>
            <a:off x="8656440" y="5393447"/>
            <a:ext cx="426732" cy="1306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rgbClr val="FFFFFF"/>
                </a:solidFill>
              </a:rPr>
              <a:t>4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4864A79D-1438-429C-8E71-FF55B1F70D5F}"/>
              </a:ext>
            </a:extLst>
          </p:cNvPr>
          <p:cNvSpPr/>
          <p:nvPr/>
        </p:nvSpPr>
        <p:spPr>
          <a:xfrm>
            <a:off x="5383602" y="1751223"/>
            <a:ext cx="3736307" cy="2846923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>
              <a:spcAft>
                <a:spcPts val="1350"/>
              </a:spcAf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учение охватит перспективные отрасли экономики во всех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17 регионах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траны</a:t>
            </a:r>
          </a:p>
          <a:p>
            <a:pPr>
              <a:spcAft>
                <a:spcPts val="1350"/>
              </a:spcAf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будут методологически усилены.  образовательные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овайдеры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 посредством обучения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700 человек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 разработке модульных образовательных программ</a:t>
            </a:r>
          </a:p>
          <a:p>
            <a:pPr>
              <a:spcAft>
                <a:spcPts val="1350"/>
              </a:spcAf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учение пройдут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свыше 20 тыс. человек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, в том числе  15,5 тыс. безработных, самозанятых и 4,7 тыс. действующих работников</a:t>
            </a:r>
          </a:p>
          <a:p>
            <a:pPr>
              <a:spcAft>
                <a:spcPts val="1350"/>
              </a:spcAft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100% охват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сех регионов страны и всех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стейкхолдеров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(МТСЗН, МОН,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акиматы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, работодатели, учебные организации)</a:t>
            </a:r>
          </a:p>
        </p:txBody>
      </p:sp>
      <p:sp>
        <p:nvSpPr>
          <p:cNvPr id="10" name="Shape 1525">
            <a:extLst>
              <a:ext uri="{FF2B5EF4-FFF2-40B4-BE49-F238E27FC236}">
                <a16:creationId xmlns:a16="http://schemas.microsoft.com/office/drawing/2014/main" xmlns="" id="{04F5FABC-7874-4A3F-9E62-B9EECE5E80B3}"/>
              </a:ext>
            </a:extLst>
          </p:cNvPr>
          <p:cNvSpPr/>
          <p:nvPr/>
        </p:nvSpPr>
        <p:spPr>
          <a:xfrm>
            <a:off x="5201005" y="1635646"/>
            <a:ext cx="25903" cy="3016903"/>
          </a:xfrm>
          <a:prstGeom prst="line">
            <a:avLst/>
          </a:prstGeom>
          <a:ln w="9525">
            <a:solidFill>
              <a:srgbClr val="007F76"/>
            </a:solidFill>
            <a:miter/>
          </a:ln>
        </p:spPr>
        <p:txBody>
          <a:bodyPr lIns="91430" tIns="68571" rIns="91430" bIns="68571"/>
          <a:lstStyle/>
          <a:p>
            <a:pPr defTabSz="342861">
              <a:defRPr sz="2400">
                <a:latin typeface="Helvetica"/>
                <a:ea typeface="Helvetica"/>
                <a:cs typeface="Helvetica"/>
                <a:sym typeface="Helvetica"/>
              </a:defRPr>
            </a:pPr>
            <a:endParaRPr sz="150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1742DE28-A887-4036-98AD-51C94E805857}"/>
              </a:ext>
            </a:extLst>
          </p:cNvPr>
          <p:cNvSpPr/>
          <p:nvPr/>
        </p:nvSpPr>
        <p:spPr>
          <a:xfrm>
            <a:off x="6447510" y="1347614"/>
            <a:ext cx="1177546" cy="307766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/>
          <a:p>
            <a:r>
              <a:rPr lang="ru-RU" sz="1400" dirty="0">
                <a:solidFill>
                  <a:srgbClr val="3079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</a:t>
            </a:r>
            <a:r>
              <a:rPr lang="ru-RU" sz="1400" b="1" dirty="0">
                <a:solidFill>
                  <a:srgbClr val="3079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D77E2D57-3177-4C9F-81DD-FB067EAB9ED0}"/>
              </a:ext>
            </a:extLst>
          </p:cNvPr>
          <p:cNvGrpSpPr/>
          <p:nvPr/>
        </p:nvGrpSpPr>
        <p:grpSpPr>
          <a:xfrm>
            <a:off x="4854018" y="2622752"/>
            <a:ext cx="250789" cy="984765"/>
            <a:chOff x="687323" y="4437140"/>
            <a:chExt cx="439802" cy="1806020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xmlns="" id="{56E1F495-0341-49A0-A698-0560366B9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32" y="4437140"/>
              <a:ext cx="405593" cy="1806020"/>
            </a:xfrm>
            <a:prstGeom prst="chevron">
              <a:avLst>
                <a:gd name="adj" fmla="val 85426"/>
              </a:avLst>
            </a:prstGeom>
            <a:solidFill>
              <a:srgbClr val="007F76"/>
            </a:solidFill>
            <a:ln w="6350">
              <a:solidFill>
                <a:srgbClr val="007F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defRPr kumimoji="1" sz="13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>
                <a:defRPr kumimoji="1" sz="13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>
                <a:defRPr kumimoji="1" sz="13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>
                <a:defRPr kumimoji="1" sz="13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>
                <a:defRPr kumimoji="1" sz="1300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defTabSz="685722">
                <a:defRPr/>
              </a:pPr>
              <a:endParaRPr lang="es-ES" altLang="en-US" sz="900" kern="0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xmlns="" id="{F45842ED-F69B-4412-A9AE-79D6549AEF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323" y="4662796"/>
              <a:ext cx="310567" cy="1343500"/>
            </a:xfrm>
            <a:prstGeom prst="chevron">
              <a:avLst>
                <a:gd name="adj" fmla="val 85426"/>
              </a:avLst>
            </a:prstGeom>
            <a:solidFill>
              <a:srgbClr val="007F76"/>
            </a:solidFill>
            <a:ln w="6350">
              <a:solidFill>
                <a:srgbClr val="007F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defRPr kumimoji="1" sz="13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>
                <a:defRPr kumimoji="1" sz="13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>
                <a:defRPr kumimoji="1" sz="13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>
                <a:defRPr kumimoji="1" sz="13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>
                <a:defRPr kumimoji="1" sz="1300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defTabSz="685722">
                <a:defRPr/>
              </a:pPr>
              <a:endParaRPr lang="es-ES" altLang="en-US" sz="900" kern="0"/>
            </a:p>
          </p:txBody>
        </p:sp>
      </p:grpSp>
      <p:sp>
        <p:nvSpPr>
          <p:cNvPr id="16" name="Равнобедренный треугольник 9">
            <a:extLst>
              <a:ext uri="{FF2B5EF4-FFF2-40B4-BE49-F238E27FC236}">
                <a16:creationId xmlns:a16="http://schemas.microsoft.com/office/drawing/2014/main" xmlns="" id="{89FC530F-C40F-4699-9365-F851ACDA2675}"/>
              </a:ext>
            </a:extLst>
          </p:cNvPr>
          <p:cNvSpPr/>
          <p:nvPr/>
        </p:nvSpPr>
        <p:spPr>
          <a:xfrm rot="5400000">
            <a:off x="4518371" y="3034642"/>
            <a:ext cx="732569" cy="154876"/>
          </a:xfrm>
          <a:prstGeom prst="triangle">
            <a:avLst/>
          </a:prstGeom>
          <a:solidFill>
            <a:srgbClr val="007F76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FE33736A-DC5B-4424-8661-0725EB82F6BA}"/>
              </a:ext>
            </a:extLst>
          </p:cNvPr>
          <p:cNvSpPr/>
          <p:nvPr/>
        </p:nvSpPr>
        <p:spPr>
          <a:xfrm>
            <a:off x="4725600" y="2968007"/>
            <a:ext cx="81617" cy="288149"/>
          </a:xfrm>
          <a:prstGeom prst="rect">
            <a:avLst/>
          </a:prstGeom>
          <a:solidFill>
            <a:srgbClr val="007F76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B5D66E8D-0B76-41A9-B27E-569E5AAEDE50}"/>
              </a:ext>
            </a:extLst>
          </p:cNvPr>
          <p:cNvSpPr/>
          <p:nvPr/>
        </p:nvSpPr>
        <p:spPr>
          <a:xfrm>
            <a:off x="1763688" y="1347614"/>
            <a:ext cx="1581310" cy="307766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/>
          <a:p>
            <a:r>
              <a:rPr lang="ru-RU" sz="1400" dirty="0">
                <a:solidFill>
                  <a:srgbClr val="3079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этапы</a:t>
            </a:r>
            <a:endParaRPr lang="ru-RU" sz="14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DDD6B415-8582-4171-90BC-A838CCEBB5D5}"/>
              </a:ext>
            </a:extLst>
          </p:cNvPr>
          <p:cNvSpPr txBox="1"/>
          <p:nvPr/>
        </p:nvSpPr>
        <p:spPr>
          <a:xfrm>
            <a:off x="659111" y="1016068"/>
            <a:ext cx="4009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3079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ШТАБНОЕ ОФЛАЙН ОБУЧЕНИЕ</a:t>
            </a:r>
          </a:p>
        </p:txBody>
      </p:sp>
    </p:spTree>
    <p:extLst>
      <p:ext uri="{BB962C8B-B14F-4D97-AF65-F5344CB8AC3E}">
        <p14:creationId xmlns:p14="http://schemas.microsoft.com/office/powerpoint/2010/main" val="3959973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81EE988C-D68B-423A-8BA5-C27D30ECD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0"/>
            <a:ext cx="8229600" cy="4931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>
            <a:normAutofit fontScale="90000"/>
          </a:bodyPr>
          <a:lstStyle/>
          <a:p>
            <a:pPr lvl="0"/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sz="2000" dirty="0">
                <a:solidFill>
                  <a:srgbClr val="295E7E"/>
                </a:solidFill>
              </a:rPr>
              <a:t>3.</a:t>
            </a:r>
            <a:r>
              <a:rPr lang="ru-RU" sz="2000" dirty="0">
                <a:solidFill>
                  <a:srgbClr val="295E7E"/>
                </a:solidFill>
              </a:rPr>
              <a:t> Развитие инструментария сферы занятости</a:t>
            </a:r>
            <a:endParaRPr lang="x-none" sz="2000" dirty="0">
              <a:solidFill>
                <a:srgbClr val="295E7E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1C86043-9E3D-4484-A038-65242C027F57}"/>
              </a:ext>
            </a:extLst>
          </p:cNvPr>
          <p:cNvSpPr txBox="1"/>
          <p:nvPr/>
        </p:nvSpPr>
        <p:spPr>
          <a:xfrm>
            <a:off x="1403648" y="511101"/>
            <a:ext cx="57515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>
                <a:solidFill>
                  <a:srgbClr val="357B7F"/>
                </a:solidFill>
              </a:rPr>
              <a:t>3.4. Система непрерывного образования занятых и не занятых граждан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1FC4EC20-0533-43FB-A067-D77CE24F1865}"/>
              </a:ext>
            </a:extLst>
          </p:cNvPr>
          <p:cNvSpPr txBox="1"/>
          <p:nvPr/>
        </p:nvSpPr>
        <p:spPr>
          <a:xfrm>
            <a:off x="706800" y="818878"/>
            <a:ext cx="4009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3079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ЛАЙН-ОБУЧЕНИЕ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B22CD2AA-2717-4FEC-9441-8A8251F73C17}"/>
              </a:ext>
            </a:extLst>
          </p:cNvPr>
          <p:cNvGrpSpPr/>
          <p:nvPr/>
        </p:nvGrpSpPr>
        <p:grpSpPr>
          <a:xfrm>
            <a:off x="2811912" y="2389335"/>
            <a:ext cx="1832096" cy="1698336"/>
            <a:chOff x="4107543" y="3171403"/>
            <a:chExt cx="3060000" cy="3060000"/>
          </a:xfrm>
        </p:grpSpPr>
        <p:sp>
          <p:nvSpPr>
            <p:cNvPr id="7" name="Овал 6">
              <a:extLst>
                <a:ext uri="{FF2B5EF4-FFF2-40B4-BE49-F238E27FC236}">
                  <a16:creationId xmlns:a16="http://schemas.microsoft.com/office/drawing/2014/main" xmlns="" id="{7F078920-19D8-4D84-B087-6198C602AB4E}"/>
                </a:ext>
              </a:extLst>
            </p:cNvPr>
            <p:cNvSpPr/>
            <p:nvPr/>
          </p:nvSpPr>
          <p:spPr>
            <a:xfrm>
              <a:off x="4107543" y="3171403"/>
              <a:ext cx="3060000" cy="3060000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22"/>
              <a:endParaRPr lang="ru-RU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" name="Рисунок 7" descr="Изображение выглядит как объект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4A8F6FB1-9A07-4885-AA11-499D95254D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0512" y="4929115"/>
              <a:ext cx="734059" cy="926565"/>
            </a:xfrm>
            <a:prstGeom prst="rect">
              <a:avLst/>
            </a:prstGeom>
            <a:ln>
              <a:noFill/>
            </a:ln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7B8B3B3B-C6BE-463D-BD8D-08DDD14BA72D}"/>
                </a:ext>
              </a:extLst>
            </p:cNvPr>
            <p:cNvSpPr txBox="1"/>
            <p:nvPr/>
          </p:nvSpPr>
          <p:spPr>
            <a:xfrm>
              <a:off x="4417626" y="3755565"/>
              <a:ext cx="2439835" cy="110655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722"/>
              <a:r>
                <a:rPr lang="ru-RU" sz="2200" b="1" dirty="0">
                  <a:solidFill>
                    <a:srgbClr val="FFFFFF"/>
                  </a:solidFill>
                  <a:latin typeface="Arial"/>
                </a:rPr>
                <a:t>ОНЛАЙН</a:t>
              </a:r>
            </a:p>
            <a:p>
              <a:pPr algn="ctr" defTabSz="685722"/>
              <a:r>
                <a:rPr lang="ru-RU" sz="1500" b="1" dirty="0">
                  <a:solidFill>
                    <a:srgbClr val="FFFFFF"/>
                  </a:solidFill>
                  <a:latin typeface="Arial"/>
                </a:rPr>
                <a:t>ПЛАТФОРМА</a:t>
              </a:r>
              <a:endParaRPr lang="ru-RU" b="1" dirty="0">
                <a:solidFill>
                  <a:srgbClr val="FFFFFF"/>
                </a:solidFill>
                <a:latin typeface="Arial"/>
              </a:endParaRPr>
            </a:p>
          </p:txBody>
        </p:sp>
      </p:grp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xmlns="" id="{27368894-2D44-4043-98DA-07E4E4553C43}"/>
              </a:ext>
            </a:extLst>
          </p:cNvPr>
          <p:cNvCxnSpPr>
            <a:cxnSpLocks/>
          </p:cNvCxnSpPr>
          <p:nvPr/>
        </p:nvCxnSpPr>
        <p:spPr>
          <a:xfrm>
            <a:off x="2415879" y="2224905"/>
            <a:ext cx="618813" cy="372290"/>
          </a:xfrm>
          <a:prstGeom prst="straightConnector1">
            <a:avLst/>
          </a:prstGeom>
          <a:ln w="22225" cap="sq">
            <a:solidFill>
              <a:srgbClr val="30798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xmlns="" id="{1DDC8608-37B6-4847-A158-5DA576AA459B}"/>
              </a:ext>
            </a:extLst>
          </p:cNvPr>
          <p:cNvCxnSpPr>
            <a:cxnSpLocks/>
          </p:cNvCxnSpPr>
          <p:nvPr/>
        </p:nvCxnSpPr>
        <p:spPr>
          <a:xfrm>
            <a:off x="1824812" y="3244153"/>
            <a:ext cx="943045" cy="0"/>
          </a:xfrm>
          <a:prstGeom prst="straightConnector1">
            <a:avLst/>
          </a:prstGeom>
          <a:ln w="22225" cap="sq">
            <a:solidFill>
              <a:srgbClr val="30798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xmlns="" id="{DDAC98BE-B734-4260-B5E3-A01167ECB021}"/>
              </a:ext>
            </a:extLst>
          </p:cNvPr>
          <p:cNvCxnSpPr>
            <a:cxnSpLocks/>
          </p:cNvCxnSpPr>
          <p:nvPr/>
        </p:nvCxnSpPr>
        <p:spPr>
          <a:xfrm flipH="1">
            <a:off x="4716016" y="3213649"/>
            <a:ext cx="553655" cy="24854"/>
          </a:xfrm>
          <a:prstGeom prst="straightConnector1">
            <a:avLst/>
          </a:prstGeom>
          <a:ln w="22225" cap="sq">
            <a:solidFill>
              <a:srgbClr val="30798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xmlns="" id="{12BE24B6-1C9A-49EC-92AB-1C1478022E2E}"/>
              </a:ext>
            </a:extLst>
          </p:cNvPr>
          <p:cNvCxnSpPr>
            <a:cxnSpLocks/>
          </p:cNvCxnSpPr>
          <p:nvPr/>
        </p:nvCxnSpPr>
        <p:spPr>
          <a:xfrm flipV="1">
            <a:off x="1893732" y="4043324"/>
            <a:ext cx="1191891" cy="315096"/>
          </a:xfrm>
          <a:prstGeom prst="straightConnector1">
            <a:avLst/>
          </a:prstGeom>
          <a:ln w="22225" cap="sq">
            <a:solidFill>
              <a:srgbClr val="30798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xmlns="" id="{196666C4-9769-4E94-B2DC-00C22BA27C31}"/>
              </a:ext>
            </a:extLst>
          </p:cNvPr>
          <p:cNvSpPr/>
          <p:nvPr/>
        </p:nvSpPr>
        <p:spPr>
          <a:xfrm>
            <a:off x="5074108" y="1620710"/>
            <a:ext cx="1909403" cy="3007427"/>
          </a:xfrm>
          <a:prstGeom prst="roundRect">
            <a:avLst/>
          </a:prstGeom>
          <a:solidFill>
            <a:srgbClr val="3971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22">
              <a:spcAft>
                <a:spcPts val="225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ЧИКИ КУРСОВ-ПРОВАЙДЕРЫ ОБУЧЕНИЯ</a:t>
            </a:r>
          </a:p>
          <a:p>
            <a:pPr marL="214288" indent="-214288" defTabSz="685722">
              <a:buFont typeface="Wingdings" panose="05000000000000000000" pitchFamily="2" charset="2"/>
              <a:buChar char="§"/>
            </a:pPr>
            <a:endParaRPr lang="ru-RU" sz="1200" dirty="0">
              <a:solidFill>
                <a:srgbClr val="FFFFFF"/>
              </a:solidFill>
              <a:latin typeface="Arial"/>
            </a:endParaRPr>
          </a:p>
          <a:p>
            <a:pPr marL="214288" indent="-214288" defTabSz="685722">
              <a:buClr>
                <a:srgbClr val="FFFFF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Работодатели </a:t>
            </a:r>
            <a:r>
              <a:rPr lang="en-US" sz="1200" dirty="0">
                <a:solidFill>
                  <a:srgbClr val="FFFFFF"/>
                </a:solidFill>
                <a:latin typeface="Arial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/>
              </a:rPr>
            </a:br>
            <a:r>
              <a:rPr lang="ru-RU" sz="1200" dirty="0">
                <a:solidFill>
                  <a:srgbClr val="FFFFFF"/>
                </a:solidFill>
                <a:latin typeface="Arial"/>
              </a:rPr>
              <a:t>и Предприятия</a:t>
            </a:r>
          </a:p>
          <a:p>
            <a:pPr marL="214288" indent="-214288" defTabSz="685722">
              <a:buClr>
                <a:srgbClr val="FFFFF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Учебные центры</a:t>
            </a:r>
          </a:p>
          <a:p>
            <a:pPr marL="214288" indent="-214288" defTabSz="685722">
              <a:buClr>
                <a:srgbClr val="FFFFF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Организации профессионального образования (вузы, колледжи)</a:t>
            </a:r>
          </a:p>
          <a:p>
            <a:pPr marL="214288" indent="-214288" defTabSz="685722">
              <a:buClr>
                <a:srgbClr val="FFFFF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Эксперты</a:t>
            </a:r>
          </a:p>
          <a:p>
            <a:pPr marL="214288" indent="-214288" defTabSz="685722">
              <a:buClr>
                <a:srgbClr val="FFFFF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ИТ-компании и провайдеры онлайн-обучения</a:t>
            </a: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xmlns="" id="{E4C98C28-914B-4151-AE4B-009198BC48A3}"/>
              </a:ext>
            </a:extLst>
          </p:cNvPr>
          <p:cNvSpPr/>
          <p:nvPr/>
        </p:nvSpPr>
        <p:spPr>
          <a:xfrm>
            <a:off x="775190" y="2831980"/>
            <a:ext cx="1730288" cy="584888"/>
          </a:xfrm>
          <a:prstGeom prst="roundRect">
            <a:avLst/>
          </a:prstGeom>
          <a:solidFill>
            <a:srgbClr val="307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22">
              <a:buClr>
                <a:srgbClr val="FFFFFF"/>
              </a:buClr>
              <a:buSzPct val="150000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ЦЕНТРЫ ЗАНЯТОСТИ</a:t>
            </a: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xmlns="" id="{30FB4C5C-EBCC-475E-A702-DBF29A67AD38}"/>
              </a:ext>
            </a:extLst>
          </p:cNvPr>
          <p:cNvSpPr/>
          <p:nvPr/>
        </p:nvSpPr>
        <p:spPr>
          <a:xfrm>
            <a:off x="767997" y="3931078"/>
            <a:ext cx="1730287" cy="584888"/>
          </a:xfrm>
          <a:prstGeom prst="roundRect">
            <a:avLst/>
          </a:prstGeom>
          <a:solidFill>
            <a:srgbClr val="00B2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22">
              <a:buClr>
                <a:srgbClr val="FFFFFF"/>
              </a:buClr>
              <a:buSzPct val="150000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РАБОТОДАТЕЛИ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xmlns="" id="{AC003D4C-0E87-4217-A438-ED3BAB1828E0}"/>
              </a:ext>
            </a:extLst>
          </p:cNvPr>
          <p:cNvSpPr/>
          <p:nvPr/>
        </p:nvSpPr>
        <p:spPr>
          <a:xfrm>
            <a:off x="789664" y="1275018"/>
            <a:ext cx="1730288" cy="1118541"/>
          </a:xfrm>
          <a:prstGeom prst="roundRect">
            <a:avLst/>
          </a:prstGeom>
          <a:solidFill>
            <a:srgbClr val="3185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4288" indent="-214288" defTabSz="685722">
              <a:buClr>
                <a:srgbClr val="FFFFF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БЕЗРАБОТНЫЕ</a:t>
            </a:r>
          </a:p>
          <a:p>
            <a:pPr marL="214288" indent="-214288" defTabSz="685722">
              <a:buClr>
                <a:srgbClr val="FFFFF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САМОЗАНЯТЫЕ</a:t>
            </a:r>
          </a:p>
          <a:p>
            <a:pPr marL="214288" indent="-214288" defTabSz="685722">
              <a:buClr>
                <a:srgbClr val="FFFFFF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ДЕЙСТВУЮЩИЕ РАБОТНИКИ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AF557A34-A91F-4D66-B5C0-0E46FDE0B92E}"/>
              </a:ext>
            </a:extLst>
          </p:cNvPr>
          <p:cNvSpPr/>
          <p:nvPr/>
        </p:nvSpPr>
        <p:spPr>
          <a:xfrm>
            <a:off x="6994319" y="1718500"/>
            <a:ext cx="2042176" cy="2649946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marL="285717" indent="-285717">
              <a:lnSpc>
                <a:spcPct val="90000"/>
              </a:lnSpc>
              <a:spcAft>
                <a:spcPts val="600"/>
              </a:spcAft>
              <a:buClr>
                <a:srgbClr val="007F76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/>
              </a:rPr>
              <a:t>Удобная структура сайта и каталоги доступных курсов по направлениям</a:t>
            </a:r>
          </a:p>
          <a:p>
            <a:pPr marL="285717" indent="-285717">
              <a:lnSpc>
                <a:spcPct val="90000"/>
              </a:lnSpc>
              <a:spcAft>
                <a:spcPts val="600"/>
              </a:spcAft>
              <a:buClr>
                <a:srgbClr val="007F76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/>
              </a:rPr>
              <a:t>Система рекомендует пользователям подходящие курсы</a:t>
            </a:r>
          </a:p>
          <a:p>
            <a:pPr marL="285717" indent="-285717">
              <a:lnSpc>
                <a:spcPct val="90000"/>
              </a:lnSpc>
              <a:spcAft>
                <a:spcPts val="600"/>
              </a:spcAft>
              <a:buClr>
                <a:srgbClr val="007F76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/>
              </a:rPr>
              <a:t>Полезность и сложность курсов оценивается самими слушателями</a:t>
            </a:r>
          </a:p>
          <a:p>
            <a:pPr marL="285717" indent="-285717">
              <a:lnSpc>
                <a:spcPct val="90000"/>
              </a:lnSpc>
              <a:spcAft>
                <a:spcPts val="600"/>
              </a:spcAft>
              <a:buClr>
                <a:srgbClr val="007F76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/>
              </a:rPr>
              <a:t>Успешным слушателям выдаются сертификаты </a:t>
            </a:r>
            <a:r>
              <a:rPr lang="en-US" sz="1200" dirty="0">
                <a:solidFill>
                  <a:srgbClr val="000000"/>
                </a:solidFill>
                <a:latin typeface="Calibri" panose="020F0502020204030204"/>
              </a:rPr>
              <a:t/>
            </a:r>
            <a:br>
              <a:rPr lang="en-US" sz="1200" dirty="0">
                <a:solidFill>
                  <a:srgbClr val="000000"/>
                </a:solidFill>
                <a:latin typeface="Calibri" panose="020F0502020204030204"/>
              </a:rPr>
            </a:br>
            <a:r>
              <a:rPr lang="ru-RU" sz="1200" dirty="0">
                <a:solidFill>
                  <a:srgbClr val="000000"/>
                </a:solidFill>
                <a:latin typeface="Calibri" panose="020F0502020204030204"/>
              </a:rPr>
              <a:t>от работодателей</a:t>
            </a:r>
          </a:p>
        </p:txBody>
      </p:sp>
    </p:spTree>
    <p:extLst>
      <p:ext uri="{BB962C8B-B14F-4D97-AF65-F5344CB8AC3E}">
        <p14:creationId xmlns:p14="http://schemas.microsoft.com/office/powerpoint/2010/main" val="10715824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7" name="Picture 927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144000" cy="5143500"/>
          </a:xfrm>
          <a:prstGeom prst="rect">
            <a:avLst/>
          </a:prstGeom>
          <a:noFill/>
        </p:spPr>
      </p:pic>
      <p:sp>
        <p:nvSpPr>
          <p:cNvPr id="928" name="Freeform 928"/>
          <p:cNvSpPr/>
          <p:nvPr/>
        </p:nvSpPr>
        <p:spPr>
          <a:xfrm flipV="1">
            <a:off x="0" y="1"/>
            <a:ext cx="9144000" cy="5143500"/>
          </a:xfrm>
          <a:custGeom>
            <a:avLst/>
            <a:gdLst/>
            <a:ahLst/>
            <a:cxnLst/>
            <a:rect l="0" t="0" r="0" b="0"/>
            <a:pathLst>
              <a:path w="24384000" h="13716000">
                <a:moveTo>
                  <a:pt x="0" y="13716000"/>
                </a:moveTo>
                <a:lnTo>
                  <a:pt x="24384000" y="13716000"/>
                </a:lnTo>
                <a:lnTo>
                  <a:pt x="24384000" y="0"/>
                </a:lnTo>
                <a:lnTo>
                  <a:pt x="0" y="0"/>
                </a:lnTo>
                <a:lnTo>
                  <a:pt x="0" y="13716000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 dirty="0"/>
          </a:p>
        </p:txBody>
      </p:sp>
      <p:pic>
        <p:nvPicPr>
          <p:cNvPr id="929" name="Picture 929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2"/>
            <a:ext cx="9144000" cy="743461"/>
          </a:xfrm>
          <a:prstGeom prst="rect">
            <a:avLst/>
          </a:prstGeom>
          <a:noFill/>
        </p:spPr>
      </p:pic>
      <p:pic>
        <p:nvPicPr>
          <p:cNvPr id="930" name="Picture 930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02642" y="730543"/>
            <a:ext cx="7737475" cy="4113213"/>
          </a:xfrm>
          <a:prstGeom prst="rect">
            <a:avLst/>
          </a:prstGeom>
          <a:noFill/>
        </p:spPr>
      </p:pic>
      <p:sp>
        <p:nvSpPr>
          <p:cNvPr id="931" name="Rectangle 931"/>
          <p:cNvSpPr/>
          <p:nvPr/>
        </p:nvSpPr>
        <p:spPr>
          <a:xfrm>
            <a:off x="6944303" y="4813382"/>
            <a:ext cx="1490746" cy="133858"/>
          </a:xfrm>
          <a:prstGeom prst="rect">
            <a:avLst/>
          </a:prstGeom>
        </p:spPr>
      </p:sp>
      <p:sp>
        <p:nvSpPr>
          <p:cNvPr id="932" name="Freeform 932"/>
          <p:cNvSpPr/>
          <p:nvPr/>
        </p:nvSpPr>
        <p:spPr>
          <a:xfrm>
            <a:off x="6952582" y="4856264"/>
            <a:ext cx="51298" cy="67723"/>
          </a:xfrm>
          <a:custGeom>
            <a:avLst/>
            <a:gdLst/>
            <a:ahLst/>
            <a:cxnLst/>
            <a:rect l="0" t="0" r="0" b="0"/>
            <a:pathLst>
              <a:path w="6839744" h="9029700">
                <a:moveTo>
                  <a:pt x="6839744" y="9029700"/>
                </a:moveTo>
                <a:lnTo>
                  <a:pt x="5642968" y="9029700"/>
                </a:lnTo>
                <a:lnTo>
                  <a:pt x="5642968" y="979885"/>
                </a:lnTo>
                <a:lnTo>
                  <a:pt x="1190625" y="97988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6839744" y="0"/>
                </a:ln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33" name="Freeform 933"/>
          <p:cNvSpPr/>
          <p:nvPr/>
        </p:nvSpPr>
        <p:spPr>
          <a:xfrm>
            <a:off x="7028763" y="4872742"/>
            <a:ext cx="42510" cy="70580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34" name="Freeform 934"/>
          <p:cNvSpPr/>
          <p:nvPr/>
        </p:nvSpPr>
        <p:spPr>
          <a:xfrm>
            <a:off x="7092947" y="4873693"/>
            <a:ext cx="40416" cy="50292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35" name="Freeform 935"/>
          <p:cNvSpPr/>
          <p:nvPr/>
        </p:nvSpPr>
        <p:spPr>
          <a:xfrm>
            <a:off x="7188342" y="4872741"/>
            <a:ext cx="39625" cy="52102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36" name="Freeform 936"/>
          <p:cNvSpPr/>
          <p:nvPr/>
        </p:nvSpPr>
        <p:spPr>
          <a:xfrm>
            <a:off x="7247687" y="4872742"/>
            <a:ext cx="41533" cy="52197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37" name="Freeform 937"/>
          <p:cNvSpPr/>
          <p:nvPr/>
        </p:nvSpPr>
        <p:spPr>
          <a:xfrm>
            <a:off x="7311685" y="4873693"/>
            <a:ext cx="43300" cy="50292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38" name="Freeform 938"/>
          <p:cNvSpPr/>
          <p:nvPr/>
        </p:nvSpPr>
        <p:spPr>
          <a:xfrm>
            <a:off x="7370940" y="4872742"/>
            <a:ext cx="41533" cy="52197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39" name="Freeform 939"/>
          <p:cNvSpPr/>
          <p:nvPr/>
        </p:nvSpPr>
        <p:spPr>
          <a:xfrm>
            <a:off x="7431777" y="4872741"/>
            <a:ext cx="39625" cy="52102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40" name="Freeform 940"/>
          <p:cNvSpPr/>
          <p:nvPr/>
        </p:nvSpPr>
        <p:spPr>
          <a:xfrm>
            <a:off x="7490378" y="4872742"/>
            <a:ext cx="42696" cy="52197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41" name="Freeform 941"/>
          <p:cNvSpPr/>
          <p:nvPr/>
        </p:nvSpPr>
        <p:spPr>
          <a:xfrm>
            <a:off x="7584422" y="4855311"/>
            <a:ext cx="45672" cy="68675"/>
          </a:xfrm>
          <a:custGeom>
            <a:avLst/>
            <a:gdLst/>
            <a:ahLst/>
            <a:cxnLst/>
            <a:rect l="0" t="0" r="0" b="0"/>
            <a:pathLst>
              <a:path w="6089650" h="9156700">
                <a:moveTo>
                  <a:pt x="6089650" y="9156700"/>
                </a:moveTo>
                <a:lnTo>
                  <a:pt x="173633" y="9156700"/>
                </a:lnTo>
                <a:lnTo>
                  <a:pt x="173633" y="8331994"/>
                </a:lnTo>
                <a:lnTo>
                  <a:pt x="3299023" y="4857750"/>
                </a:lnTo>
                <a:cubicBezTo>
                  <a:pt x="3762044" y="4332420"/>
                  <a:pt x="4081396" y="3905317"/>
                  <a:pt x="4257080" y="3576440"/>
                </a:cubicBezTo>
                <a:cubicBezTo>
                  <a:pt x="4432895" y="3247562"/>
                  <a:pt x="4520803" y="2907375"/>
                  <a:pt x="4520803" y="2555875"/>
                </a:cubicBezTo>
                <a:cubicBezTo>
                  <a:pt x="4520803" y="2084255"/>
                  <a:pt x="4378126" y="1697501"/>
                  <a:pt x="4092773" y="1395611"/>
                </a:cubicBezTo>
                <a:cubicBezTo>
                  <a:pt x="3807552" y="1093590"/>
                  <a:pt x="3427214" y="942579"/>
                  <a:pt x="2951758" y="942579"/>
                </a:cubicBezTo>
                <a:cubicBezTo>
                  <a:pt x="2381316" y="942579"/>
                  <a:pt x="1937941" y="1104835"/>
                  <a:pt x="1621631" y="1429346"/>
                </a:cubicBezTo>
                <a:cubicBezTo>
                  <a:pt x="1305454" y="1753857"/>
                  <a:pt x="1147366" y="2205501"/>
                  <a:pt x="1147366" y="2784277"/>
                </a:cubicBezTo>
                <a:lnTo>
                  <a:pt x="0" y="2784277"/>
                </a:lnTo>
                <a:cubicBezTo>
                  <a:pt x="0" y="1953353"/>
                  <a:pt x="267692" y="1281576"/>
                  <a:pt x="803076" y="768946"/>
                </a:cubicBezTo>
                <a:cubicBezTo>
                  <a:pt x="1338461" y="256316"/>
                  <a:pt x="2054688" y="0"/>
                  <a:pt x="2951758" y="0"/>
                </a:cubicBezTo>
                <a:cubicBezTo>
                  <a:pt x="3791016" y="0"/>
                  <a:pt x="4454525" y="220266"/>
                  <a:pt x="4942284" y="660797"/>
                </a:cubicBezTo>
                <a:cubicBezTo>
                  <a:pt x="5430176" y="1101196"/>
                  <a:pt x="5674122" y="1687447"/>
                  <a:pt x="5674122" y="2419549"/>
                </a:cubicBezTo>
                <a:cubicBezTo>
                  <a:pt x="5674122" y="3308814"/>
                  <a:pt x="5107781" y="4367610"/>
                  <a:pt x="3975100" y="5595938"/>
                </a:cubicBezTo>
                <a:lnTo>
                  <a:pt x="1556544" y="8220274"/>
                </a:lnTo>
                <a:lnTo>
                  <a:pt x="6089650" y="8220274"/>
                </a:ln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42" name="Freeform 942"/>
          <p:cNvSpPr/>
          <p:nvPr/>
        </p:nvSpPr>
        <p:spPr>
          <a:xfrm>
            <a:off x="7648932" y="4855311"/>
            <a:ext cx="42742" cy="69628"/>
          </a:xfrm>
          <a:custGeom>
            <a:avLst/>
            <a:gdLst/>
            <a:ahLst/>
            <a:cxnLst/>
            <a:rect l="0" t="0" r="0" b="0"/>
            <a:pathLst>
              <a:path w="5698926" h="9283700">
                <a:moveTo>
                  <a:pt x="5698926" y="5305822"/>
                </a:moveTo>
                <a:cubicBezTo>
                  <a:pt x="5698926" y="6650435"/>
                  <a:pt x="5469466" y="7649568"/>
                  <a:pt x="5010547" y="8303221"/>
                </a:cubicBezTo>
                <a:cubicBezTo>
                  <a:pt x="4551627" y="8956874"/>
                  <a:pt x="3834341" y="9283700"/>
                  <a:pt x="2858691" y="9283700"/>
                </a:cubicBezTo>
                <a:cubicBezTo>
                  <a:pt x="1895475" y="9283700"/>
                  <a:pt x="1182357" y="8964150"/>
                  <a:pt x="719336" y="8325049"/>
                </a:cubicBezTo>
                <a:cubicBezTo>
                  <a:pt x="256315" y="7685816"/>
                  <a:pt x="16536" y="6731133"/>
                  <a:pt x="0" y="5461000"/>
                </a:cubicBezTo>
                <a:lnTo>
                  <a:pt x="0" y="3928269"/>
                </a:lnTo>
                <a:cubicBezTo>
                  <a:pt x="0" y="2600193"/>
                  <a:pt x="229394" y="1613496"/>
                  <a:pt x="688181" y="968177"/>
                </a:cubicBezTo>
                <a:cubicBezTo>
                  <a:pt x="1147101" y="322726"/>
                  <a:pt x="1866503" y="0"/>
                  <a:pt x="2846387" y="0"/>
                </a:cubicBezTo>
                <a:cubicBezTo>
                  <a:pt x="3817805" y="0"/>
                  <a:pt x="4532974" y="311349"/>
                  <a:pt x="4991894" y="934046"/>
                </a:cubicBezTo>
                <a:cubicBezTo>
                  <a:pt x="5450813" y="1556610"/>
                  <a:pt x="5686491" y="2517445"/>
                  <a:pt x="5698926" y="3816549"/>
                </a:cubicBezTo>
                <a:close/>
                <a:moveTo>
                  <a:pt x="4551561" y="3735586"/>
                </a:moveTo>
                <a:cubicBezTo>
                  <a:pt x="4551561" y="2763243"/>
                  <a:pt x="4415102" y="2054688"/>
                  <a:pt x="4142184" y="1609924"/>
                </a:cubicBezTo>
                <a:cubicBezTo>
                  <a:pt x="3869399" y="1165027"/>
                  <a:pt x="3437466" y="942579"/>
                  <a:pt x="2846387" y="942579"/>
                </a:cubicBezTo>
                <a:cubicBezTo>
                  <a:pt x="2259277" y="942579"/>
                  <a:pt x="1831380" y="1163969"/>
                  <a:pt x="1562695" y="1606749"/>
                </a:cubicBezTo>
                <a:cubicBezTo>
                  <a:pt x="1294011" y="2049529"/>
                  <a:pt x="1155501" y="2730170"/>
                  <a:pt x="1147167" y="3648671"/>
                </a:cubicBezTo>
                <a:lnTo>
                  <a:pt x="1147167" y="5486004"/>
                </a:lnTo>
                <a:cubicBezTo>
                  <a:pt x="1147167" y="6462448"/>
                  <a:pt x="1288719" y="7183438"/>
                  <a:pt x="1571823" y="7648972"/>
                </a:cubicBezTo>
                <a:cubicBezTo>
                  <a:pt x="1855060" y="8114507"/>
                  <a:pt x="2284016" y="8347274"/>
                  <a:pt x="2858691" y="8347274"/>
                </a:cubicBezTo>
                <a:cubicBezTo>
                  <a:pt x="3425031" y="8347274"/>
                  <a:pt x="3845652" y="8128000"/>
                  <a:pt x="4120555" y="7689454"/>
                </a:cubicBezTo>
                <a:cubicBezTo>
                  <a:pt x="4395589" y="7250774"/>
                  <a:pt x="4539258" y="6559749"/>
                  <a:pt x="4551561" y="5616377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43" name="Freeform 943"/>
          <p:cNvSpPr/>
          <p:nvPr/>
        </p:nvSpPr>
        <p:spPr>
          <a:xfrm>
            <a:off x="7747907" y="4873693"/>
            <a:ext cx="40416" cy="50292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44" name="Freeform 944"/>
          <p:cNvSpPr/>
          <p:nvPr/>
        </p:nvSpPr>
        <p:spPr>
          <a:xfrm>
            <a:off x="7843718" y="4851786"/>
            <a:ext cx="44974" cy="73152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45" name="Freeform 945"/>
          <p:cNvSpPr/>
          <p:nvPr/>
        </p:nvSpPr>
        <p:spPr>
          <a:xfrm>
            <a:off x="7906090" y="4872742"/>
            <a:ext cx="45811" cy="52197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47" name="Freeform 947"/>
          <p:cNvSpPr/>
          <p:nvPr/>
        </p:nvSpPr>
        <p:spPr>
          <a:xfrm>
            <a:off x="8035573" y="4872742"/>
            <a:ext cx="42696" cy="52197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48" name="Freeform 948"/>
          <p:cNvSpPr/>
          <p:nvPr/>
        </p:nvSpPr>
        <p:spPr>
          <a:xfrm>
            <a:off x="8096036" y="4872742"/>
            <a:ext cx="42696" cy="52197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49" name="Freeform 949"/>
          <p:cNvSpPr/>
          <p:nvPr/>
        </p:nvSpPr>
        <p:spPr>
          <a:xfrm>
            <a:off x="8193012" y="4873693"/>
            <a:ext cx="62694" cy="50292"/>
          </a:xfrm>
          <a:custGeom>
            <a:avLst/>
            <a:gdLst/>
            <a:ahLst/>
            <a:cxnLst/>
            <a:rect l="0" t="0" r="0" b="0"/>
            <a:pathLst>
              <a:path w="8359180" h="6705600">
                <a:moveTo>
                  <a:pt x="1153518" y="0"/>
                </a:moveTo>
                <a:lnTo>
                  <a:pt x="1153518" y="5769174"/>
                </a:lnTo>
                <a:lnTo>
                  <a:pt x="3609182" y="5769174"/>
                </a:lnTo>
                <a:lnTo>
                  <a:pt x="3609182" y="0"/>
                </a:lnTo>
                <a:lnTo>
                  <a:pt x="4756349" y="0"/>
                </a:lnTo>
                <a:lnTo>
                  <a:pt x="4756349" y="5769174"/>
                </a:lnTo>
                <a:lnTo>
                  <a:pt x="7205861" y="5769174"/>
                </a:lnTo>
                <a:lnTo>
                  <a:pt x="7205861" y="0"/>
                </a:lnTo>
                <a:lnTo>
                  <a:pt x="8359180" y="0"/>
                </a:lnTo>
                <a:lnTo>
                  <a:pt x="8359180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50" name="Freeform 950"/>
          <p:cNvSpPr/>
          <p:nvPr/>
        </p:nvSpPr>
        <p:spPr>
          <a:xfrm>
            <a:off x="8274636" y="4873693"/>
            <a:ext cx="42044" cy="50292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51" name="Freeform 951"/>
          <p:cNvSpPr/>
          <p:nvPr/>
        </p:nvSpPr>
        <p:spPr>
          <a:xfrm>
            <a:off x="8329566" y="4873693"/>
            <a:ext cx="42880" cy="70580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52" name="Freeform 952"/>
          <p:cNvSpPr/>
          <p:nvPr/>
        </p:nvSpPr>
        <p:spPr>
          <a:xfrm>
            <a:off x="8390865" y="4873693"/>
            <a:ext cx="43300" cy="50292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244357">
              <a:alpha val="100000"/>
            </a:srgbClr>
          </a:solidFill>
          <a:ln w="19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53" name="Rectangle 953"/>
          <p:cNvSpPr/>
          <p:nvPr/>
        </p:nvSpPr>
        <p:spPr>
          <a:xfrm>
            <a:off x="708991" y="197280"/>
            <a:ext cx="6400739" cy="447623"/>
          </a:xfrm>
          <a:prstGeom prst="rect">
            <a:avLst/>
          </a:prstGeom>
        </p:spPr>
      </p:sp>
      <p:sp>
        <p:nvSpPr>
          <p:cNvPr id="954" name="Freeform 954"/>
          <p:cNvSpPr/>
          <p:nvPr/>
        </p:nvSpPr>
        <p:spPr>
          <a:xfrm>
            <a:off x="728278" y="337491"/>
            <a:ext cx="147130" cy="232835"/>
          </a:xfrm>
          <a:custGeom>
            <a:avLst/>
            <a:gdLst/>
            <a:ahLst/>
            <a:cxnLst/>
            <a:rect l="0" t="0" r="0" b="0"/>
            <a:pathLst>
              <a:path w="5866408" h="9283700">
                <a:moveTo>
                  <a:pt x="5866408" y="6294636"/>
                </a:moveTo>
                <a:cubicBezTo>
                  <a:pt x="5816798" y="7262086"/>
                  <a:pt x="5544939" y="8002125"/>
                  <a:pt x="5050830" y="8514755"/>
                </a:cubicBezTo>
                <a:cubicBezTo>
                  <a:pt x="4556852" y="9027385"/>
                  <a:pt x="3859212" y="9283700"/>
                  <a:pt x="2957909" y="9283700"/>
                </a:cubicBezTo>
                <a:cubicBezTo>
                  <a:pt x="2052637" y="9283700"/>
                  <a:pt x="1333301" y="8939279"/>
                  <a:pt x="799901" y="8250436"/>
                </a:cubicBezTo>
                <a:cubicBezTo>
                  <a:pt x="266634" y="7561594"/>
                  <a:pt x="0" y="6627615"/>
                  <a:pt x="0" y="5448499"/>
                </a:cubicBezTo>
                <a:lnTo>
                  <a:pt x="0" y="3810199"/>
                </a:lnTo>
                <a:cubicBezTo>
                  <a:pt x="0" y="2635316"/>
                  <a:pt x="273844" y="1706563"/>
                  <a:pt x="821531" y="1023938"/>
                </a:cubicBezTo>
                <a:cubicBezTo>
                  <a:pt x="1369351" y="341313"/>
                  <a:pt x="2116667" y="0"/>
                  <a:pt x="3063478" y="0"/>
                </a:cubicBezTo>
                <a:cubicBezTo>
                  <a:pt x="3935677" y="0"/>
                  <a:pt x="4610497" y="261541"/>
                  <a:pt x="5087937" y="784622"/>
                </a:cubicBezTo>
                <a:cubicBezTo>
                  <a:pt x="5565510" y="1307571"/>
                  <a:pt x="5825000" y="2054821"/>
                  <a:pt x="5866408" y="3026371"/>
                </a:cubicBezTo>
                <a:lnTo>
                  <a:pt x="4719042" y="3026371"/>
                </a:lnTo>
                <a:cubicBezTo>
                  <a:pt x="4669433" y="2290432"/>
                  <a:pt x="4514387" y="1765366"/>
                  <a:pt x="4253905" y="1451174"/>
                </a:cubicBezTo>
                <a:cubicBezTo>
                  <a:pt x="3993555" y="1136981"/>
                  <a:pt x="3596746" y="979885"/>
                  <a:pt x="3063478" y="979885"/>
                </a:cubicBezTo>
                <a:cubicBezTo>
                  <a:pt x="2447396" y="979885"/>
                  <a:pt x="1973990" y="1220921"/>
                  <a:pt x="1643261" y="1702991"/>
                </a:cubicBezTo>
                <a:cubicBezTo>
                  <a:pt x="1312532" y="2185062"/>
                  <a:pt x="1147167" y="2891565"/>
                  <a:pt x="1147167" y="3822502"/>
                </a:cubicBezTo>
                <a:lnTo>
                  <a:pt x="1147167" y="5479852"/>
                </a:lnTo>
                <a:cubicBezTo>
                  <a:pt x="1147167" y="6394252"/>
                  <a:pt x="1301155" y="7095596"/>
                  <a:pt x="1609130" y="7583885"/>
                </a:cubicBezTo>
                <a:cubicBezTo>
                  <a:pt x="1917237" y="8072173"/>
                  <a:pt x="2366830" y="8316318"/>
                  <a:pt x="2957909" y="8316318"/>
                </a:cubicBezTo>
                <a:cubicBezTo>
                  <a:pt x="3549121" y="8316318"/>
                  <a:pt x="3974968" y="8169540"/>
                  <a:pt x="4235450" y="7875985"/>
                </a:cubicBezTo>
                <a:cubicBezTo>
                  <a:pt x="4495932" y="7582430"/>
                  <a:pt x="4657130" y="7055313"/>
                  <a:pt x="4719042" y="6294636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55" name="Freeform 955"/>
          <p:cNvSpPr/>
          <p:nvPr/>
        </p:nvSpPr>
        <p:spPr>
          <a:xfrm>
            <a:off x="931391" y="398964"/>
            <a:ext cx="118508" cy="168176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56" name="Freeform 956"/>
          <p:cNvSpPr/>
          <p:nvPr/>
        </p:nvSpPr>
        <p:spPr>
          <a:xfrm>
            <a:off x="1106511" y="395779"/>
            <a:ext cx="130174" cy="174547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57" name="Freeform 957"/>
          <p:cNvSpPr/>
          <p:nvPr/>
        </p:nvSpPr>
        <p:spPr>
          <a:xfrm>
            <a:off x="1308068" y="398964"/>
            <a:ext cx="115865" cy="168176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58" name="Freeform 958"/>
          <p:cNvSpPr/>
          <p:nvPr/>
        </p:nvSpPr>
        <p:spPr>
          <a:xfrm>
            <a:off x="1503716" y="398964"/>
            <a:ext cx="159412" cy="168176"/>
          </a:xfrm>
          <a:custGeom>
            <a:avLst/>
            <a:gdLst/>
            <a:ahLst/>
            <a:cxnLst/>
            <a:rect l="0" t="0" r="0" b="0"/>
            <a:pathLst>
              <a:path w="6356152" h="6705600">
                <a:moveTo>
                  <a:pt x="3193653" y="5187157"/>
                </a:moveTo>
                <a:lnTo>
                  <a:pt x="4991894" y="0"/>
                </a:lnTo>
                <a:lnTo>
                  <a:pt x="6356152" y="0"/>
                </a:lnTo>
                <a:lnTo>
                  <a:pt x="6356152" y="6705600"/>
                </a:lnTo>
                <a:lnTo>
                  <a:pt x="5264745" y="6705600"/>
                </a:lnTo>
                <a:lnTo>
                  <a:pt x="5264745" y="2082404"/>
                </a:lnTo>
                <a:lnTo>
                  <a:pt x="3571875" y="6705600"/>
                </a:lnTo>
                <a:lnTo>
                  <a:pt x="2821583" y="6705600"/>
                </a:lnTo>
                <a:lnTo>
                  <a:pt x="1091406" y="1970683"/>
                </a:lnTo>
                <a:lnTo>
                  <a:pt x="109140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13867" y="0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59" name="Freeform 959"/>
          <p:cNvSpPr/>
          <p:nvPr/>
        </p:nvSpPr>
        <p:spPr>
          <a:xfrm>
            <a:off x="1734667" y="395779"/>
            <a:ext cx="130174" cy="174547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0" name="Freeform 960"/>
          <p:cNvSpPr/>
          <p:nvPr/>
        </p:nvSpPr>
        <p:spPr>
          <a:xfrm>
            <a:off x="1928137" y="395779"/>
            <a:ext cx="121001" cy="174547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1" name="Freeform 961"/>
          <p:cNvSpPr/>
          <p:nvPr/>
        </p:nvSpPr>
        <p:spPr>
          <a:xfrm>
            <a:off x="2102170" y="398964"/>
            <a:ext cx="118508" cy="168176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2" name="Freeform 962"/>
          <p:cNvSpPr/>
          <p:nvPr/>
        </p:nvSpPr>
        <p:spPr>
          <a:xfrm>
            <a:off x="2285532" y="398964"/>
            <a:ext cx="114780" cy="168176"/>
          </a:xfrm>
          <a:custGeom>
            <a:avLst/>
            <a:gdLst/>
            <a:ahLst/>
            <a:cxnLst/>
            <a:rect l="0" t="0" r="0" b="0"/>
            <a:pathLst>
              <a:path w="4576564" h="6705600">
                <a:moveTo>
                  <a:pt x="1091406" y="2311400"/>
                </a:moveTo>
                <a:lnTo>
                  <a:pt x="2474317" y="2311400"/>
                </a:lnTo>
                <a:cubicBezTo>
                  <a:pt x="3115138" y="2315501"/>
                  <a:pt x="3625718" y="2511756"/>
                  <a:pt x="4006056" y="2900165"/>
                </a:cubicBezTo>
                <a:cubicBezTo>
                  <a:pt x="4386395" y="3288573"/>
                  <a:pt x="4576564" y="3817475"/>
                  <a:pt x="4576564" y="4486871"/>
                </a:cubicBezTo>
                <a:cubicBezTo>
                  <a:pt x="4576564" y="5156134"/>
                  <a:pt x="4384278" y="5692246"/>
                  <a:pt x="3999706" y="6095207"/>
                </a:cubicBezTo>
                <a:cubicBezTo>
                  <a:pt x="3615266" y="6498035"/>
                  <a:pt x="3106804" y="6701499"/>
                  <a:pt x="247431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091406" y="0"/>
                </a:lnTo>
                <a:close/>
                <a:moveTo>
                  <a:pt x="1091406" y="3247827"/>
                </a:moveTo>
                <a:lnTo>
                  <a:pt x="1091406" y="5769174"/>
                </a:lnTo>
                <a:lnTo>
                  <a:pt x="2455664" y="5769174"/>
                </a:lnTo>
                <a:cubicBezTo>
                  <a:pt x="2778191" y="5769174"/>
                  <a:pt x="3029347" y="5659769"/>
                  <a:pt x="3209131" y="5440958"/>
                </a:cubicBezTo>
                <a:cubicBezTo>
                  <a:pt x="3388916" y="5222016"/>
                  <a:pt x="3478808" y="4918406"/>
                  <a:pt x="3478808" y="4530130"/>
                </a:cubicBezTo>
                <a:cubicBezTo>
                  <a:pt x="3478808" y="4150188"/>
                  <a:pt x="3389908" y="3842544"/>
                  <a:pt x="3212108" y="3607197"/>
                </a:cubicBezTo>
                <a:cubicBezTo>
                  <a:pt x="3034440" y="3371718"/>
                  <a:pt x="2790560" y="3251928"/>
                  <a:pt x="2480469" y="3247827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3" name="Freeform 963"/>
          <p:cNvSpPr/>
          <p:nvPr/>
        </p:nvSpPr>
        <p:spPr>
          <a:xfrm>
            <a:off x="2577611" y="398964"/>
            <a:ext cx="115865" cy="168176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4" name="Freeform 964"/>
          <p:cNvSpPr/>
          <p:nvPr/>
        </p:nvSpPr>
        <p:spPr>
          <a:xfrm>
            <a:off x="2871555" y="395779"/>
            <a:ext cx="121001" cy="174547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5" name="Freeform 965"/>
          <p:cNvSpPr/>
          <p:nvPr/>
        </p:nvSpPr>
        <p:spPr>
          <a:xfrm>
            <a:off x="3057872" y="395778"/>
            <a:ext cx="121469" cy="236020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6" name="Freeform 966"/>
          <p:cNvSpPr/>
          <p:nvPr/>
        </p:nvSpPr>
        <p:spPr>
          <a:xfrm>
            <a:off x="3242480" y="395779"/>
            <a:ext cx="130174" cy="174547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7" name="Freeform 967"/>
          <p:cNvSpPr/>
          <p:nvPr/>
        </p:nvSpPr>
        <p:spPr>
          <a:xfrm>
            <a:off x="3444192" y="398964"/>
            <a:ext cx="123957" cy="168176"/>
          </a:xfrm>
          <a:custGeom>
            <a:avLst/>
            <a:gdLst/>
            <a:ahLst/>
            <a:cxnLst/>
            <a:rect l="0" t="0" r="0" b="0"/>
            <a:pathLst>
              <a:path w="4942482" h="6705600">
                <a:moveTo>
                  <a:pt x="1717873" y="3842941"/>
                </a:moveTo>
                <a:lnTo>
                  <a:pt x="1097756" y="3842941"/>
                </a:lnTo>
                <a:lnTo>
                  <a:pt x="109775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756" y="0"/>
                </a:lnTo>
                <a:lnTo>
                  <a:pt x="1097756" y="2832100"/>
                </a:lnTo>
                <a:lnTo>
                  <a:pt x="1643459" y="2832100"/>
                </a:lnTo>
                <a:lnTo>
                  <a:pt x="3472656" y="0"/>
                </a:lnTo>
                <a:lnTo>
                  <a:pt x="4781153" y="0"/>
                </a:lnTo>
                <a:lnTo>
                  <a:pt x="2542579" y="3185518"/>
                </a:lnTo>
                <a:lnTo>
                  <a:pt x="4942482" y="6705600"/>
                </a:lnTo>
                <a:lnTo>
                  <a:pt x="3565723" y="6705600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8" name="Freeform 968"/>
          <p:cNvSpPr/>
          <p:nvPr/>
        </p:nvSpPr>
        <p:spPr>
          <a:xfrm>
            <a:off x="3630354" y="398964"/>
            <a:ext cx="115865" cy="168176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69" name="Freeform 969"/>
          <p:cNvSpPr/>
          <p:nvPr/>
        </p:nvSpPr>
        <p:spPr>
          <a:xfrm>
            <a:off x="3932386" y="398964"/>
            <a:ext cx="120688" cy="168176"/>
          </a:xfrm>
          <a:custGeom>
            <a:avLst/>
            <a:gdLst/>
            <a:ahLst/>
            <a:cxnLst/>
            <a:rect l="0" t="0" r="0" b="0"/>
            <a:pathLst>
              <a:path w="4812109" h="6705600">
                <a:moveTo>
                  <a:pt x="0" y="6705600"/>
                </a:moveTo>
                <a:lnTo>
                  <a:pt x="0" y="0"/>
                </a:lnTo>
                <a:lnTo>
                  <a:pt x="2251075" y="0"/>
                </a:lnTo>
                <a:cubicBezTo>
                  <a:pt x="3019954" y="0"/>
                  <a:pt x="3606932" y="157030"/>
                  <a:pt x="4012009" y="471091"/>
                </a:cubicBezTo>
                <a:cubicBezTo>
                  <a:pt x="4417219" y="785151"/>
                  <a:pt x="4619823" y="1241756"/>
                  <a:pt x="4619823" y="1840905"/>
                </a:cubicBezTo>
                <a:cubicBezTo>
                  <a:pt x="4619823" y="2150732"/>
                  <a:pt x="4539191" y="2429603"/>
                  <a:pt x="4377928" y="2677518"/>
                </a:cubicBezTo>
                <a:cubicBezTo>
                  <a:pt x="4216797" y="2925432"/>
                  <a:pt x="3981185" y="3115536"/>
                  <a:pt x="3671094" y="3247827"/>
                </a:cubicBezTo>
                <a:cubicBezTo>
                  <a:pt x="4014258" y="3338711"/>
                  <a:pt x="4290219" y="3522597"/>
                  <a:pt x="4498975" y="3799483"/>
                </a:cubicBezTo>
                <a:cubicBezTo>
                  <a:pt x="4707731" y="4076238"/>
                  <a:pt x="4812109" y="4410803"/>
                  <a:pt x="4812109" y="4803180"/>
                </a:cubicBezTo>
                <a:cubicBezTo>
                  <a:pt x="4812109" y="5422834"/>
                  <a:pt x="4618831" y="5894851"/>
                  <a:pt x="4232275" y="6219230"/>
                </a:cubicBezTo>
                <a:cubicBezTo>
                  <a:pt x="3845719" y="6543477"/>
                  <a:pt x="3299023" y="6705600"/>
                  <a:pt x="2592189" y="6705600"/>
                </a:cubicBezTo>
                <a:close/>
                <a:moveTo>
                  <a:pt x="1091406" y="3762574"/>
                </a:moveTo>
                <a:lnTo>
                  <a:pt x="1091406" y="5781675"/>
                </a:lnTo>
                <a:lnTo>
                  <a:pt x="2604492" y="5781675"/>
                </a:lnTo>
                <a:cubicBezTo>
                  <a:pt x="3344532" y="5781675"/>
                  <a:pt x="3714552" y="5443075"/>
                  <a:pt x="3714552" y="4765874"/>
                </a:cubicBezTo>
                <a:cubicBezTo>
                  <a:pt x="3714552" y="4097007"/>
                  <a:pt x="3340431" y="3762574"/>
                  <a:pt x="2592189" y="3762574"/>
                </a:cubicBezTo>
                <a:close/>
                <a:moveTo>
                  <a:pt x="1091406" y="2844800"/>
                </a:moveTo>
                <a:lnTo>
                  <a:pt x="2238573" y="2844800"/>
                </a:lnTo>
                <a:cubicBezTo>
                  <a:pt x="3094368" y="2844800"/>
                  <a:pt x="3522266" y="2530872"/>
                  <a:pt x="3522266" y="1903016"/>
                </a:cubicBezTo>
                <a:cubicBezTo>
                  <a:pt x="3522266" y="1271059"/>
                  <a:pt x="3119173" y="946812"/>
                  <a:pt x="2312987" y="930275"/>
                </a:cubicBezTo>
                <a:lnTo>
                  <a:pt x="1091406" y="930275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0" name="Freeform 970"/>
          <p:cNvSpPr/>
          <p:nvPr/>
        </p:nvSpPr>
        <p:spPr>
          <a:xfrm>
            <a:off x="4126169" y="398964"/>
            <a:ext cx="115711" cy="168176"/>
          </a:xfrm>
          <a:custGeom>
            <a:avLst/>
            <a:gdLst/>
            <a:ahLst/>
            <a:cxnLst/>
            <a:rect l="0" t="0" r="0" b="0"/>
            <a:pathLst>
              <a:path w="4613672" h="6705600">
                <a:moveTo>
                  <a:pt x="4613672" y="6705600"/>
                </a:moveTo>
                <a:lnTo>
                  <a:pt x="3522266" y="6705600"/>
                </a:lnTo>
                <a:lnTo>
                  <a:pt x="3522266" y="3844727"/>
                </a:lnTo>
                <a:lnTo>
                  <a:pt x="1103908" y="3844727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03908" y="0"/>
                </a:lnTo>
                <a:lnTo>
                  <a:pt x="1103908" y="2908300"/>
                </a:lnTo>
                <a:lnTo>
                  <a:pt x="3522266" y="2908300"/>
                </a:lnTo>
                <a:lnTo>
                  <a:pt x="3522266" y="0"/>
                </a:lnTo>
                <a:lnTo>
                  <a:pt x="4613672" y="0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1" name="Freeform 971"/>
          <p:cNvSpPr/>
          <p:nvPr/>
        </p:nvSpPr>
        <p:spPr>
          <a:xfrm>
            <a:off x="4314042" y="395779"/>
            <a:ext cx="121310" cy="174547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2" name="Freeform 972"/>
          <p:cNvSpPr/>
          <p:nvPr/>
        </p:nvSpPr>
        <p:spPr>
          <a:xfrm>
            <a:off x="4490092" y="398964"/>
            <a:ext cx="150862" cy="217546"/>
          </a:xfrm>
          <a:custGeom>
            <a:avLst/>
            <a:gdLst/>
            <a:ahLst/>
            <a:cxnLst/>
            <a:rect l="0" t="0" r="0" b="0"/>
            <a:pathLst>
              <a:path w="6015236" h="8674100">
                <a:moveTo>
                  <a:pt x="452834" y="5769174"/>
                </a:moveTo>
                <a:lnTo>
                  <a:pt x="781447" y="5298282"/>
                </a:lnTo>
                <a:cubicBezTo>
                  <a:pt x="1136914" y="4752975"/>
                  <a:pt x="1341570" y="3949436"/>
                  <a:pt x="1395412" y="2887663"/>
                </a:cubicBezTo>
                <a:lnTo>
                  <a:pt x="1488281" y="0"/>
                </a:lnTo>
                <a:lnTo>
                  <a:pt x="5233789" y="0"/>
                </a:lnTo>
                <a:lnTo>
                  <a:pt x="5233789" y="5769174"/>
                </a:lnTo>
                <a:lnTo>
                  <a:pt x="6015236" y="5769174"/>
                </a:lnTo>
                <a:lnTo>
                  <a:pt x="6015236" y="8674100"/>
                </a:lnTo>
                <a:lnTo>
                  <a:pt x="4917678" y="8674100"/>
                </a:lnTo>
                <a:lnTo>
                  <a:pt x="4917678" y="6705600"/>
                </a:lnTo>
                <a:lnTo>
                  <a:pt x="1103908" y="6705600"/>
                </a:lnTo>
                <a:lnTo>
                  <a:pt x="1103908" y="8674100"/>
                </a:lnTo>
                <a:lnTo>
                  <a:pt x="0" y="8674100"/>
                </a:lnTo>
                <a:lnTo>
                  <a:pt x="6350" y="5769174"/>
                </a:lnTo>
                <a:close/>
                <a:moveTo>
                  <a:pt x="1674415" y="5769174"/>
                </a:moveTo>
                <a:lnTo>
                  <a:pt x="4142383" y="5769174"/>
                </a:lnTo>
                <a:lnTo>
                  <a:pt x="4142383" y="1060450"/>
                </a:lnTo>
                <a:lnTo>
                  <a:pt x="2554883" y="1060450"/>
                </a:lnTo>
                <a:lnTo>
                  <a:pt x="2499122" y="2696171"/>
                </a:lnTo>
                <a:cubicBezTo>
                  <a:pt x="2441310" y="4001361"/>
                  <a:pt x="2166408" y="5025695"/>
                  <a:pt x="1674415" y="5769174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3" name="Freeform 973"/>
          <p:cNvSpPr/>
          <p:nvPr/>
        </p:nvSpPr>
        <p:spPr>
          <a:xfrm>
            <a:off x="4706114" y="395778"/>
            <a:ext cx="121469" cy="236020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4" name="Freeform 974"/>
          <p:cNvSpPr/>
          <p:nvPr/>
        </p:nvSpPr>
        <p:spPr>
          <a:xfrm>
            <a:off x="4891344" y="395779"/>
            <a:ext cx="121310" cy="174547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5" name="Freeform 975"/>
          <p:cNvSpPr/>
          <p:nvPr/>
        </p:nvSpPr>
        <p:spPr>
          <a:xfrm>
            <a:off x="5081550" y="398964"/>
            <a:ext cx="115711" cy="168176"/>
          </a:xfrm>
          <a:custGeom>
            <a:avLst/>
            <a:gdLst/>
            <a:ahLst/>
            <a:cxnLst/>
            <a:rect l="0" t="0" r="0" b="0"/>
            <a:pathLst>
              <a:path w="4613672" h="6705600">
                <a:moveTo>
                  <a:pt x="4613672" y="6705600"/>
                </a:moveTo>
                <a:lnTo>
                  <a:pt x="3522266" y="6705600"/>
                </a:lnTo>
                <a:lnTo>
                  <a:pt x="3522266" y="3844727"/>
                </a:lnTo>
                <a:lnTo>
                  <a:pt x="1103908" y="3844727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03908" y="0"/>
                </a:lnTo>
                <a:lnTo>
                  <a:pt x="1103908" y="2908300"/>
                </a:lnTo>
                <a:lnTo>
                  <a:pt x="3522266" y="2908300"/>
                </a:lnTo>
                <a:lnTo>
                  <a:pt x="3522266" y="0"/>
                </a:lnTo>
                <a:lnTo>
                  <a:pt x="4613672" y="0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6" name="Freeform 976"/>
          <p:cNvSpPr/>
          <p:nvPr/>
        </p:nvSpPr>
        <p:spPr>
          <a:xfrm>
            <a:off x="5277041" y="398964"/>
            <a:ext cx="115865" cy="168176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7" name="Freeform 977"/>
          <p:cNvSpPr/>
          <p:nvPr/>
        </p:nvSpPr>
        <p:spPr>
          <a:xfrm>
            <a:off x="5456669" y="398964"/>
            <a:ext cx="123490" cy="168176"/>
          </a:xfrm>
          <a:custGeom>
            <a:avLst/>
            <a:gdLst/>
            <a:ahLst/>
            <a:cxnLst/>
            <a:rect l="0" t="0" r="0" b="0"/>
            <a:pathLst>
              <a:path w="4923829" h="6705600">
                <a:moveTo>
                  <a:pt x="4923829" y="0"/>
                </a:moveTo>
                <a:lnTo>
                  <a:pt x="4923829" y="6705600"/>
                </a:lnTo>
                <a:lnTo>
                  <a:pt x="3826272" y="6705600"/>
                </a:lnTo>
                <a:lnTo>
                  <a:pt x="3826272" y="4092179"/>
                </a:lnTo>
                <a:lnTo>
                  <a:pt x="2530078" y="4092179"/>
                </a:lnTo>
                <a:lnTo>
                  <a:pt x="1178322" y="6705600"/>
                </a:lnTo>
                <a:lnTo>
                  <a:pt x="0" y="6705600"/>
                </a:lnTo>
                <a:lnTo>
                  <a:pt x="1451173" y="3900290"/>
                </a:lnTo>
                <a:cubicBezTo>
                  <a:pt x="1087371" y="3743392"/>
                  <a:pt x="810352" y="3501959"/>
                  <a:pt x="620117" y="3175993"/>
                </a:cubicBezTo>
                <a:cubicBezTo>
                  <a:pt x="430014" y="2849894"/>
                  <a:pt x="334962" y="2472201"/>
                  <a:pt x="334962" y="2042915"/>
                </a:cubicBezTo>
                <a:cubicBezTo>
                  <a:pt x="334962" y="1428023"/>
                  <a:pt x="533400" y="933847"/>
                  <a:pt x="930275" y="560388"/>
                </a:cubicBezTo>
                <a:cubicBezTo>
                  <a:pt x="1327150" y="186796"/>
                  <a:pt x="1860417" y="0"/>
                  <a:pt x="2530078" y="0"/>
                </a:cubicBezTo>
                <a:close/>
                <a:moveTo>
                  <a:pt x="1432520" y="2055416"/>
                </a:moveTo>
                <a:cubicBezTo>
                  <a:pt x="1432520" y="2385087"/>
                  <a:pt x="1521420" y="2649869"/>
                  <a:pt x="1699220" y="2849761"/>
                </a:cubicBezTo>
                <a:cubicBezTo>
                  <a:pt x="1877020" y="3049654"/>
                  <a:pt x="2116799" y="3149600"/>
                  <a:pt x="2418556" y="3149600"/>
                </a:cubicBezTo>
                <a:lnTo>
                  <a:pt x="3826272" y="3149600"/>
                </a:lnTo>
                <a:lnTo>
                  <a:pt x="3826272" y="930275"/>
                </a:lnTo>
                <a:lnTo>
                  <a:pt x="2517775" y="930275"/>
                </a:lnTo>
                <a:cubicBezTo>
                  <a:pt x="2191147" y="930275"/>
                  <a:pt x="1928614" y="1034323"/>
                  <a:pt x="1730176" y="1242418"/>
                </a:cubicBezTo>
                <a:cubicBezTo>
                  <a:pt x="1531739" y="1450512"/>
                  <a:pt x="1432520" y="1721512"/>
                  <a:pt x="1432520" y="2055416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8" name="Freeform 978"/>
          <p:cNvSpPr/>
          <p:nvPr/>
        </p:nvSpPr>
        <p:spPr>
          <a:xfrm>
            <a:off x="5763834" y="395778"/>
            <a:ext cx="121469" cy="236020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79" name="Freeform 979"/>
          <p:cNvSpPr/>
          <p:nvPr/>
        </p:nvSpPr>
        <p:spPr>
          <a:xfrm>
            <a:off x="5949064" y="395779"/>
            <a:ext cx="121310" cy="174547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80" name="Freeform 980"/>
          <p:cNvSpPr/>
          <p:nvPr/>
        </p:nvSpPr>
        <p:spPr>
          <a:xfrm>
            <a:off x="6139269" y="398964"/>
            <a:ext cx="177612" cy="168176"/>
          </a:xfrm>
          <a:custGeom>
            <a:avLst/>
            <a:gdLst/>
            <a:ahLst/>
            <a:cxnLst/>
            <a:rect l="0" t="0" r="0" b="0"/>
            <a:pathLst>
              <a:path w="7081837" h="6705600">
                <a:moveTo>
                  <a:pt x="1103908" y="0"/>
                </a:moveTo>
                <a:lnTo>
                  <a:pt x="1103908" y="5769174"/>
                </a:lnTo>
                <a:lnTo>
                  <a:pt x="2995216" y="5769174"/>
                </a:lnTo>
                <a:lnTo>
                  <a:pt x="2995216" y="0"/>
                </a:lnTo>
                <a:lnTo>
                  <a:pt x="4086622" y="0"/>
                </a:lnTo>
                <a:lnTo>
                  <a:pt x="4086622" y="5769174"/>
                </a:lnTo>
                <a:lnTo>
                  <a:pt x="5984081" y="5769174"/>
                </a:lnTo>
                <a:lnTo>
                  <a:pt x="5984081" y="0"/>
                </a:lnTo>
                <a:lnTo>
                  <a:pt x="7081837" y="0"/>
                </a:lnTo>
                <a:lnTo>
                  <a:pt x="7081837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81" name="Freeform 981"/>
          <p:cNvSpPr/>
          <p:nvPr/>
        </p:nvSpPr>
        <p:spPr>
          <a:xfrm>
            <a:off x="6389192" y="395779"/>
            <a:ext cx="121310" cy="174547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82" name="Freeform 982"/>
          <p:cNvSpPr/>
          <p:nvPr/>
        </p:nvSpPr>
        <p:spPr>
          <a:xfrm>
            <a:off x="6579395" y="398964"/>
            <a:ext cx="115711" cy="168176"/>
          </a:xfrm>
          <a:custGeom>
            <a:avLst/>
            <a:gdLst/>
            <a:ahLst/>
            <a:cxnLst/>
            <a:rect l="0" t="0" r="0" b="0"/>
            <a:pathLst>
              <a:path w="4613672" h="6705600">
                <a:moveTo>
                  <a:pt x="4613672" y="6705600"/>
                </a:moveTo>
                <a:lnTo>
                  <a:pt x="3522266" y="6705600"/>
                </a:lnTo>
                <a:lnTo>
                  <a:pt x="3522266" y="3844727"/>
                </a:lnTo>
                <a:lnTo>
                  <a:pt x="1103908" y="3844727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03908" y="0"/>
                </a:lnTo>
                <a:lnTo>
                  <a:pt x="1103908" y="2908300"/>
                </a:lnTo>
                <a:lnTo>
                  <a:pt x="3522266" y="2908300"/>
                </a:lnTo>
                <a:lnTo>
                  <a:pt x="3522266" y="0"/>
                </a:lnTo>
                <a:lnTo>
                  <a:pt x="4613672" y="0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83" name="Freeform 983"/>
          <p:cNvSpPr/>
          <p:nvPr/>
        </p:nvSpPr>
        <p:spPr>
          <a:xfrm>
            <a:off x="6774889" y="398964"/>
            <a:ext cx="115865" cy="168176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84" name="Freeform 984"/>
          <p:cNvSpPr/>
          <p:nvPr/>
        </p:nvSpPr>
        <p:spPr>
          <a:xfrm>
            <a:off x="6970537" y="337456"/>
            <a:ext cx="115865" cy="229685"/>
          </a:xfrm>
          <a:custGeom>
            <a:avLst/>
            <a:gdLst/>
            <a:ahLst/>
            <a:cxnLst/>
            <a:rect l="0" t="0" r="0" b="0"/>
            <a:pathLst>
              <a:path w="4619823" h="9158089">
                <a:moveTo>
                  <a:pt x="3528417" y="2452489"/>
                </a:moveTo>
                <a:lnTo>
                  <a:pt x="4619823" y="2452489"/>
                </a:lnTo>
                <a:lnTo>
                  <a:pt x="4619823" y="9158089"/>
                </a:lnTo>
                <a:lnTo>
                  <a:pt x="3528417" y="9158089"/>
                </a:lnTo>
                <a:lnTo>
                  <a:pt x="3528417" y="4268391"/>
                </a:lnTo>
                <a:lnTo>
                  <a:pt x="1097558" y="9158089"/>
                </a:lnTo>
                <a:lnTo>
                  <a:pt x="0" y="9158089"/>
                </a:lnTo>
                <a:lnTo>
                  <a:pt x="0" y="2452489"/>
                </a:lnTo>
                <a:lnTo>
                  <a:pt x="1097558" y="2452489"/>
                </a:lnTo>
                <a:lnTo>
                  <a:pt x="1097558" y="7348538"/>
                </a:lnTo>
                <a:close/>
                <a:moveTo>
                  <a:pt x="4173339" y="0"/>
                </a:moveTo>
                <a:cubicBezTo>
                  <a:pt x="4173339" y="501121"/>
                  <a:pt x="4002815" y="903949"/>
                  <a:pt x="3661767" y="1208485"/>
                </a:cubicBezTo>
                <a:cubicBezTo>
                  <a:pt x="3320719" y="1512888"/>
                  <a:pt x="2873177" y="1665089"/>
                  <a:pt x="2319139" y="1665089"/>
                </a:cubicBezTo>
                <a:cubicBezTo>
                  <a:pt x="1765234" y="1665089"/>
                  <a:pt x="1316699" y="1511830"/>
                  <a:pt x="973534" y="1205310"/>
                </a:cubicBezTo>
                <a:cubicBezTo>
                  <a:pt x="630370" y="898790"/>
                  <a:pt x="458787" y="497020"/>
                  <a:pt x="458787" y="0"/>
                </a:cubicBezTo>
                <a:lnTo>
                  <a:pt x="1395214" y="0"/>
                </a:lnTo>
                <a:cubicBezTo>
                  <a:pt x="1395214" y="290380"/>
                  <a:pt x="1473729" y="517525"/>
                  <a:pt x="1630759" y="681435"/>
                </a:cubicBezTo>
                <a:cubicBezTo>
                  <a:pt x="1787922" y="845212"/>
                  <a:pt x="2017382" y="927100"/>
                  <a:pt x="2319139" y="927100"/>
                </a:cubicBezTo>
                <a:cubicBezTo>
                  <a:pt x="2608593" y="927100"/>
                  <a:pt x="2834944" y="846204"/>
                  <a:pt x="2998192" y="684411"/>
                </a:cubicBezTo>
                <a:cubicBezTo>
                  <a:pt x="3161572" y="522619"/>
                  <a:pt x="3243262" y="294482"/>
                  <a:pt x="3243262" y="0"/>
                </a:cubicBezTo>
                <a:close/>
              </a:path>
            </a:pathLst>
          </a:custGeom>
          <a:solidFill>
            <a:srgbClr val="F2FAFF">
              <a:alpha val="100000"/>
            </a:srgbClr>
          </a:solidFill>
          <a:ln w="63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CBC3BA9C-F041-4588-868C-8AE7EA646CFB}"/>
              </a:ext>
            </a:extLst>
          </p:cNvPr>
          <p:cNvSpPr txBox="1"/>
          <p:nvPr/>
        </p:nvSpPr>
        <p:spPr>
          <a:xfrm>
            <a:off x="6890754" y="4851623"/>
            <a:ext cx="1550604" cy="1791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sz="700" dirty="0"/>
          </a:p>
        </p:txBody>
      </p:sp>
    </p:spTree>
    <p:extLst>
      <p:ext uri="{BB962C8B-B14F-4D97-AF65-F5344CB8AC3E}">
        <p14:creationId xmlns:p14="http://schemas.microsoft.com/office/powerpoint/2010/main" val="3791901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e4pContent1"/>
          <p:cNvSpPr txBox="1"/>
          <p:nvPr/>
        </p:nvSpPr>
        <p:spPr>
          <a:xfrm>
            <a:off x="580984" y="2465439"/>
            <a:ext cx="2288185" cy="594000"/>
          </a:xfrm>
          <a:prstGeom prst="rect">
            <a:avLst/>
          </a:prstGeom>
          <a:solidFill>
            <a:srgbClr val="E3E3E3"/>
          </a:solidFill>
          <a:ln w="9525" cap="rnd" cmpd="sng" algn="ctr">
            <a:solidFill>
              <a:srgbClr val="E3E3E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8958" rIns="0" bIns="3895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1000"/>
              </a:spcAft>
              <a:defRPr sz="1300">
                <a:solidFill>
                  <a:schemeClr val="bg1"/>
                </a:solidFill>
              </a:defRPr>
            </a:lvl1pPr>
          </a:lstStyle>
          <a:p>
            <a:r>
              <a:rPr lang="ru-RU" sz="1000" b="1" dirty="0">
                <a:solidFill>
                  <a:srgbClr val="295E7E"/>
                </a:solidFill>
              </a:rPr>
              <a:t>Политическая модернизация </a:t>
            </a:r>
          </a:p>
          <a:p>
            <a:r>
              <a:rPr lang="ru-RU" sz="900" dirty="0">
                <a:solidFill>
                  <a:srgbClr val="545454"/>
                </a:solidFill>
              </a:rPr>
              <a:t>(</a:t>
            </a:r>
            <a:r>
              <a:rPr lang="ru-RU" sz="900" i="1" dirty="0">
                <a:solidFill>
                  <a:srgbClr val="545454"/>
                </a:solidFill>
              </a:rPr>
              <a:t>Больше ответственности на местах</a:t>
            </a:r>
            <a:r>
              <a:rPr lang="ru-RU" sz="900" dirty="0">
                <a:solidFill>
                  <a:srgbClr val="545454"/>
                </a:solidFill>
              </a:rPr>
              <a:t>)</a:t>
            </a:r>
            <a:endParaRPr lang="en-US" sz="900" dirty="0">
              <a:solidFill>
                <a:srgbClr val="545454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1538" y="467100"/>
            <a:ext cx="7982031" cy="553998"/>
          </a:xfrm>
        </p:spPr>
        <p:txBody>
          <a:bodyPr>
            <a:spAutoFit/>
          </a:bodyPr>
          <a:lstStyle/>
          <a:p>
            <a:r>
              <a:rPr lang="kk-KZ" dirty="0"/>
              <a:t>Модернизация </a:t>
            </a:r>
            <a:r>
              <a:rPr lang="ru-RU" dirty="0"/>
              <a:t>рынка труда определяется задачами </a:t>
            </a:r>
            <a:br>
              <a:rPr lang="ru-RU" dirty="0"/>
            </a:br>
            <a:r>
              <a:rPr lang="ru-RU" dirty="0"/>
              <a:t>Третьей модернизации и глобальными вызовами</a:t>
            </a:r>
            <a:endParaRPr lang="en-US" dirty="0"/>
          </a:p>
        </p:txBody>
      </p:sp>
      <p:pic>
        <p:nvPicPr>
          <p:cNvPr id="22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31" r="4938" b="9400"/>
          <a:stretch/>
        </p:blipFill>
        <p:spPr bwMode="auto">
          <a:xfrm>
            <a:off x="565562" y="1234529"/>
            <a:ext cx="978551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Straight Connector 22"/>
          <p:cNvCxnSpPr/>
          <p:nvPr/>
        </p:nvCxnSpPr>
        <p:spPr>
          <a:xfrm>
            <a:off x="3148675" y="1783761"/>
            <a:ext cx="0" cy="2766977"/>
          </a:xfrm>
          <a:prstGeom prst="line">
            <a:avLst/>
          </a:prstGeom>
          <a:ln w="1905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2987328" y="3036152"/>
            <a:ext cx="322699" cy="262191"/>
            <a:chOff x="4843364" y="3319364"/>
            <a:chExt cx="219273" cy="219273"/>
          </a:xfrm>
        </p:grpSpPr>
        <p:sp>
          <p:nvSpPr>
            <p:cNvPr id="25" name="Oval 50"/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545454"/>
                </a:solidFill>
                <a:sym typeface="Trebuchet MS" panose="020B0603020202020204" pitchFamily="34" charset="0"/>
              </a:endParaRPr>
            </a:p>
          </p:txBody>
        </p:sp>
        <p:sp>
          <p:nvSpPr>
            <p:cNvPr id="26" name="Freeform 51"/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545454"/>
                </a:solidFill>
                <a:sym typeface="Trebuchet MS" panose="020B0603020202020204" pitchFamily="34" charset="0"/>
              </a:endParaRPr>
            </a:p>
          </p:txBody>
        </p:sp>
      </p:grpSp>
      <p:cxnSp>
        <p:nvCxnSpPr>
          <p:cNvPr id="27" name="Straight Connector 26"/>
          <p:cNvCxnSpPr/>
          <p:nvPr/>
        </p:nvCxnSpPr>
        <p:spPr>
          <a:xfrm>
            <a:off x="5995601" y="1783761"/>
            <a:ext cx="1" cy="2766977"/>
          </a:xfrm>
          <a:prstGeom prst="line">
            <a:avLst/>
          </a:prstGeom>
          <a:ln w="1905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/>
          <p:cNvGrpSpPr/>
          <p:nvPr/>
        </p:nvGrpSpPr>
        <p:grpSpPr>
          <a:xfrm flipH="1">
            <a:off x="5834252" y="3036152"/>
            <a:ext cx="322699" cy="262191"/>
            <a:chOff x="4843364" y="3319364"/>
            <a:chExt cx="219273" cy="219273"/>
          </a:xfrm>
        </p:grpSpPr>
        <p:sp>
          <p:nvSpPr>
            <p:cNvPr id="29" name="Oval 50"/>
            <p:cNvSpPr>
              <a:spLocks noChangeArrowheads="1"/>
            </p:cNvSpPr>
            <p:nvPr/>
          </p:nvSpPr>
          <p:spPr bwMode="auto">
            <a:xfrm>
              <a:off x="4843364" y="3319364"/>
              <a:ext cx="219273" cy="21927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545454"/>
                </a:solidFill>
                <a:sym typeface="Trebuchet MS" panose="020B0603020202020204" pitchFamily="34" charset="0"/>
              </a:endParaRPr>
            </a:p>
          </p:txBody>
        </p:sp>
        <p:sp>
          <p:nvSpPr>
            <p:cNvPr id="30" name="Freeform 51"/>
            <p:cNvSpPr>
              <a:spLocks/>
            </p:cNvSpPr>
            <p:nvPr/>
          </p:nvSpPr>
          <p:spPr bwMode="auto">
            <a:xfrm>
              <a:off x="4924624" y="3358059"/>
              <a:ext cx="78680" cy="141883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545454"/>
                </a:solidFill>
                <a:sym typeface="Trebuchet MS" panose="020B0603020202020204" pitchFamily="34" charset="0"/>
              </a:endParaRPr>
            </a:p>
          </p:txBody>
        </p:sp>
      </p:grpSp>
      <p:sp>
        <p:nvSpPr>
          <p:cNvPr id="31" name="ee4pHeader2"/>
          <p:cNvSpPr txBox="1"/>
          <p:nvPr/>
        </p:nvSpPr>
        <p:spPr>
          <a:xfrm>
            <a:off x="3428185" y="1759472"/>
            <a:ext cx="2288185" cy="567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/>
            <a:r>
              <a:rPr lang="ru-RU" sz="1400" dirty="0">
                <a:solidFill>
                  <a:srgbClr val="295E7E">
                    <a:lumMod val="100000"/>
                  </a:srgbClr>
                </a:solidFill>
              </a:rPr>
              <a:t>Стратегическая цель развития рынка труда Казахстана до 2025 года</a:t>
            </a:r>
          </a:p>
        </p:txBody>
      </p:sp>
      <p:grpSp>
        <p:nvGrpSpPr>
          <p:cNvPr id="32" name="bcgIcons_OpportunityMapping">
            <a:extLst>
              <a:ext uri="{FF2B5EF4-FFF2-40B4-BE49-F238E27FC236}">
                <a16:creationId xmlns:a16="http://schemas.microsoft.com/office/drawing/2014/main" xmlns="" id="{46B5D44F-F94F-4B85-B541-EC96299450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60362" y="1218166"/>
            <a:ext cx="708115" cy="575877"/>
            <a:chOff x="1682" y="0"/>
            <a:chExt cx="4316" cy="4320"/>
          </a:xfrm>
        </p:grpSpPr>
        <p:sp>
          <p:nvSpPr>
            <p:cNvPr id="33" name="AutoShape 13">
              <a:extLst>
                <a:ext uri="{FF2B5EF4-FFF2-40B4-BE49-F238E27FC236}">
                  <a16:creationId xmlns:a16="http://schemas.microsoft.com/office/drawing/2014/main" xmlns="" id="{7765EE75-DEB8-47F5-BF32-7AC230F4B23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</a:endParaRPr>
            </a:p>
          </p:txBody>
        </p:sp>
        <p:sp>
          <p:nvSpPr>
            <p:cNvPr id="34" name="Freeform 15">
              <a:extLst>
                <a:ext uri="{FF2B5EF4-FFF2-40B4-BE49-F238E27FC236}">
                  <a16:creationId xmlns:a16="http://schemas.microsoft.com/office/drawing/2014/main" xmlns="" id="{020B003A-B175-4CB8-A390-319627008B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4" y="877"/>
              <a:ext cx="2493" cy="1855"/>
            </a:xfrm>
            <a:custGeom>
              <a:avLst/>
              <a:gdLst>
                <a:gd name="T0" fmla="*/ 300 w 1331"/>
                <a:gd name="T1" fmla="*/ 3 h 989"/>
                <a:gd name="T2" fmla="*/ 0 w 1331"/>
                <a:gd name="T3" fmla="*/ 310 h 989"/>
                <a:gd name="T4" fmla="*/ 294 w 1331"/>
                <a:gd name="T5" fmla="*/ 984 h 989"/>
                <a:gd name="T6" fmla="*/ 306 w 1331"/>
                <a:gd name="T7" fmla="*/ 984 h 989"/>
                <a:gd name="T8" fmla="*/ 597 w 1331"/>
                <a:gd name="T9" fmla="*/ 310 h 989"/>
                <a:gd name="T10" fmla="*/ 300 w 1331"/>
                <a:gd name="T11" fmla="*/ 3 h 989"/>
                <a:gd name="T12" fmla="*/ 419 w 1331"/>
                <a:gd name="T13" fmla="*/ 226 h 989"/>
                <a:gd name="T14" fmla="*/ 364 w 1331"/>
                <a:gd name="T15" fmla="*/ 279 h 989"/>
                <a:gd name="T16" fmla="*/ 362 w 1331"/>
                <a:gd name="T17" fmla="*/ 284 h 989"/>
                <a:gd name="T18" fmla="*/ 374 w 1331"/>
                <a:gd name="T19" fmla="*/ 359 h 989"/>
                <a:gd name="T20" fmla="*/ 367 w 1331"/>
                <a:gd name="T21" fmla="*/ 364 h 989"/>
                <a:gd name="T22" fmla="*/ 300 w 1331"/>
                <a:gd name="T23" fmla="*/ 328 h 989"/>
                <a:gd name="T24" fmla="*/ 295 w 1331"/>
                <a:gd name="T25" fmla="*/ 328 h 989"/>
                <a:gd name="T26" fmla="*/ 228 w 1331"/>
                <a:gd name="T27" fmla="*/ 363 h 989"/>
                <a:gd name="T28" fmla="*/ 220 w 1331"/>
                <a:gd name="T29" fmla="*/ 357 h 989"/>
                <a:gd name="T30" fmla="*/ 234 w 1331"/>
                <a:gd name="T31" fmla="*/ 282 h 989"/>
                <a:gd name="T32" fmla="*/ 232 w 1331"/>
                <a:gd name="T33" fmla="*/ 277 h 989"/>
                <a:gd name="T34" fmla="*/ 179 w 1331"/>
                <a:gd name="T35" fmla="*/ 224 h 989"/>
                <a:gd name="T36" fmla="*/ 182 w 1331"/>
                <a:gd name="T37" fmla="*/ 215 h 989"/>
                <a:gd name="T38" fmla="*/ 256 w 1331"/>
                <a:gd name="T39" fmla="*/ 204 h 989"/>
                <a:gd name="T40" fmla="*/ 261 w 1331"/>
                <a:gd name="T41" fmla="*/ 202 h 989"/>
                <a:gd name="T42" fmla="*/ 295 w 1331"/>
                <a:gd name="T43" fmla="*/ 134 h 989"/>
                <a:gd name="T44" fmla="*/ 304 w 1331"/>
                <a:gd name="T45" fmla="*/ 134 h 989"/>
                <a:gd name="T46" fmla="*/ 337 w 1331"/>
                <a:gd name="T47" fmla="*/ 202 h 989"/>
                <a:gd name="T48" fmla="*/ 341 w 1331"/>
                <a:gd name="T49" fmla="*/ 206 h 989"/>
                <a:gd name="T50" fmla="*/ 416 w 1331"/>
                <a:gd name="T51" fmla="*/ 217 h 989"/>
                <a:gd name="T52" fmla="*/ 419 w 1331"/>
                <a:gd name="T53" fmla="*/ 226 h 989"/>
                <a:gd name="T54" fmla="*/ 1146 w 1331"/>
                <a:gd name="T55" fmla="*/ 0 h 989"/>
                <a:gd name="T56" fmla="*/ 958 w 1331"/>
                <a:gd name="T57" fmla="*/ 192 h 989"/>
                <a:gd name="T58" fmla="*/ 1142 w 1331"/>
                <a:gd name="T59" fmla="*/ 613 h 989"/>
                <a:gd name="T60" fmla="*/ 1149 w 1331"/>
                <a:gd name="T61" fmla="*/ 613 h 989"/>
                <a:gd name="T62" fmla="*/ 1331 w 1331"/>
                <a:gd name="T63" fmla="*/ 192 h 989"/>
                <a:gd name="T64" fmla="*/ 1146 w 1331"/>
                <a:gd name="T65" fmla="*/ 0 h 989"/>
                <a:gd name="T66" fmla="*/ 1220 w 1331"/>
                <a:gd name="T67" fmla="*/ 155 h 989"/>
                <a:gd name="T68" fmla="*/ 1186 w 1331"/>
                <a:gd name="T69" fmla="*/ 188 h 989"/>
                <a:gd name="T70" fmla="*/ 1185 w 1331"/>
                <a:gd name="T71" fmla="*/ 191 h 989"/>
                <a:gd name="T72" fmla="*/ 1192 w 1331"/>
                <a:gd name="T73" fmla="*/ 238 h 989"/>
                <a:gd name="T74" fmla="*/ 1187 w 1331"/>
                <a:gd name="T75" fmla="*/ 241 h 989"/>
                <a:gd name="T76" fmla="*/ 1146 w 1331"/>
                <a:gd name="T77" fmla="*/ 219 h 989"/>
                <a:gd name="T78" fmla="*/ 1143 w 1331"/>
                <a:gd name="T79" fmla="*/ 218 h 989"/>
                <a:gd name="T80" fmla="*/ 1101 w 1331"/>
                <a:gd name="T81" fmla="*/ 240 h 989"/>
                <a:gd name="T82" fmla="*/ 1096 w 1331"/>
                <a:gd name="T83" fmla="*/ 237 h 989"/>
                <a:gd name="T84" fmla="*/ 1104 w 1331"/>
                <a:gd name="T85" fmla="*/ 190 h 989"/>
                <a:gd name="T86" fmla="*/ 1103 w 1331"/>
                <a:gd name="T87" fmla="*/ 187 h 989"/>
                <a:gd name="T88" fmla="*/ 1070 w 1331"/>
                <a:gd name="T89" fmla="*/ 153 h 989"/>
                <a:gd name="T90" fmla="*/ 1072 w 1331"/>
                <a:gd name="T91" fmla="*/ 148 h 989"/>
                <a:gd name="T92" fmla="*/ 1118 w 1331"/>
                <a:gd name="T93" fmla="*/ 141 h 989"/>
                <a:gd name="T94" fmla="*/ 1121 w 1331"/>
                <a:gd name="T95" fmla="*/ 139 h 989"/>
                <a:gd name="T96" fmla="*/ 1142 w 1331"/>
                <a:gd name="T97" fmla="*/ 97 h 989"/>
                <a:gd name="T98" fmla="*/ 1149 w 1331"/>
                <a:gd name="T99" fmla="*/ 97 h 989"/>
                <a:gd name="T100" fmla="*/ 1169 w 1331"/>
                <a:gd name="T101" fmla="*/ 140 h 989"/>
                <a:gd name="T102" fmla="*/ 1171 w 1331"/>
                <a:gd name="T103" fmla="*/ 142 h 989"/>
                <a:gd name="T104" fmla="*/ 1218 w 1331"/>
                <a:gd name="T105" fmla="*/ 149 h 989"/>
                <a:gd name="T106" fmla="*/ 1220 w 1331"/>
                <a:gd name="T107" fmla="*/ 155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31" h="989">
                  <a:moveTo>
                    <a:pt x="300" y="3"/>
                  </a:moveTo>
                  <a:cubicBezTo>
                    <a:pt x="134" y="3"/>
                    <a:pt x="0" y="142"/>
                    <a:pt x="0" y="310"/>
                  </a:cubicBezTo>
                  <a:cubicBezTo>
                    <a:pt x="0" y="465"/>
                    <a:pt x="251" y="910"/>
                    <a:pt x="294" y="984"/>
                  </a:cubicBezTo>
                  <a:cubicBezTo>
                    <a:pt x="296" y="989"/>
                    <a:pt x="303" y="989"/>
                    <a:pt x="306" y="984"/>
                  </a:cubicBezTo>
                  <a:cubicBezTo>
                    <a:pt x="348" y="910"/>
                    <a:pt x="597" y="465"/>
                    <a:pt x="597" y="310"/>
                  </a:cubicBezTo>
                  <a:cubicBezTo>
                    <a:pt x="597" y="142"/>
                    <a:pt x="466" y="3"/>
                    <a:pt x="300" y="3"/>
                  </a:cubicBezTo>
                  <a:close/>
                  <a:moveTo>
                    <a:pt x="419" y="226"/>
                  </a:moveTo>
                  <a:cubicBezTo>
                    <a:pt x="364" y="279"/>
                    <a:pt x="364" y="279"/>
                    <a:pt x="364" y="279"/>
                  </a:cubicBezTo>
                  <a:cubicBezTo>
                    <a:pt x="363" y="280"/>
                    <a:pt x="362" y="282"/>
                    <a:pt x="362" y="284"/>
                  </a:cubicBezTo>
                  <a:cubicBezTo>
                    <a:pt x="374" y="359"/>
                    <a:pt x="374" y="359"/>
                    <a:pt x="374" y="359"/>
                  </a:cubicBezTo>
                  <a:cubicBezTo>
                    <a:pt x="375" y="363"/>
                    <a:pt x="371" y="366"/>
                    <a:pt x="367" y="364"/>
                  </a:cubicBezTo>
                  <a:cubicBezTo>
                    <a:pt x="300" y="328"/>
                    <a:pt x="300" y="328"/>
                    <a:pt x="300" y="328"/>
                  </a:cubicBezTo>
                  <a:cubicBezTo>
                    <a:pt x="298" y="327"/>
                    <a:pt x="297" y="327"/>
                    <a:pt x="295" y="328"/>
                  </a:cubicBezTo>
                  <a:cubicBezTo>
                    <a:pt x="228" y="363"/>
                    <a:pt x="228" y="363"/>
                    <a:pt x="228" y="363"/>
                  </a:cubicBezTo>
                  <a:cubicBezTo>
                    <a:pt x="224" y="365"/>
                    <a:pt x="219" y="361"/>
                    <a:pt x="220" y="357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4" y="280"/>
                    <a:pt x="234" y="278"/>
                    <a:pt x="232" y="277"/>
                  </a:cubicBezTo>
                  <a:cubicBezTo>
                    <a:pt x="179" y="224"/>
                    <a:pt x="179" y="224"/>
                    <a:pt x="179" y="224"/>
                  </a:cubicBezTo>
                  <a:cubicBezTo>
                    <a:pt x="176" y="221"/>
                    <a:pt x="177" y="215"/>
                    <a:pt x="182" y="215"/>
                  </a:cubicBezTo>
                  <a:cubicBezTo>
                    <a:pt x="256" y="204"/>
                    <a:pt x="256" y="204"/>
                    <a:pt x="256" y="204"/>
                  </a:cubicBezTo>
                  <a:cubicBezTo>
                    <a:pt x="258" y="204"/>
                    <a:pt x="260" y="203"/>
                    <a:pt x="261" y="202"/>
                  </a:cubicBezTo>
                  <a:cubicBezTo>
                    <a:pt x="295" y="134"/>
                    <a:pt x="295" y="134"/>
                    <a:pt x="295" y="134"/>
                  </a:cubicBezTo>
                  <a:cubicBezTo>
                    <a:pt x="297" y="130"/>
                    <a:pt x="302" y="130"/>
                    <a:pt x="304" y="134"/>
                  </a:cubicBezTo>
                  <a:cubicBezTo>
                    <a:pt x="337" y="202"/>
                    <a:pt x="337" y="202"/>
                    <a:pt x="337" y="202"/>
                  </a:cubicBezTo>
                  <a:cubicBezTo>
                    <a:pt x="338" y="204"/>
                    <a:pt x="339" y="205"/>
                    <a:pt x="341" y="206"/>
                  </a:cubicBezTo>
                  <a:cubicBezTo>
                    <a:pt x="416" y="217"/>
                    <a:pt x="416" y="217"/>
                    <a:pt x="416" y="217"/>
                  </a:cubicBezTo>
                  <a:cubicBezTo>
                    <a:pt x="420" y="218"/>
                    <a:pt x="422" y="223"/>
                    <a:pt x="419" y="226"/>
                  </a:cubicBezTo>
                  <a:close/>
                  <a:moveTo>
                    <a:pt x="1146" y="0"/>
                  </a:moveTo>
                  <a:cubicBezTo>
                    <a:pt x="1042" y="0"/>
                    <a:pt x="958" y="87"/>
                    <a:pt x="958" y="192"/>
                  </a:cubicBezTo>
                  <a:cubicBezTo>
                    <a:pt x="958" y="289"/>
                    <a:pt x="1115" y="567"/>
                    <a:pt x="1142" y="613"/>
                  </a:cubicBezTo>
                  <a:cubicBezTo>
                    <a:pt x="1144" y="616"/>
                    <a:pt x="1148" y="616"/>
                    <a:pt x="1149" y="613"/>
                  </a:cubicBezTo>
                  <a:cubicBezTo>
                    <a:pt x="1176" y="567"/>
                    <a:pt x="1331" y="289"/>
                    <a:pt x="1331" y="192"/>
                  </a:cubicBezTo>
                  <a:cubicBezTo>
                    <a:pt x="1331" y="87"/>
                    <a:pt x="1249" y="0"/>
                    <a:pt x="1146" y="0"/>
                  </a:cubicBezTo>
                  <a:close/>
                  <a:moveTo>
                    <a:pt x="1220" y="155"/>
                  </a:moveTo>
                  <a:cubicBezTo>
                    <a:pt x="1186" y="188"/>
                    <a:pt x="1186" y="188"/>
                    <a:pt x="1186" y="188"/>
                  </a:cubicBezTo>
                  <a:cubicBezTo>
                    <a:pt x="1185" y="188"/>
                    <a:pt x="1185" y="190"/>
                    <a:pt x="1185" y="191"/>
                  </a:cubicBezTo>
                  <a:cubicBezTo>
                    <a:pt x="1192" y="238"/>
                    <a:pt x="1192" y="238"/>
                    <a:pt x="1192" y="238"/>
                  </a:cubicBezTo>
                  <a:cubicBezTo>
                    <a:pt x="1193" y="240"/>
                    <a:pt x="1190" y="242"/>
                    <a:pt x="1187" y="241"/>
                  </a:cubicBezTo>
                  <a:cubicBezTo>
                    <a:pt x="1146" y="219"/>
                    <a:pt x="1146" y="219"/>
                    <a:pt x="1146" y="219"/>
                  </a:cubicBezTo>
                  <a:cubicBezTo>
                    <a:pt x="1145" y="218"/>
                    <a:pt x="1144" y="218"/>
                    <a:pt x="1143" y="218"/>
                  </a:cubicBezTo>
                  <a:cubicBezTo>
                    <a:pt x="1101" y="240"/>
                    <a:pt x="1101" y="240"/>
                    <a:pt x="1101" y="240"/>
                  </a:cubicBezTo>
                  <a:cubicBezTo>
                    <a:pt x="1098" y="241"/>
                    <a:pt x="1095" y="239"/>
                    <a:pt x="1096" y="237"/>
                  </a:cubicBezTo>
                  <a:cubicBezTo>
                    <a:pt x="1104" y="190"/>
                    <a:pt x="1104" y="190"/>
                    <a:pt x="1104" y="190"/>
                  </a:cubicBezTo>
                  <a:cubicBezTo>
                    <a:pt x="1104" y="189"/>
                    <a:pt x="1104" y="188"/>
                    <a:pt x="1103" y="187"/>
                  </a:cubicBezTo>
                  <a:cubicBezTo>
                    <a:pt x="1070" y="153"/>
                    <a:pt x="1070" y="153"/>
                    <a:pt x="1070" y="153"/>
                  </a:cubicBezTo>
                  <a:cubicBezTo>
                    <a:pt x="1068" y="151"/>
                    <a:pt x="1069" y="148"/>
                    <a:pt x="1072" y="148"/>
                  </a:cubicBezTo>
                  <a:cubicBezTo>
                    <a:pt x="1118" y="141"/>
                    <a:pt x="1118" y="141"/>
                    <a:pt x="1118" y="141"/>
                  </a:cubicBezTo>
                  <a:cubicBezTo>
                    <a:pt x="1120" y="141"/>
                    <a:pt x="1121" y="141"/>
                    <a:pt x="1121" y="139"/>
                  </a:cubicBezTo>
                  <a:cubicBezTo>
                    <a:pt x="1142" y="97"/>
                    <a:pt x="1142" y="97"/>
                    <a:pt x="1142" y="97"/>
                  </a:cubicBezTo>
                  <a:cubicBezTo>
                    <a:pt x="1144" y="95"/>
                    <a:pt x="1147" y="95"/>
                    <a:pt x="1149" y="97"/>
                  </a:cubicBezTo>
                  <a:cubicBezTo>
                    <a:pt x="1169" y="140"/>
                    <a:pt x="1169" y="140"/>
                    <a:pt x="1169" y="140"/>
                  </a:cubicBezTo>
                  <a:cubicBezTo>
                    <a:pt x="1169" y="141"/>
                    <a:pt x="1170" y="142"/>
                    <a:pt x="1171" y="142"/>
                  </a:cubicBezTo>
                  <a:cubicBezTo>
                    <a:pt x="1218" y="149"/>
                    <a:pt x="1218" y="149"/>
                    <a:pt x="1218" y="149"/>
                  </a:cubicBezTo>
                  <a:cubicBezTo>
                    <a:pt x="1221" y="150"/>
                    <a:pt x="1222" y="153"/>
                    <a:pt x="1220" y="15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</a:endParaRPr>
            </a:p>
          </p:txBody>
        </p:sp>
        <p:sp>
          <p:nvSpPr>
            <p:cNvPr id="35" name="Freeform 16">
              <a:extLst>
                <a:ext uri="{FF2B5EF4-FFF2-40B4-BE49-F238E27FC236}">
                  <a16:creationId xmlns:a16="http://schemas.microsoft.com/office/drawing/2014/main" xmlns="" id="{0E02D212-17FD-448F-87B5-CCA177AA39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4" y="712"/>
              <a:ext cx="3956" cy="2665"/>
            </a:xfrm>
            <a:custGeom>
              <a:avLst/>
              <a:gdLst>
                <a:gd name="T0" fmla="*/ 663 w 2112"/>
                <a:gd name="T1" fmla="*/ 1199 h 1421"/>
                <a:gd name="T2" fmla="*/ 469 w 2112"/>
                <a:gd name="T3" fmla="*/ 844 h 1421"/>
                <a:gd name="T4" fmla="*/ 695 w 2112"/>
                <a:gd name="T5" fmla="*/ 0 h 1421"/>
                <a:gd name="T6" fmla="*/ 920 w 2112"/>
                <a:gd name="T7" fmla="*/ 844 h 1421"/>
                <a:gd name="T8" fmla="*/ 727 w 2112"/>
                <a:gd name="T9" fmla="*/ 1199 h 1421"/>
                <a:gd name="T10" fmla="*/ 695 w 2112"/>
                <a:gd name="T11" fmla="*/ 1218 h 1421"/>
                <a:gd name="T12" fmla="*/ 352 w 2112"/>
                <a:gd name="T13" fmla="*/ 395 h 1421"/>
                <a:gd name="T14" fmla="*/ 662 w 2112"/>
                <a:gd name="T15" fmla="*/ 1110 h 1421"/>
                <a:gd name="T16" fmla="*/ 728 w 2112"/>
                <a:gd name="T17" fmla="*/ 1110 h 1421"/>
                <a:gd name="T18" fmla="*/ 1036 w 2112"/>
                <a:gd name="T19" fmla="*/ 395 h 1421"/>
                <a:gd name="T20" fmla="*/ 1344 w 2112"/>
                <a:gd name="T21" fmla="*/ 593 h 1421"/>
                <a:gd name="T22" fmla="*/ 1081 w 2112"/>
                <a:gd name="T23" fmla="*/ 587 h 1421"/>
                <a:gd name="T24" fmla="*/ 1364 w 2112"/>
                <a:gd name="T25" fmla="*/ 631 h 1421"/>
                <a:gd name="T26" fmla="*/ 2110 w 2112"/>
                <a:gd name="T27" fmla="*/ 1377 h 1421"/>
                <a:gd name="T28" fmla="*/ 1876 w 2112"/>
                <a:gd name="T29" fmla="*/ 587 h 1421"/>
                <a:gd name="T30" fmla="*/ 1736 w 2112"/>
                <a:gd name="T31" fmla="*/ 592 h 1421"/>
                <a:gd name="T32" fmla="*/ 1876 w 2112"/>
                <a:gd name="T33" fmla="*/ 631 h 1421"/>
                <a:gd name="T34" fmla="*/ 2064 w 2112"/>
                <a:gd name="T35" fmla="*/ 1377 h 1421"/>
                <a:gd name="T36" fmla="*/ 232 w 2112"/>
                <a:gd name="T37" fmla="*/ 631 h 1421"/>
                <a:gd name="T38" fmla="*/ 324 w 2112"/>
                <a:gd name="T39" fmla="*/ 631 h 1421"/>
                <a:gd name="T40" fmla="*/ 236 w 2112"/>
                <a:gd name="T41" fmla="*/ 587 h 1421"/>
                <a:gd name="T42" fmla="*/ 2 w 2112"/>
                <a:gd name="T43" fmla="*/ 1377 h 1421"/>
                <a:gd name="T44" fmla="*/ 45 w 2112"/>
                <a:gd name="T45" fmla="*/ 1421 h 1421"/>
                <a:gd name="T46" fmla="*/ 2104 w 2112"/>
                <a:gd name="T47" fmla="*/ 1405 h 1421"/>
                <a:gd name="T48" fmla="*/ 1541 w 2112"/>
                <a:gd name="T49" fmla="*/ 826 h 1421"/>
                <a:gd name="T50" fmla="*/ 1487 w 2112"/>
                <a:gd name="T51" fmla="*/ 765 h 1421"/>
                <a:gd name="T52" fmla="*/ 1276 w 2112"/>
                <a:gd name="T53" fmla="*/ 270 h 1421"/>
                <a:gd name="T54" fmla="*/ 1804 w 2112"/>
                <a:gd name="T55" fmla="*/ 270 h 1421"/>
                <a:gd name="T56" fmla="*/ 1594 w 2112"/>
                <a:gd name="T57" fmla="*/ 765 h 1421"/>
                <a:gd name="T58" fmla="*/ 1541 w 2112"/>
                <a:gd name="T59" fmla="*/ 826 h 1421"/>
                <a:gd name="T60" fmla="*/ 1541 w 2112"/>
                <a:gd name="T61" fmla="*/ 44 h 1421"/>
                <a:gd name="T62" fmla="*/ 1423 w 2112"/>
                <a:gd name="T63" fmla="*/ 553 h 1421"/>
                <a:gd name="T64" fmla="*/ 1541 w 2112"/>
                <a:gd name="T65" fmla="*/ 770 h 1421"/>
                <a:gd name="T66" fmla="*/ 1658 w 2112"/>
                <a:gd name="T67" fmla="*/ 553 h 1421"/>
                <a:gd name="T68" fmla="*/ 1541 w 2112"/>
                <a:gd name="T69" fmla="*/ 44 h 1421"/>
                <a:gd name="T70" fmla="*/ 1195 w 2112"/>
                <a:gd name="T71" fmla="*/ 908 h 1421"/>
                <a:gd name="T72" fmla="*/ 1195 w 2112"/>
                <a:gd name="T73" fmla="*/ 826 h 1421"/>
                <a:gd name="T74" fmla="*/ 1449 w 2112"/>
                <a:gd name="T75" fmla="*/ 787 h 1421"/>
                <a:gd name="T76" fmla="*/ 1195 w 2112"/>
                <a:gd name="T77" fmla="*/ 782 h 1421"/>
                <a:gd name="T78" fmla="*/ 1195 w 2112"/>
                <a:gd name="T79" fmla="*/ 952 h 1421"/>
                <a:gd name="T80" fmla="*/ 1659 w 2112"/>
                <a:gd name="T81" fmla="*/ 1063 h 1421"/>
                <a:gd name="T82" fmla="*/ 793 w 2112"/>
                <a:gd name="T83" fmla="*/ 1174 h 1421"/>
                <a:gd name="T84" fmla="*/ 1548 w 2112"/>
                <a:gd name="T85" fmla="*/ 1218 h 1421"/>
                <a:gd name="T86" fmla="*/ 1548 w 2112"/>
                <a:gd name="T87" fmla="*/ 908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12" h="1421">
                  <a:moveTo>
                    <a:pt x="695" y="1218"/>
                  </a:moveTo>
                  <a:cubicBezTo>
                    <a:pt x="681" y="1218"/>
                    <a:pt x="669" y="1211"/>
                    <a:pt x="663" y="1199"/>
                  </a:cubicBezTo>
                  <a:cubicBezTo>
                    <a:pt x="624" y="1132"/>
                    <a:pt x="624" y="1132"/>
                    <a:pt x="624" y="1132"/>
                  </a:cubicBezTo>
                  <a:cubicBezTo>
                    <a:pt x="623" y="1131"/>
                    <a:pt x="545" y="997"/>
                    <a:pt x="469" y="844"/>
                  </a:cubicBezTo>
                  <a:cubicBezTo>
                    <a:pt x="360" y="627"/>
                    <a:pt x="308" y="480"/>
                    <a:pt x="308" y="395"/>
                  </a:cubicBezTo>
                  <a:cubicBezTo>
                    <a:pt x="308" y="177"/>
                    <a:pt x="481" y="0"/>
                    <a:pt x="695" y="0"/>
                  </a:cubicBezTo>
                  <a:cubicBezTo>
                    <a:pt x="907" y="0"/>
                    <a:pt x="1080" y="177"/>
                    <a:pt x="1080" y="395"/>
                  </a:cubicBezTo>
                  <a:cubicBezTo>
                    <a:pt x="1080" y="480"/>
                    <a:pt x="1027" y="627"/>
                    <a:pt x="920" y="844"/>
                  </a:cubicBezTo>
                  <a:cubicBezTo>
                    <a:pt x="844" y="997"/>
                    <a:pt x="767" y="1131"/>
                    <a:pt x="766" y="1132"/>
                  </a:cubicBezTo>
                  <a:cubicBezTo>
                    <a:pt x="727" y="1199"/>
                    <a:pt x="727" y="1199"/>
                    <a:pt x="727" y="1199"/>
                  </a:cubicBezTo>
                  <a:cubicBezTo>
                    <a:pt x="721" y="1211"/>
                    <a:pt x="709" y="1218"/>
                    <a:pt x="695" y="1218"/>
                  </a:cubicBezTo>
                  <a:cubicBezTo>
                    <a:pt x="695" y="1218"/>
                    <a:pt x="695" y="1218"/>
                    <a:pt x="695" y="1218"/>
                  </a:cubicBezTo>
                  <a:close/>
                  <a:moveTo>
                    <a:pt x="695" y="44"/>
                  </a:moveTo>
                  <a:cubicBezTo>
                    <a:pt x="506" y="44"/>
                    <a:pt x="352" y="202"/>
                    <a:pt x="352" y="395"/>
                  </a:cubicBezTo>
                  <a:cubicBezTo>
                    <a:pt x="352" y="473"/>
                    <a:pt x="403" y="614"/>
                    <a:pt x="508" y="825"/>
                  </a:cubicBezTo>
                  <a:cubicBezTo>
                    <a:pt x="584" y="976"/>
                    <a:pt x="661" y="1109"/>
                    <a:pt x="662" y="1110"/>
                  </a:cubicBezTo>
                  <a:cubicBezTo>
                    <a:pt x="695" y="1167"/>
                    <a:pt x="695" y="1167"/>
                    <a:pt x="695" y="1167"/>
                  </a:cubicBezTo>
                  <a:cubicBezTo>
                    <a:pt x="728" y="1110"/>
                    <a:pt x="728" y="1110"/>
                    <a:pt x="728" y="1110"/>
                  </a:cubicBezTo>
                  <a:cubicBezTo>
                    <a:pt x="729" y="1109"/>
                    <a:pt x="805" y="976"/>
                    <a:pt x="880" y="825"/>
                  </a:cubicBezTo>
                  <a:cubicBezTo>
                    <a:pt x="985" y="614"/>
                    <a:pt x="1036" y="473"/>
                    <a:pt x="1036" y="395"/>
                  </a:cubicBezTo>
                  <a:cubicBezTo>
                    <a:pt x="1036" y="202"/>
                    <a:pt x="883" y="44"/>
                    <a:pt x="695" y="44"/>
                  </a:cubicBezTo>
                  <a:close/>
                  <a:moveTo>
                    <a:pt x="1344" y="593"/>
                  </a:moveTo>
                  <a:cubicBezTo>
                    <a:pt x="1343" y="591"/>
                    <a:pt x="1343" y="589"/>
                    <a:pt x="1342" y="587"/>
                  </a:cubicBezTo>
                  <a:cubicBezTo>
                    <a:pt x="1081" y="587"/>
                    <a:pt x="1081" y="587"/>
                    <a:pt x="1081" y="587"/>
                  </a:cubicBezTo>
                  <a:cubicBezTo>
                    <a:pt x="1076" y="601"/>
                    <a:pt x="1070" y="616"/>
                    <a:pt x="1064" y="631"/>
                  </a:cubicBezTo>
                  <a:cubicBezTo>
                    <a:pt x="1364" y="631"/>
                    <a:pt x="1364" y="631"/>
                    <a:pt x="1364" y="631"/>
                  </a:cubicBezTo>
                  <a:cubicBezTo>
                    <a:pt x="1357" y="619"/>
                    <a:pt x="1351" y="606"/>
                    <a:pt x="1344" y="593"/>
                  </a:cubicBezTo>
                  <a:close/>
                  <a:moveTo>
                    <a:pt x="2110" y="1377"/>
                  </a:moveTo>
                  <a:cubicBezTo>
                    <a:pt x="1921" y="615"/>
                    <a:pt x="1921" y="615"/>
                    <a:pt x="1921" y="615"/>
                  </a:cubicBezTo>
                  <a:cubicBezTo>
                    <a:pt x="1916" y="596"/>
                    <a:pt x="1894" y="587"/>
                    <a:pt x="1876" y="587"/>
                  </a:cubicBezTo>
                  <a:cubicBezTo>
                    <a:pt x="1739" y="587"/>
                    <a:pt x="1739" y="587"/>
                    <a:pt x="1739" y="587"/>
                  </a:cubicBezTo>
                  <a:cubicBezTo>
                    <a:pt x="1738" y="589"/>
                    <a:pt x="1737" y="591"/>
                    <a:pt x="1736" y="592"/>
                  </a:cubicBezTo>
                  <a:cubicBezTo>
                    <a:pt x="1730" y="605"/>
                    <a:pt x="1723" y="618"/>
                    <a:pt x="1717" y="631"/>
                  </a:cubicBezTo>
                  <a:cubicBezTo>
                    <a:pt x="1876" y="631"/>
                    <a:pt x="1876" y="631"/>
                    <a:pt x="1876" y="631"/>
                  </a:cubicBezTo>
                  <a:cubicBezTo>
                    <a:pt x="1877" y="631"/>
                    <a:pt x="1879" y="631"/>
                    <a:pt x="1880" y="631"/>
                  </a:cubicBezTo>
                  <a:cubicBezTo>
                    <a:pt x="2064" y="1377"/>
                    <a:pt x="2064" y="1377"/>
                    <a:pt x="2064" y="1377"/>
                  </a:cubicBezTo>
                  <a:cubicBezTo>
                    <a:pt x="48" y="1377"/>
                    <a:pt x="48" y="1377"/>
                    <a:pt x="48" y="1377"/>
                  </a:cubicBezTo>
                  <a:cubicBezTo>
                    <a:pt x="232" y="631"/>
                    <a:pt x="232" y="631"/>
                    <a:pt x="232" y="631"/>
                  </a:cubicBezTo>
                  <a:cubicBezTo>
                    <a:pt x="233" y="631"/>
                    <a:pt x="235" y="631"/>
                    <a:pt x="236" y="631"/>
                  </a:cubicBezTo>
                  <a:cubicBezTo>
                    <a:pt x="324" y="631"/>
                    <a:pt x="324" y="631"/>
                    <a:pt x="324" y="631"/>
                  </a:cubicBezTo>
                  <a:cubicBezTo>
                    <a:pt x="318" y="616"/>
                    <a:pt x="312" y="601"/>
                    <a:pt x="307" y="587"/>
                  </a:cubicBezTo>
                  <a:cubicBezTo>
                    <a:pt x="236" y="587"/>
                    <a:pt x="236" y="587"/>
                    <a:pt x="236" y="587"/>
                  </a:cubicBezTo>
                  <a:cubicBezTo>
                    <a:pt x="218" y="587"/>
                    <a:pt x="196" y="596"/>
                    <a:pt x="191" y="615"/>
                  </a:cubicBezTo>
                  <a:cubicBezTo>
                    <a:pt x="2" y="1377"/>
                    <a:pt x="2" y="1377"/>
                    <a:pt x="2" y="1377"/>
                  </a:cubicBezTo>
                  <a:cubicBezTo>
                    <a:pt x="0" y="1387"/>
                    <a:pt x="2" y="1397"/>
                    <a:pt x="8" y="1405"/>
                  </a:cubicBezTo>
                  <a:cubicBezTo>
                    <a:pt x="16" y="1415"/>
                    <a:pt x="30" y="1421"/>
                    <a:pt x="45" y="1421"/>
                  </a:cubicBezTo>
                  <a:cubicBezTo>
                    <a:pt x="2067" y="1421"/>
                    <a:pt x="2067" y="1421"/>
                    <a:pt x="2067" y="1421"/>
                  </a:cubicBezTo>
                  <a:cubicBezTo>
                    <a:pt x="2082" y="1421"/>
                    <a:pt x="2096" y="1415"/>
                    <a:pt x="2104" y="1405"/>
                  </a:cubicBezTo>
                  <a:cubicBezTo>
                    <a:pt x="2110" y="1397"/>
                    <a:pt x="2112" y="1387"/>
                    <a:pt x="2110" y="1377"/>
                  </a:cubicBezTo>
                  <a:close/>
                  <a:moveTo>
                    <a:pt x="1541" y="826"/>
                  </a:moveTo>
                  <a:cubicBezTo>
                    <a:pt x="1529" y="826"/>
                    <a:pt x="1519" y="819"/>
                    <a:pt x="1513" y="810"/>
                  </a:cubicBezTo>
                  <a:cubicBezTo>
                    <a:pt x="1487" y="765"/>
                    <a:pt x="1487" y="765"/>
                    <a:pt x="1487" y="765"/>
                  </a:cubicBezTo>
                  <a:cubicBezTo>
                    <a:pt x="1487" y="764"/>
                    <a:pt x="1435" y="675"/>
                    <a:pt x="1384" y="573"/>
                  </a:cubicBezTo>
                  <a:cubicBezTo>
                    <a:pt x="1310" y="425"/>
                    <a:pt x="1276" y="329"/>
                    <a:pt x="1276" y="270"/>
                  </a:cubicBezTo>
                  <a:cubicBezTo>
                    <a:pt x="1276" y="122"/>
                    <a:pt x="1395" y="0"/>
                    <a:pt x="1541" y="0"/>
                  </a:cubicBezTo>
                  <a:cubicBezTo>
                    <a:pt x="1686" y="0"/>
                    <a:pt x="1804" y="122"/>
                    <a:pt x="1804" y="270"/>
                  </a:cubicBezTo>
                  <a:cubicBezTo>
                    <a:pt x="1804" y="329"/>
                    <a:pt x="1770" y="425"/>
                    <a:pt x="1697" y="573"/>
                  </a:cubicBezTo>
                  <a:cubicBezTo>
                    <a:pt x="1647" y="675"/>
                    <a:pt x="1595" y="764"/>
                    <a:pt x="1594" y="765"/>
                  </a:cubicBezTo>
                  <a:cubicBezTo>
                    <a:pt x="1569" y="809"/>
                    <a:pt x="1569" y="809"/>
                    <a:pt x="1569" y="809"/>
                  </a:cubicBezTo>
                  <a:cubicBezTo>
                    <a:pt x="1563" y="819"/>
                    <a:pt x="1552" y="826"/>
                    <a:pt x="1541" y="826"/>
                  </a:cubicBezTo>
                  <a:cubicBezTo>
                    <a:pt x="1541" y="826"/>
                    <a:pt x="1541" y="826"/>
                    <a:pt x="1541" y="826"/>
                  </a:cubicBezTo>
                  <a:close/>
                  <a:moveTo>
                    <a:pt x="1541" y="44"/>
                  </a:moveTo>
                  <a:cubicBezTo>
                    <a:pt x="1419" y="44"/>
                    <a:pt x="1320" y="146"/>
                    <a:pt x="1320" y="270"/>
                  </a:cubicBezTo>
                  <a:cubicBezTo>
                    <a:pt x="1320" y="321"/>
                    <a:pt x="1354" y="416"/>
                    <a:pt x="1423" y="553"/>
                  </a:cubicBezTo>
                  <a:cubicBezTo>
                    <a:pt x="1474" y="655"/>
                    <a:pt x="1525" y="742"/>
                    <a:pt x="1525" y="743"/>
                  </a:cubicBezTo>
                  <a:cubicBezTo>
                    <a:pt x="1541" y="770"/>
                    <a:pt x="1541" y="770"/>
                    <a:pt x="1541" y="770"/>
                  </a:cubicBezTo>
                  <a:cubicBezTo>
                    <a:pt x="1556" y="743"/>
                    <a:pt x="1556" y="743"/>
                    <a:pt x="1556" y="743"/>
                  </a:cubicBezTo>
                  <a:cubicBezTo>
                    <a:pt x="1557" y="742"/>
                    <a:pt x="1607" y="655"/>
                    <a:pt x="1658" y="553"/>
                  </a:cubicBezTo>
                  <a:cubicBezTo>
                    <a:pt x="1726" y="416"/>
                    <a:pt x="1760" y="321"/>
                    <a:pt x="1760" y="270"/>
                  </a:cubicBezTo>
                  <a:cubicBezTo>
                    <a:pt x="1760" y="146"/>
                    <a:pt x="1662" y="44"/>
                    <a:pt x="1541" y="44"/>
                  </a:cubicBezTo>
                  <a:close/>
                  <a:moveTo>
                    <a:pt x="1548" y="908"/>
                  </a:moveTo>
                  <a:cubicBezTo>
                    <a:pt x="1195" y="908"/>
                    <a:pt x="1195" y="908"/>
                    <a:pt x="1195" y="908"/>
                  </a:cubicBezTo>
                  <a:cubicBezTo>
                    <a:pt x="1172" y="908"/>
                    <a:pt x="1154" y="889"/>
                    <a:pt x="1154" y="867"/>
                  </a:cubicBezTo>
                  <a:cubicBezTo>
                    <a:pt x="1154" y="844"/>
                    <a:pt x="1172" y="826"/>
                    <a:pt x="1195" y="826"/>
                  </a:cubicBezTo>
                  <a:cubicBezTo>
                    <a:pt x="1471" y="826"/>
                    <a:pt x="1471" y="826"/>
                    <a:pt x="1471" y="826"/>
                  </a:cubicBezTo>
                  <a:cubicBezTo>
                    <a:pt x="1449" y="787"/>
                    <a:pt x="1449" y="787"/>
                    <a:pt x="1449" y="787"/>
                  </a:cubicBezTo>
                  <a:cubicBezTo>
                    <a:pt x="1449" y="787"/>
                    <a:pt x="1448" y="785"/>
                    <a:pt x="1446" y="782"/>
                  </a:cubicBezTo>
                  <a:cubicBezTo>
                    <a:pt x="1195" y="782"/>
                    <a:pt x="1195" y="782"/>
                    <a:pt x="1195" y="782"/>
                  </a:cubicBezTo>
                  <a:cubicBezTo>
                    <a:pt x="1148" y="782"/>
                    <a:pt x="1110" y="820"/>
                    <a:pt x="1110" y="867"/>
                  </a:cubicBezTo>
                  <a:cubicBezTo>
                    <a:pt x="1110" y="914"/>
                    <a:pt x="1148" y="952"/>
                    <a:pt x="1195" y="952"/>
                  </a:cubicBezTo>
                  <a:cubicBezTo>
                    <a:pt x="1548" y="952"/>
                    <a:pt x="1548" y="952"/>
                    <a:pt x="1548" y="952"/>
                  </a:cubicBezTo>
                  <a:cubicBezTo>
                    <a:pt x="1609" y="952"/>
                    <a:pt x="1659" y="1002"/>
                    <a:pt x="1659" y="1063"/>
                  </a:cubicBezTo>
                  <a:cubicBezTo>
                    <a:pt x="1659" y="1124"/>
                    <a:pt x="1609" y="1174"/>
                    <a:pt x="1548" y="1174"/>
                  </a:cubicBezTo>
                  <a:cubicBezTo>
                    <a:pt x="793" y="1174"/>
                    <a:pt x="793" y="1174"/>
                    <a:pt x="793" y="1174"/>
                  </a:cubicBezTo>
                  <a:cubicBezTo>
                    <a:pt x="767" y="1218"/>
                    <a:pt x="767" y="1218"/>
                    <a:pt x="767" y="1218"/>
                  </a:cubicBezTo>
                  <a:cubicBezTo>
                    <a:pt x="1548" y="1218"/>
                    <a:pt x="1548" y="1218"/>
                    <a:pt x="1548" y="1218"/>
                  </a:cubicBezTo>
                  <a:cubicBezTo>
                    <a:pt x="1633" y="1218"/>
                    <a:pt x="1703" y="1148"/>
                    <a:pt x="1703" y="1063"/>
                  </a:cubicBezTo>
                  <a:cubicBezTo>
                    <a:pt x="1703" y="977"/>
                    <a:pt x="1633" y="908"/>
                    <a:pt x="1548" y="90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</a:endParaRPr>
            </a:p>
          </p:txBody>
        </p:sp>
      </p:grpSp>
      <p:sp>
        <p:nvSpPr>
          <p:cNvPr id="36" name="ee4pHeader1"/>
          <p:cNvSpPr txBox="1"/>
          <p:nvPr/>
        </p:nvSpPr>
        <p:spPr>
          <a:xfrm>
            <a:off x="6274832" y="1759471"/>
            <a:ext cx="2288185" cy="5670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/>
            <a:r>
              <a:rPr lang="ru-RU" sz="1400" dirty="0">
                <a:solidFill>
                  <a:srgbClr val="295E7E">
                    <a:lumMod val="100000"/>
                  </a:srgbClr>
                </a:solidFill>
              </a:rPr>
              <a:t>Глобальные вызовы для рынка труда</a:t>
            </a:r>
            <a:endParaRPr lang="en-US" sz="1400" dirty="0">
              <a:solidFill>
                <a:srgbClr val="295E7E">
                  <a:lumMod val="100000"/>
                </a:srgbClr>
              </a:solidFill>
            </a:endParaRPr>
          </a:p>
        </p:txBody>
      </p:sp>
      <p:grpSp>
        <p:nvGrpSpPr>
          <p:cNvPr id="37" name="bcgIcons_Geopolitics">
            <a:extLst>
              <a:ext uri="{FF2B5EF4-FFF2-40B4-BE49-F238E27FC236}">
                <a16:creationId xmlns:a16="http://schemas.microsoft.com/office/drawing/2014/main" xmlns="" id="{A1C47DCB-0F4E-4C28-963B-6D257444C4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60780" y="1218166"/>
            <a:ext cx="708115" cy="575877"/>
            <a:chOff x="1682" y="0"/>
            <a:chExt cx="4316" cy="4320"/>
          </a:xfrm>
        </p:grpSpPr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xmlns="" id="{B42D598E-71EB-4595-9359-575862455A8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</a:endParaRPr>
            </a:p>
          </p:txBody>
        </p:sp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xmlns="" id="{7A794557-F576-4A93-B31C-050B055327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611"/>
              <a:ext cx="3094" cy="3098"/>
            </a:xfrm>
            <a:custGeom>
              <a:avLst/>
              <a:gdLst>
                <a:gd name="T0" fmla="*/ 769 w 1652"/>
                <a:gd name="T1" fmla="*/ 804 h 1652"/>
                <a:gd name="T2" fmla="*/ 382 w 1652"/>
                <a:gd name="T3" fmla="*/ 579 h 1652"/>
                <a:gd name="T4" fmla="*/ 475 w 1652"/>
                <a:gd name="T5" fmla="*/ 375 h 1652"/>
                <a:gd name="T6" fmla="*/ 804 w 1652"/>
                <a:gd name="T7" fmla="*/ 452 h 1652"/>
                <a:gd name="T8" fmla="*/ 882 w 1652"/>
                <a:gd name="T9" fmla="*/ 372 h 1652"/>
                <a:gd name="T10" fmla="*/ 1074 w 1652"/>
                <a:gd name="T11" fmla="*/ 339 h 1652"/>
                <a:gd name="T12" fmla="*/ 909 w 1652"/>
                <a:gd name="T13" fmla="*/ 4 h 1652"/>
                <a:gd name="T14" fmla="*/ 848 w 1652"/>
                <a:gd name="T15" fmla="*/ 338 h 1652"/>
                <a:gd name="T16" fmla="*/ 1251 w 1652"/>
                <a:gd name="T17" fmla="*/ 490 h 1652"/>
                <a:gd name="T18" fmla="*/ 1084 w 1652"/>
                <a:gd name="T19" fmla="*/ 395 h 1652"/>
                <a:gd name="T20" fmla="*/ 848 w 1652"/>
                <a:gd name="T21" fmla="*/ 452 h 1652"/>
                <a:gd name="T22" fmla="*/ 883 w 1652"/>
                <a:gd name="T23" fmla="*/ 804 h 1652"/>
                <a:gd name="T24" fmla="*/ 1290 w 1652"/>
                <a:gd name="T25" fmla="*/ 770 h 1652"/>
                <a:gd name="T26" fmla="*/ 589 w 1652"/>
                <a:gd name="T27" fmla="*/ 848 h 1652"/>
                <a:gd name="T28" fmla="*/ 427 w 1652"/>
                <a:gd name="T29" fmla="*/ 1252 h 1652"/>
                <a:gd name="T30" fmla="*/ 647 w 1652"/>
                <a:gd name="T31" fmla="*/ 1245 h 1652"/>
                <a:gd name="T32" fmla="*/ 804 w 1652"/>
                <a:gd name="T33" fmla="*/ 883 h 1652"/>
                <a:gd name="T34" fmla="*/ 589 w 1652"/>
                <a:gd name="T35" fmla="*/ 848 h 1652"/>
                <a:gd name="T36" fmla="*/ 1256 w 1652"/>
                <a:gd name="T37" fmla="*/ 848 h 1652"/>
                <a:gd name="T38" fmla="*/ 848 w 1652"/>
                <a:gd name="T39" fmla="*/ 883 h 1652"/>
                <a:gd name="T40" fmla="*/ 1005 w 1652"/>
                <a:gd name="T41" fmla="*/ 1245 h 1652"/>
                <a:gd name="T42" fmla="*/ 1225 w 1652"/>
                <a:gd name="T43" fmla="*/ 1252 h 1652"/>
                <a:gd name="T44" fmla="*/ 1379 w 1652"/>
                <a:gd name="T45" fmla="*/ 339 h 1652"/>
                <a:gd name="T46" fmla="*/ 1334 w 1652"/>
                <a:gd name="T47" fmla="*/ 769 h 1652"/>
                <a:gd name="T48" fmla="*/ 1652 w 1652"/>
                <a:gd name="T49" fmla="*/ 804 h 1652"/>
                <a:gd name="T50" fmla="*/ 1376 w 1652"/>
                <a:gd name="T51" fmla="*/ 306 h 1652"/>
                <a:gd name="T52" fmla="*/ 1151 w 1652"/>
                <a:gd name="T53" fmla="*/ 1421 h 1652"/>
                <a:gd name="T54" fmla="*/ 1166 w 1652"/>
                <a:gd name="T55" fmla="*/ 1319 h 1652"/>
                <a:gd name="T56" fmla="*/ 848 w 1652"/>
                <a:gd name="T57" fmla="*/ 1435 h 1652"/>
                <a:gd name="T58" fmla="*/ 909 w 1652"/>
                <a:gd name="T59" fmla="*/ 1648 h 1652"/>
                <a:gd name="T60" fmla="*/ 1180 w 1652"/>
                <a:gd name="T61" fmla="*/ 193 h 1652"/>
                <a:gd name="T62" fmla="*/ 1360 w 1652"/>
                <a:gd name="T63" fmla="*/ 265 h 1652"/>
                <a:gd name="T64" fmla="*/ 1042 w 1652"/>
                <a:gd name="T65" fmla="*/ 29 h 1652"/>
                <a:gd name="T66" fmla="*/ 1274 w 1652"/>
                <a:gd name="T67" fmla="*/ 1352 h 1652"/>
                <a:gd name="T68" fmla="*/ 1225 w 1652"/>
                <a:gd name="T69" fmla="*/ 1374 h 1652"/>
                <a:gd name="T70" fmla="*/ 1042 w 1652"/>
                <a:gd name="T71" fmla="*/ 1623 h 1652"/>
                <a:gd name="T72" fmla="*/ 1274 w 1652"/>
                <a:gd name="T73" fmla="*/ 1352 h 1652"/>
                <a:gd name="T74" fmla="*/ 427 w 1652"/>
                <a:gd name="T75" fmla="*/ 1374 h 1652"/>
                <a:gd name="T76" fmla="*/ 378 w 1652"/>
                <a:gd name="T77" fmla="*/ 1352 h 1652"/>
                <a:gd name="T78" fmla="*/ 610 w 1652"/>
                <a:gd name="T79" fmla="*/ 1623 h 1652"/>
                <a:gd name="T80" fmla="*/ 650 w 1652"/>
                <a:gd name="T81" fmla="*/ 1289 h 1652"/>
                <a:gd name="T82" fmla="*/ 468 w 1652"/>
                <a:gd name="T83" fmla="*/ 1357 h 1652"/>
                <a:gd name="T84" fmla="*/ 743 w 1652"/>
                <a:gd name="T85" fmla="*/ 1648 h 1652"/>
                <a:gd name="T86" fmla="*/ 804 w 1652"/>
                <a:gd name="T87" fmla="*/ 1435 h 1652"/>
                <a:gd name="T88" fmla="*/ 1370 w 1652"/>
                <a:gd name="T89" fmla="*/ 848 h 1652"/>
                <a:gd name="T90" fmla="*/ 1267 w 1652"/>
                <a:gd name="T91" fmla="*/ 1267 h 1652"/>
                <a:gd name="T92" fmla="*/ 1440 w 1652"/>
                <a:gd name="T93" fmla="*/ 1378 h 1652"/>
                <a:gd name="T94" fmla="*/ 1370 w 1652"/>
                <a:gd name="T95" fmla="*/ 848 h 1652"/>
                <a:gd name="T96" fmla="*/ 338 w 1652"/>
                <a:gd name="T97" fmla="*/ 575 h 1652"/>
                <a:gd name="T98" fmla="*/ 365 w 1652"/>
                <a:gd name="T99" fmla="*/ 342 h 1652"/>
                <a:gd name="T100" fmla="*/ 0 w 1652"/>
                <a:gd name="T101" fmla="*/ 804 h 1652"/>
                <a:gd name="T102" fmla="*/ 385 w 1652"/>
                <a:gd name="T103" fmla="*/ 1267 h 1652"/>
                <a:gd name="T104" fmla="*/ 90 w 1652"/>
                <a:gd name="T105" fmla="*/ 848 h 1652"/>
                <a:gd name="T106" fmla="*/ 212 w 1652"/>
                <a:gd name="T107" fmla="*/ 1378 h 1652"/>
                <a:gd name="T108" fmla="*/ 385 w 1652"/>
                <a:gd name="T109" fmla="*/ 1267 h 1652"/>
                <a:gd name="T110" fmla="*/ 426 w 1652"/>
                <a:gd name="T111" fmla="*/ 278 h 1652"/>
                <a:gd name="T112" fmla="*/ 463 w 1652"/>
                <a:gd name="T113" fmla="*/ 209 h 1652"/>
                <a:gd name="T114" fmla="*/ 244 w 1652"/>
                <a:gd name="T115" fmla="*/ 241 h 1652"/>
                <a:gd name="T116" fmla="*/ 804 w 1652"/>
                <a:gd name="T117" fmla="*/ 0 h 1652"/>
                <a:gd name="T118" fmla="*/ 501 w 1652"/>
                <a:gd name="T119" fmla="*/ 231 h 1652"/>
                <a:gd name="T120" fmla="*/ 486 w 1652"/>
                <a:gd name="T121" fmla="*/ 333 h 1652"/>
                <a:gd name="T122" fmla="*/ 804 w 1652"/>
                <a:gd name="T123" fmla="*/ 338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52" h="1652">
                  <a:moveTo>
                    <a:pt x="804" y="769"/>
                  </a:moveTo>
                  <a:cubicBezTo>
                    <a:pt x="788" y="775"/>
                    <a:pt x="775" y="788"/>
                    <a:pt x="769" y="804"/>
                  </a:cubicBezTo>
                  <a:cubicBezTo>
                    <a:pt x="589" y="804"/>
                    <a:pt x="589" y="804"/>
                    <a:pt x="589" y="804"/>
                  </a:cubicBezTo>
                  <a:cubicBezTo>
                    <a:pt x="579" y="690"/>
                    <a:pt x="493" y="598"/>
                    <a:pt x="382" y="579"/>
                  </a:cubicBezTo>
                  <a:cubicBezTo>
                    <a:pt x="393" y="516"/>
                    <a:pt x="408" y="456"/>
                    <a:pt x="427" y="400"/>
                  </a:cubicBezTo>
                  <a:cubicBezTo>
                    <a:pt x="446" y="400"/>
                    <a:pt x="464" y="390"/>
                    <a:pt x="475" y="375"/>
                  </a:cubicBezTo>
                  <a:cubicBezTo>
                    <a:pt x="567" y="398"/>
                    <a:pt x="666" y="412"/>
                    <a:pt x="769" y="416"/>
                  </a:cubicBezTo>
                  <a:cubicBezTo>
                    <a:pt x="775" y="432"/>
                    <a:pt x="788" y="446"/>
                    <a:pt x="804" y="452"/>
                  </a:cubicBezTo>
                  <a:lnTo>
                    <a:pt x="804" y="769"/>
                  </a:lnTo>
                  <a:close/>
                  <a:moveTo>
                    <a:pt x="882" y="372"/>
                  </a:moveTo>
                  <a:cubicBezTo>
                    <a:pt x="948" y="369"/>
                    <a:pt x="1012" y="363"/>
                    <a:pt x="1074" y="352"/>
                  </a:cubicBezTo>
                  <a:cubicBezTo>
                    <a:pt x="1074" y="348"/>
                    <a:pt x="1074" y="343"/>
                    <a:pt x="1074" y="339"/>
                  </a:cubicBezTo>
                  <a:cubicBezTo>
                    <a:pt x="1074" y="287"/>
                    <a:pt x="1100" y="240"/>
                    <a:pt x="1140" y="213"/>
                  </a:cubicBezTo>
                  <a:cubicBezTo>
                    <a:pt x="1075" y="104"/>
                    <a:pt x="995" y="32"/>
                    <a:pt x="909" y="4"/>
                  </a:cubicBezTo>
                  <a:cubicBezTo>
                    <a:pt x="889" y="2"/>
                    <a:pt x="869" y="1"/>
                    <a:pt x="848" y="0"/>
                  </a:cubicBezTo>
                  <a:cubicBezTo>
                    <a:pt x="848" y="338"/>
                    <a:pt x="848" y="338"/>
                    <a:pt x="848" y="338"/>
                  </a:cubicBezTo>
                  <a:cubicBezTo>
                    <a:pt x="864" y="344"/>
                    <a:pt x="876" y="356"/>
                    <a:pt x="882" y="372"/>
                  </a:cubicBezTo>
                  <a:close/>
                  <a:moveTo>
                    <a:pt x="1251" y="490"/>
                  </a:moveTo>
                  <a:cubicBezTo>
                    <a:pt x="1243" y="491"/>
                    <a:pt x="1235" y="492"/>
                    <a:pt x="1227" y="492"/>
                  </a:cubicBezTo>
                  <a:cubicBezTo>
                    <a:pt x="1162" y="492"/>
                    <a:pt x="1107" y="452"/>
                    <a:pt x="1084" y="395"/>
                  </a:cubicBezTo>
                  <a:cubicBezTo>
                    <a:pt x="1020" y="406"/>
                    <a:pt x="952" y="413"/>
                    <a:pt x="883" y="416"/>
                  </a:cubicBezTo>
                  <a:cubicBezTo>
                    <a:pt x="877" y="432"/>
                    <a:pt x="864" y="446"/>
                    <a:pt x="848" y="452"/>
                  </a:cubicBezTo>
                  <a:cubicBezTo>
                    <a:pt x="848" y="769"/>
                    <a:pt x="848" y="769"/>
                    <a:pt x="848" y="769"/>
                  </a:cubicBezTo>
                  <a:cubicBezTo>
                    <a:pt x="864" y="775"/>
                    <a:pt x="877" y="788"/>
                    <a:pt x="883" y="804"/>
                  </a:cubicBezTo>
                  <a:cubicBezTo>
                    <a:pt x="1256" y="804"/>
                    <a:pt x="1256" y="804"/>
                    <a:pt x="1256" y="804"/>
                  </a:cubicBezTo>
                  <a:cubicBezTo>
                    <a:pt x="1262" y="788"/>
                    <a:pt x="1274" y="776"/>
                    <a:pt x="1290" y="770"/>
                  </a:cubicBezTo>
                  <a:cubicBezTo>
                    <a:pt x="1286" y="672"/>
                    <a:pt x="1273" y="578"/>
                    <a:pt x="1251" y="490"/>
                  </a:cubicBezTo>
                  <a:close/>
                  <a:moveTo>
                    <a:pt x="589" y="848"/>
                  </a:moveTo>
                  <a:cubicBezTo>
                    <a:pt x="579" y="962"/>
                    <a:pt x="493" y="1054"/>
                    <a:pt x="382" y="1073"/>
                  </a:cubicBezTo>
                  <a:cubicBezTo>
                    <a:pt x="393" y="1136"/>
                    <a:pt x="408" y="1196"/>
                    <a:pt x="427" y="1252"/>
                  </a:cubicBezTo>
                  <a:cubicBezTo>
                    <a:pt x="446" y="1252"/>
                    <a:pt x="464" y="1262"/>
                    <a:pt x="475" y="1277"/>
                  </a:cubicBezTo>
                  <a:cubicBezTo>
                    <a:pt x="530" y="1263"/>
                    <a:pt x="588" y="1252"/>
                    <a:pt x="647" y="1245"/>
                  </a:cubicBezTo>
                  <a:cubicBezTo>
                    <a:pt x="653" y="1159"/>
                    <a:pt x="719" y="1090"/>
                    <a:pt x="804" y="1079"/>
                  </a:cubicBezTo>
                  <a:cubicBezTo>
                    <a:pt x="804" y="883"/>
                    <a:pt x="804" y="883"/>
                    <a:pt x="804" y="883"/>
                  </a:cubicBezTo>
                  <a:cubicBezTo>
                    <a:pt x="788" y="877"/>
                    <a:pt x="775" y="864"/>
                    <a:pt x="769" y="848"/>
                  </a:cubicBezTo>
                  <a:lnTo>
                    <a:pt x="589" y="848"/>
                  </a:lnTo>
                  <a:close/>
                  <a:moveTo>
                    <a:pt x="1290" y="882"/>
                  </a:moveTo>
                  <a:cubicBezTo>
                    <a:pt x="1274" y="876"/>
                    <a:pt x="1262" y="864"/>
                    <a:pt x="1256" y="848"/>
                  </a:cubicBezTo>
                  <a:cubicBezTo>
                    <a:pt x="883" y="848"/>
                    <a:pt x="883" y="848"/>
                    <a:pt x="883" y="848"/>
                  </a:cubicBezTo>
                  <a:cubicBezTo>
                    <a:pt x="877" y="864"/>
                    <a:pt x="864" y="877"/>
                    <a:pt x="848" y="883"/>
                  </a:cubicBezTo>
                  <a:cubicBezTo>
                    <a:pt x="848" y="1079"/>
                    <a:pt x="848" y="1079"/>
                    <a:pt x="848" y="1079"/>
                  </a:cubicBezTo>
                  <a:cubicBezTo>
                    <a:pt x="933" y="1090"/>
                    <a:pt x="999" y="1159"/>
                    <a:pt x="1005" y="1245"/>
                  </a:cubicBezTo>
                  <a:cubicBezTo>
                    <a:pt x="1064" y="1252"/>
                    <a:pt x="1122" y="1263"/>
                    <a:pt x="1177" y="1277"/>
                  </a:cubicBezTo>
                  <a:cubicBezTo>
                    <a:pt x="1188" y="1262"/>
                    <a:pt x="1206" y="1252"/>
                    <a:pt x="1225" y="1252"/>
                  </a:cubicBezTo>
                  <a:cubicBezTo>
                    <a:pt x="1263" y="1140"/>
                    <a:pt x="1285" y="1014"/>
                    <a:pt x="1290" y="882"/>
                  </a:cubicBezTo>
                  <a:close/>
                  <a:moveTo>
                    <a:pt x="1379" y="339"/>
                  </a:moveTo>
                  <a:cubicBezTo>
                    <a:pt x="1379" y="399"/>
                    <a:pt x="1344" y="452"/>
                    <a:pt x="1293" y="477"/>
                  </a:cubicBezTo>
                  <a:cubicBezTo>
                    <a:pt x="1316" y="568"/>
                    <a:pt x="1330" y="667"/>
                    <a:pt x="1334" y="769"/>
                  </a:cubicBezTo>
                  <a:cubicBezTo>
                    <a:pt x="1350" y="775"/>
                    <a:pt x="1363" y="788"/>
                    <a:pt x="1370" y="804"/>
                  </a:cubicBezTo>
                  <a:cubicBezTo>
                    <a:pt x="1652" y="804"/>
                    <a:pt x="1652" y="804"/>
                    <a:pt x="1652" y="804"/>
                  </a:cubicBezTo>
                  <a:cubicBezTo>
                    <a:pt x="1646" y="600"/>
                    <a:pt x="1567" y="415"/>
                    <a:pt x="1440" y="274"/>
                  </a:cubicBezTo>
                  <a:cubicBezTo>
                    <a:pt x="1419" y="285"/>
                    <a:pt x="1398" y="296"/>
                    <a:pt x="1376" y="306"/>
                  </a:cubicBezTo>
                  <a:cubicBezTo>
                    <a:pt x="1378" y="317"/>
                    <a:pt x="1379" y="328"/>
                    <a:pt x="1379" y="339"/>
                  </a:cubicBezTo>
                  <a:close/>
                  <a:moveTo>
                    <a:pt x="1151" y="1421"/>
                  </a:moveTo>
                  <a:cubicBezTo>
                    <a:pt x="1163" y="1401"/>
                    <a:pt x="1174" y="1379"/>
                    <a:pt x="1184" y="1357"/>
                  </a:cubicBezTo>
                  <a:cubicBezTo>
                    <a:pt x="1174" y="1347"/>
                    <a:pt x="1167" y="1334"/>
                    <a:pt x="1166" y="1319"/>
                  </a:cubicBezTo>
                  <a:cubicBezTo>
                    <a:pt x="1113" y="1306"/>
                    <a:pt x="1059" y="1296"/>
                    <a:pt x="1002" y="1289"/>
                  </a:cubicBezTo>
                  <a:cubicBezTo>
                    <a:pt x="988" y="1366"/>
                    <a:pt x="926" y="1425"/>
                    <a:pt x="848" y="1435"/>
                  </a:cubicBezTo>
                  <a:cubicBezTo>
                    <a:pt x="848" y="1652"/>
                    <a:pt x="848" y="1652"/>
                    <a:pt x="848" y="1652"/>
                  </a:cubicBezTo>
                  <a:cubicBezTo>
                    <a:pt x="869" y="1651"/>
                    <a:pt x="889" y="1650"/>
                    <a:pt x="909" y="1648"/>
                  </a:cubicBezTo>
                  <a:cubicBezTo>
                    <a:pt x="1000" y="1618"/>
                    <a:pt x="1083" y="1540"/>
                    <a:pt x="1151" y="1421"/>
                  </a:cubicBezTo>
                  <a:close/>
                  <a:moveTo>
                    <a:pt x="1180" y="193"/>
                  </a:moveTo>
                  <a:cubicBezTo>
                    <a:pt x="1195" y="189"/>
                    <a:pt x="1210" y="186"/>
                    <a:pt x="1227" y="186"/>
                  </a:cubicBezTo>
                  <a:cubicBezTo>
                    <a:pt x="1284" y="186"/>
                    <a:pt x="1334" y="218"/>
                    <a:pt x="1360" y="265"/>
                  </a:cubicBezTo>
                  <a:cubicBezTo>
                    <a:pt x="1377" y="257"/>
                    <a:pt x="1393" y="249"/>
                    <a:pt x="1408" y="241"/>
                  </a:cubicBezTo>
                  <a:cubicBezTo>
                    <a:pt x="1308" y="141"/>
                    <a:pt x="1183" y="67"/>
                    <a:pt x="1042" y="29"/>
                  </a:cubicBezTo>
                  <a:cubicBezTo>
                    <a:pt x="1093" y="69"/>
                    <a:pt x="1139" y="125"/>
                    <a:pt x="1180" y="193"/>
                  </a:cubicBezTo>
                  <a:close/>
                  <a:moveTo>
                    <a:pt x="1274" y="1352"/>
                  </a:moveTo>
                  <a:cubicBezTo>
                    <a:pt x="1262" y="1365"/>
                    <a:pt x="1245" y="1374"/>
                    <a:pt x="1227" y="1374"/>
                  </a:cubicBezTo>
                  <a:cubicBezTo>
                    <a:pt x="1226" y="1374"/>
                    <a:pt x="1225" y="1374"/>
                    <a:pt x="1225" y="1374"/>
                  </a:cubicBezTo>
                  <a:cubicBezTo>
                    <a:pt x="1214" y="1398"/>
                    <a:pt x="1202" y="1421"/>
                    <a:pt x="1189" y="1443"/>
                  </a:cubicBezTo>
                  <a:cubicBezTo>
                    <a:pt x="1146" y="1519"/>
                    <a:pt x="1096" y="1579"/>
                    <a:pt x="1042" y="1623"/>
                  </a:cubicBezTo>
                  <a:cubicBezTo>
                    <a:pt x="1182" y="1585"/>
                    <a:pt x="1308" y="1511"/>
                    <a:pt x="1408" y="1411"/>
                  </a:cubicBezTo>
                  <a:cubicBezTo>
                    <a:pt x="1367" y="1389"/>
                    <a:pt x="1321" y="1369"/>
                    <a:pt x="1274" y="1352"/>
                  </a:cubicBezTo>
                  <a:close/>
                  <a:moveTo>
                    <a:pt x="463" y="1443"/>
                  </a:moveTo>
                  <a:cubicBezTo>
                    <a:pt x="450" y="1421"/>
                    <a:pt x="438" y="1398"/>
                    <a:pt x="427" y="1374"/>
                  </a:cubicBezTo>
                  <a:cubicBezTo>
                    <a:pt x="427" y="1374"/>
                    <a:pt x="426" y="1374"/>
                    <a:pt x="426" y="1374"/>
                  </a:cubicBezTo>
                  <a:cubicBezTo>
                    <a:pt x="407" y="1374"/>
                    <a:pt x="390" y="1365"/>
                    <a:pt x="378" y="1352"/>
                  </a:cubicBezTo>
                  <a:cubicBezTo>
                    <a:pt x="331" y="1369"/>
                    <a:pt x="285" y="1389"/>
                    <a:pt x="244" y="1411"/>
                  </a:cubicBezTo>
                  <a:cubicBezTo>
                    <a:pt x="344" y="1511"/>
                    <a:pt x="470" y="1585"/>
                    <a:pt x="610" y="1623"/>
                  </a:cubicBezTo>
                  <a:cubicBezTo>
                    <a:pt x="556" y="1579"/>
                    <a:pt x="506" y="1519"/>
                    <a:pt x="463" y="1443"/>
                  </a:cubicBezTo>
                  <a:close/>
                  <a:moveTo>
                    <a:pt x="650" y="1289"/>
                  </a:moveTo>
                  <a:cubicBezTo>
                    <a:pt x="593" y="1296"/>
                    <a:pt x="539" y="1306"/>
                    <a:pt x="486" y="1319"/>
                  </a:cubicBezTo>
                  <a:cubicBezTo>
                    <a:pt x="485" y="1334"/>
                    <a:pt x="478" y="1347"/>
                    <a:pt x="468" y="1357"/>
                  </a:cubicBezTo>
                  <a:cubicBezTo>
                    <a:pt x="478" y="1379"/>
                    <a:pt x="489" y="1401"/>
                    <a:pt x="501" y="1421"/>
                  </a:cubicBezTo>
                  <a:cubicBezTo>
                    <a:pt x="569" y="1540"/>
                    <a:pt x="652" y="1618"/>
                    <a:pt x="743" y="1648"/>
                  </a:cubicBezTo>
                  <a:cubicBezTo>
                    <a:pt x="763" y="1650"/>
                    <a:pt x="783" y="1651"/>
                    <a:pt x="804" y="1652"/>
                  </a:cubicBezTo>
                  <a:cubicBezTo>
                    <a:pt x="804" y="1435"/>
                    <a:pt x="804" y="1435"/>
                    <a:pt x="804" y="1435"/>
                  </a:cubicBezTo>
                  <a:cubicBezTo>
                    <a:pt x="726" y="1425"/>
                    <a:pt x="664" y="1366"/>
                    <a:pt x="650" y="1289"/>
                  </a:cubicBezTo>
                  <a:close/>
                  <a:moveTo>
                    <a:pt x="1370" y="848"/>
                  </a:moveTo>
                  <a:cubicBezTo>
                    <a:pt x="1363" y="864"/>
                    <a:pt x="1350" y="877"/>
                    <a:pt x="1334" y="883"/>
                  </a:cubicBezTo>
                  <a:cubicBezTo>
                    <a:pt x="1329" y="1020"/>
                    <a:pt x="1306" y="1151"/>
                    <a:pt x="1267" y="1267"/>
                  </a:cubicBezTo>
                  <a:cubicBezTo>
                    <a:pt x="1279" y="1278"/>
                    <a:pt x="1287" y="1293"/>
                    <a:pt x="1287" y="1310"/>
                  </a:cubicBezTo>
                  <a:cubicBezTo>
                    <a:pt x="1342" y="1329"/>
                    <a:pt x="1393" y="1352"/>
                    <a:pt x="1440" y="1378"/>
                  </a:cubicBezTo>
                  <a:cubicBezTo>
                    <a:pt x="1567" y="1237"/>
                    <a:pt x="1646" y="1052"/>
                    <a:pt x="1652" y="848"/>
                  </a:cubicBezTo>
                  <a:lnTo>
                    <a:pt x="1370" y="848"/>
                  </a:lnTo>
                  <a:close/>
                  <a:moveTo>
                    <a:pt x="90" y="804"/>
                  </a:moveTo>
                  <a:cubicBezTo>
                    <a:pt x="101" y="676"/>
                    <a:pt x="208" y="576"/>
                    <a:pt x="338" y="575"/>
                  </a:cubicBezTo>
                  <a:cubicBezTo>
                    <a:pt x="349" y="509"/>
                    <a:pt x="365" y="445"/>
                    <a:pt x="385" y="385"/>
                  </a:cubicBezTo>
                  <a:cubicBezTo>
                    <a:pt x="373" y="374"/>
                    <a:pt x="365" y="359"/>
                    <a:pt x="365" y="342"/>
                  </a:cubicBezTo>
                  <a:cubicBezTo>
                    <a:pt x="310" y="323"/>
                    <a:pt x="259" y="300"/>
                    <a:pt x="212" y="274"/>
                  </a:cubicBezTo>
                  <a:cubicBezTo>
                    <a:pt x="85" y="415"/>
                    <a:pt x="6" y="600"/>
                    <a:pt x="0" y="804"/>
                  </a:cubicBezTo>
                  <a:lnTo>
                    <a:pt x="90" y="804"/>
                  </a:lnTo>
                  <a:close/>
                  <a:moveTo>
                    <a:pt x="385" y="1267"/>
                  </a:moveTo>
                  <a:cubicBezTo>
                    <a:pt x="365" y="1207"/>
                    <a:pt x="349" y="1143"/>
                    <a:pt x="338" y="1077"/>
                  </a:cubicBezTo>
                  <a:cubicBezTo>
                    <a:pt x="208" y="1076"/>
                    <a:pt x="101" y="976"/>
                    <a:pt x="90" y="848"/>
                  </a:cubicBezTo>
                  <a:cubicBezTo>
                    <a:pt x="0" y="848"/>
                    <a:pt x="0" y="848"/>
                    <a:pt x="0" y="848"/>
                  </a:cubicBezTo>
                  <a:cubicBezTo>
                    <a:pt x="6" y="1052"/>
                    <a:pt x="85" y="1237"/>
                    <a:pt x="212" y="1378"/>
                  </a:cubicBezTo>
                  <a:cubicBezTo>
                    <a:pt x="259" y="1352"/>
                    <a:pt x="310" y="1329"/>
                    <a:pt x="365" y="1310"/>
                  </a:cubicBezTo>
                  <a:cubicBezTo>
                    <a:pt x="365" y="1293"/>
                    <a:pt x="373" y="1278"/>
                    <a:pt x="385" y="1267"/>
                  </a:cubicBezTo>
                  <a:close/>
                  <a:moveTo>
                    <a:pt x="378" y="300"/>
                  </a:moveTo>
                  <a:cubicBezTo>
                    <a:pt x="390" y="287"/>
                    <a:pt x="407" y="278"/>
                    <a:pt x="426" y="278"/>
                  </a:cubicBezTo>
                  <a:cubicBezTo>
                    <a:pt x="426" y="278"/>
                    <a:pt x="427" y="278"/>
                    <a:pt x="427" y="278"/>
                  </a:cubicBezTo>
                  <a:cubicBezTo>
                    <a:pt x="438" y="254"/>
                    <a:pt x="450" y="231"/>
                    <a:pt x="463" y="209"/>
                  </a:cubicBezTo>
                  <a:cubicBezTo>
                    <a:pt x="506" y="133"/>
                    <a:pt x="556" y="73"/>
                    <a:pt x="610" y="29"/>
                  </a:cubicBezTo>
                  <a:cubicBezTo>
                    <a:pt x="470" y="67"/>
                    <a:pt x="344" y="141"/>
                    <a:pt x="244" y="241"/>
                  </a:cubicBezTo>
                  <a:cubicBezTo>
                    <a:pt x="285" y="263"/>
                    <a:pt x="331" y="283"/>
                    <a:pt x="378" y="300"/>
                  </a:cubicBezTo>
                  <a:close/>
                  <a:moveTo>
                    <a:pt x="804" y="0"/>
                  </a:moveTo>
                  <a:cubicBezTo>
                    <a:pt x="783" y="1"/>
                    <a:pt x="763" y="2"/>
                    <a:pt x="743" y="4"/>
                  </a:cubicBezTo>
                  <a:cubicBezTo>
                    <a:pt x="652" y="34"/>
                    <a:pt x="569" y="112"/>
                    <a:pt x="501" y="231"/>
                  </a:cubicBezTo>
                  <a:cubicBezTo>
                    <a:pt x="489" y="251"/>
                    <a:pt x="478" y="273"/>
                    <a:pt x="468" y="295"/>
                  </a:cubicBezTo>
                  <a:cubicBezTo>
                    <a:pt x="478" y="305"/>
                    <a:pt x="485" y="318"/>
                    <a:pt x="486" y="333"/>
                  </a:cubicBezTo>
                  <a:cubicBezTo>
                    <a:pt x="575" y="355"/>
                    <a:pt x="671" y="368"/>
                    <a:pt x="770" y="372"/>
                  </a:cubicBezTo>
                  <a:cubicBezTo>
                    <a:pt x="776" y="356"/>
                    <a:pt x="788" y="344"/>
                    <a:pt x="804" y="338"/>
                  </a:cubicBezTo>
                  <a:lnTo>
                    <a:pt x="80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xmlns="" id="{9B95668A-2225-458B-BFD4-BDB789492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0" y="446"/>
              <a:ext cx="3424" cy="3428"/>
            </a:xfrm>
            <a:custGeom>
              <a:avLst/>
              <a:gdLst>
                <a:gd name="T0" fmla="*/ 268 w 1828"/>
                <a:gd name="T1" fmla="*/ 1560 h 1828"/>
                <a:gd name="T2" fmla="*/ 268 w 1828"/>
                <a:gd name="T3" fmla="*/ 268 h 1828"/>
                <a:gd name="T4" fmla="*/ 1560 w 1828"/>
                <a:gd name="T5" fmla="*/ 268 h 1828"/>
                <a:gd name="T6" fmla="*/ 1560 w 1828"/>
                <a:gd name="T7" fmla="*/ 1560 h 1828"/>
                <a:gd name="T8" fmla="*/ 914 w 1828"/>
                <a:gd name="T9" fmla="*/ 44 h 1828"/>
                <a:gd name="T10" fmla="*/ 914 w 1828"/>
                <a:gd name="T11" fmla="*/ 1784 h 1828"/>
                <a:gd name="T12" fmla="*/ 914 w 1828"/>
                <a:gd name="T13" fmla="*/ 44 h 1828"/>
                <a:gd name="T14" fmla="*/ 989 w 1828"/>
                <a:gd name="T15" fmla="*/ 1335 h 1828"/>
                <a:gd name="T16" fmla="*/ 979 w 1828"/>
                <a:gd name="T17" fmla="*/ 1311 h 1828"/>
                <a:gd name="T18" fmla="*/ 973 w 1828"/>
                <a:gd name="T19" fmla="*/ 1277 h 1828"/>
                <a:gd name="T20" fmla="*/ 976 w 1828"/>
                <a:gd name="T21" fmla="*/ 1277 h 1828"/>
                <a:gd name="T22" fmla="*/ 904 w 1828"/>
                <a:gd name="T23" fmla="*/ 1237 h 1828"/>
                <a:gd name="T24" fmla="*/ 853 w 1828"/>
                <a:gd name="T25" fmla="*/ 1388 h 1828"/>
                <a:gd name="T26" fmla="*/ 856 w 1828"/>
                <a:gd name="T27" fmla="*/ 1440 h 1828"/>
                <a:gd name="T28" fmla="*/ 931 w 1828"/>
                <a:gd name="T29" fmla="*/ 1453 h 1828"/>
                <a:gd name="T30" fmla="*/ 936 w 1828"/>
                <a:gd name="T31" fmla="*/ 1416 h 1828"/>
                <a:gd name="T32" fmla="*/ 981 w 1828"/>
                <a:gd name="T33" fmla="*/ 1392 h 1828"/>
                <a:gd name="T34" fmla="*/ 980 w 1828"/>
                <a:gd name="T35" fmla="*/ 1365 h 1828"/>
                <a:gd name="T36" fmla="*/ 990 w 1828"/>
                <a:gd name="T37" fmla="*/ 1337 h 1828"/>
                <a:gd name="T38" fmla="*/ 359 w 1828"/>
                <a:gd name="T39" fmla="*/ 1052 h 1828"/>
                <a:gd name="T40" fmla="*/ 444 w 1828"/>
                <a:gd name="T41" fmla="*/ 1078 h 1828"/>
                <a:gd name="T42" fmla="*/ 458 w 1828"/>
                <a:gd name="T43" fmla="*/ 1070 h 1828"/>
                <a:gd name="T44" fmla="*/ 481 w 1828"/>
                <a:gd name="T45" fmla="*/ 1016 h 1828"/>
                <a:gd name="T46" fmla="*/ 528 w 1828"/>
                <a:gd name="T47" fmla="*/ 967 h 1828"/>
                <a:gd name="T48" fmla="*/ 558 w 1828"/>
                <a:gd name="T49" fmla="*/ 929 h 1828"/>
                <a:gd name="T50" fmla="*/ 532 w 1828"/>
                <a:gd name="T51" fmla="*/ 880 h 1828"/>
                <a:gd name="T52" fmla="*/ 519 w 1828"/>
                <a:gd name="T53" fmla="*/ 811 h 1828"/>
                <a:gd name="T54" fmla="*/ 417 w 1828"/>
                <a:gd name="T55" fmla="*/ 750 h 1828"/>
                <a:gd name="T56" fmla="*/ 357 w 1828"/>
                <a:gd name="T57" fmla="*/ 1016 h 1828"/>
                <a:gd name="T58" fmla="*/ 1258 w 1828"/>
                <a:gd name="T59" fmla="*/ 444 h 1828"/>
                <a:gd name="T60" fmla="*/ 1257 w 1828"/>
                <a:gd name="T61" fmla="*/ 467 h 1828"/>
                <a:gd name="T62" fmla="*/ 1296 w 1828"/>
                <a:gd name="T63" fmla="*/ 487 h 1828"/>
                <a:gd name="T64" fmla="*/ 1300 w 1828"/>
                <a:gd name="T65" fmla="*/ 519 h 1828"/>
                <a:gd name="T66" fmla="*/ 1364 w 1828"/>
                <a:gd name="T67" fmla="*/ 508 h 1828"/>
                <a:gd name="T68" fmla="*/ 1367 w 1828"/>
                <a:gd name="T69" fmla="*/ 464 h 1828"/>
                <a:gd name="T70" fmla="*/ 1323 w 1828"/>
                <a:gd name="T71" fmla="*/ 335 h 1828"/>
                <a:gd name="T72" fmla="*/ 1262 w 1828"/>
                <a:gd name="T73" fmla="*/ 369 h 1828"/>
                <a:gd name="T74" fmla="*/ 1264 w 1828"/>
                <a:gd name="T75" fmla="*/ 369 h 1828"/>
                <a:gd name="T76" fmla="*/ 1259 w 1828"/>
                <a:gd name="T77" fmla="*/ 398 h 1828"/>
                <a:gd name="T78" fmla="*/ 1251 w 1828"/>
                <a:gd name="T79" fmla="*/ 419 h 1828"/>
                <a:gd name="T80" fmla="*/ 1242 w 1828"/>
                <a:gd name="T81" fmla="*/ 435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28" h="1828">
                  <a:moveTo>
                    <a:pt x="914" y="1828"/>
                  </a:moveTo>
                  <a:cubicBezTo>
                    <a:pt x="670" y="1828"/>
                    <a:pt x="440" y="1733"/>
                    <a:pt x="268" y="1560"/>
                  </a:cubicBezTo>
                  <a:cubicBezTo>
                    <a:pt x="95" y="1388"/>
                    <a:pt x="0" y="1158"/>
                    <a:pt x="0" y="914"/>
                  </a:cubicBezTo>
                  <a:cubicBezTo>
                    <a:pt x="0" y="670"/>
                    <a:pt x="95" y="440"/>
                    <a:pt x="268" y="268"/>
                  </a:cubicBezTo>
                  <a:cubicBezTo>
                    <a:pt x="440" y="95"/>
                    <a:pt x="670" y="0"/>
                    <a:pt x="914" y="0"/>
                  </a:cubicBezTo>
                  <a:cubicBezTo>
                    <a:pt x="1158" y="0"/>
                    <a:pt x="1388" y="95"/>
                    <a:pt x="1560" y="268"/>
                  </a:cubicBezTo>
                  <a:cubicBezTo>
                    <a:pt x="1733" y="440"/>
                    <a:pt x="1828" y="670"/>
                    <a:pt x="1828" y="914"/>
                  </a:cubicBezTo>
                  <a:cubicBezTo>
                    <a:pt x="1828" y="1158"/>
                    <a:pt x="1733" y="1388"/>
                    <a:pt x="1560" y="1560"/>
                  </a:cubicBezTo>
                  <a:cubicBezTo>
                    <a:pt x="1388" y="1733"/>
                    <a:pt x="1158" y="1828"/>
                    <a:pt x="914" y="1828"/>
                  </a:cubicBezTo>
                  <a:close/>
                  <a:moveTo>
                    <a:pt x="914" y="44"/>
                  </a:moveTo>
                  <a:cubicBezTo>
                    <a:pt x="434" y="44"/>
                    <a:pt x="44" y="434"/>
                    <a:pt x="44" y="914"/>
                  </a:cubicBezTo>
                  <a:cubicBezTo>
                    <a:pt x="44" y="1394"/>
                    <a:pt x="434" y="1784"/>
                    <a:pt x="914" y="1784"/>
                  </a:cubicBezTo>
                  <a:cubicBezTo>
                    <a:pt x="1394" y="1784"/>
                    <a:pt x="1784" y="1394"/>
                    <a:pt x="1784" y="914"/>
                  </a:cubicBezTo>
                  <a:cubicBezTo>
                    <a:pt x="1784" y="434"/>
                    <a:pt x="1394" y="44"/>
                    <a:pt x="914" y="44"/>
                  </a:cubicBezTo>
                  <a:close/>
                  <a:moveTo>
                    <a:pt x="990" y="1337"/>
                  </a:moveTo>
                  <a:cubicBezTo>
                    <a:pt x="990" y="1336"/>
                    <a:pt x="989" y="1336"/>
                    <a:pt x="989" y="1335"/>
                  </a:cubicBezTo>
                  <a:cubicBezTo>
                    <a:pt x="986" y="1332"/>
                    <a:pt x="983" y="1327"/>
                    <a:pt x="981" y="1319"/>
                  </a:cubicBezTo>
                  <a:cubicBezTo>
                    <a:pt x="980" y="1317"/>
                    <a:pt x="980" y="1314"/>
                    <a:pt x="979" y="1311"/>
                  </a:cubicBezTo>
                  <a:cubicBezTo>
                    <a:pt x="978" y="1307"/>
                    <a:pt x="977" y="1303"/>
                    <a:pt x="976" y="1299"/>
                  </a:cubicBezTo>
                  <a:cubicBezTo>
                    <a:pt x="975" y="1295"/>
                    <a:pt x="974" y="1283"/>
                    <a:pt x="973" y="1277"/>
                  </a:cubicBezTo>
                  <a:cubicBezTo>
                    <a:pt x="974" y="1277"/>
                    <a:pt x="975" y="1277"/>
                    <a:pt x="976" y="1277"/>
                  </a:cubicBezTo>
                  <a:cubicBezTo>
                    <a:pt x="976" y="1277"/>
                    <a:pt x="976" y="1277"/>
                    <a:pt x="976" y="1277"/>
                  </a:cubicBezTo>
                  <a:cubicBezTo>
                    <a:pt x="979" y="1266"/>
                    <a:pt x="994" y="1249"/>
                    <a:pt x="989" y="1249"/>
                  </a:cubicBezTo>
                  <a:cubicBezTo>
                    <a:pt x="941" y="1250"/>
                    <a:pt x="956" y="1237"/>
                    <a:pt x="904" y="1237"/>
                  </a:cubicBezTo>
                  <a:cubicBezTo>
                    <a:pt x="859" y="1237"/>
                    <a:pt x="836" y="1264"/>
                    <a:pt x="825" y="1287"/>
                  </a:cubicBezTo>
                  <a:cubicBezTo>
                    <a:pt x="805" y="1329"/>
                    <a:pt x="837" y="1371"/>
                    <a:pt x="853" y="1388"/>
                  </a:cubicBezTo>
                  <a:cubicBezTo>
                    <a:pt x="853" y="1436"/>
                    <a:pt x="853" y="1436"/>
                    <a:pt x="853" y="1436"/>
                  </a:cubicBezTo>
                  <a:cubicBezTo>
                    <a:pt x="853" y="1438"/>
                    <a:pt x="854" y="1439"/>
                    <a:pt x="856" y="1440"/>
                  </a:cubicBezTo>
                  <a:cubicBezTo>
                    <a:pt x="888" y="1453"/>
                    <a:pt x="928" y="1453"/>
                    <a:pt x="931" y="1453"/>
                  </a:cubicBezTo>
                  <a:cubicBezTo>
                    <a:pt x="931" y="1453"/>
                    <a:pt x="931" y="1453"/>
                    <a:pt x="931" y="1453"/>
                  </a:cubicBezTo>
                  <a:cubicBezTo>
                    <a:pt x="934" y="1453"/>
                    <a:pt x="936" y="1451"/>
                    <a:pt x="936" y="1449"/>
                  </a:cubicBezTo>
                  <a:cubicBezTo>
                    <a:pt x="936" y="1416"/>
                    <a:pt x="936" y="1416"/>
                    <a:pt x="936" y="1416"/>
                  </a:cubicBezTo>
                  <a:cubicBezTo>
                    <a:pt x="956" y="1418"/>
                    <a:pt x="970" y="1416"/>
                    <a:pt x="975" y="1413"/>
                  </a:cubicBezTo>
                  <a:cubicBezTo>
                    <a:pt x="980" y="1411"/>
                    <a:pt x="980" y="1404"/>
                    <a:pt x="981" y="1392"/>
                  </a:cubicBezTo>
                  <a:cubicBezTo>
                    <a:pt x="981" y="1391"/>
                    <a:pt x="981" y="1391"/>
                    <a:pt x="981" y="1391"/>
                  </a:cubicBezTo>
                  <a:cubicBezTo>
                    <a:pt x="982" y="1383"/>
                    <a:pt x="981" y="1371"/>
                    <a:pt x="980" y="1365"/>
                  </a:cubicBezTo>
                  <a:cubicBezTo>
                    <a:pt x="995" y="1364"/>
                    <a:pt x="998" y="1357"/>
                    <a:pt x="999" y="1354"/>
                  </a:cubicBezTo>
                  <a:cubicBezTo>
                    <a:pt x="1001" y="1349"/>
                    <a:pt x="996" y="1343"/>
                    <a:pt x="990" y="1337"/>
                  </a:cubicBezTo>
                  <a:close/>
                  <a:moveTo>
                    <a:pt x="357" y="1016"/>
                  </a:moveTo>
                  <a:cubicBezTo>
                    <a:pt x="359" y="1052"/>
                    <a:pt x="359" y="1052"/>
                    <a:pt x="359" y="1052"/>
                  </a:cubicBezTo>
                  <a:cubicBezTo>
                    <a:pt x="359" y="1055"/>
                    <a:pt x="361" y="1057"/>
                    <a:pt x="363" y="1058"/>
                  </a:cubicBezTo>
                  <a:cubicBezTo>
                    <a:pt x="392" y="1076"/>
                    <a:pt x="429" y="1078"/>
                    <a:pt x="444" y="1078"/>
                  </a:cubicBezTo>
                  <a:cubicBezTo>
                    <a:pt x="448" y="1078"/>
                    <a:pt x="451" y="1078"/>
                    <a:pt x="451" y="1078"/>
                  </a:cubicBezTo>
                  <a:cubicBezTo>
                    <a:pt x="455" y="1077"/>
                    <a:pt x="458" y="1074"/>
                    <a:pt x="458" y="1070"/>
                  </a:cubicBezTo>
                  <a:cubicBezTo>
                    <a:pt x="458" y="1015"/>
                    <a:pt x="458" y="1015"/>
                    <a:pt x="458" y="1015"/>
                  </a:cubicBezTo>
                  <a:cubicBezTo>
                    <a:pt x="466" y="1016"/>
                    <a:pt x="476" y="1016"/>
                    <a:pt x="481" y="1016"/>
                  </a:cubicBezTo>
                  <a:cubicBezTo>
                    <a:pt x="510" y="1016"/>
                    <a:pt x="517" y="1012"/>
                    <a:pt x="521" y="1009"/>
                  </a:cubicBezTo>
                  <a:cubicBezTo>
                    <a:pt x="525" y="1005"/>
                    <a:pt x="528" y="997"/>
                    <a:pt x="528" y="967"/>
                  </a:cubicBezTo>
                  <a:cubicBezTo>
                    <a:pt x="528" y="958"/>
                    <a:pt x="528" y="950"/>
                    <a:pt x="528" y="944"/>
                  </a:cubicBezTo>
                  <a:cubicBezTo>
                    <a:pt x="546" y="944"/>
                    <a:pt x="555" y="935"/>
                    <a:pt x="558" y="929"/>
                  </a:cubicBezTo>
                  <a:cubicBezTo>
                    <a:pt x="561" y="921"/>
                    <a:pt x="552" y="908"/>
                    <a:pt x="546" y="902"/>
                  </a:cubicBezTo>
                  <a:cubicBezTo>
                    <a:pt x="540" y="896"/>
                    <a:pt x="535" y="887"/>
                    <a:pt x="532" y="880"/>
                  </a:cubicBezTo>
                  <a:cubicBezTo>
                    <a:pt x="530" y="876"/>
                    <a:pt x="529" y="859"/>
                    <a:pt x="530" y="848"/>
                  </a:cubicBezTo>
                  <a:cubicBezTo>
                    <a:pt x="531" y="828"/>
                    <a:pt x="522" y="815"/>
                    <a:pt x="519" y="811"/>
                  </a:cubicBezTo>
                  <a:cubicBezTo>
                    <a:pt x="521" y="808"/>
                    <a:pt x="522" y="805"/>
                    <a:pt x="524" y="802"/>
                  </a:cubicBezTo>
                  <a:cubicBezTo>
                    <a:pt x="527" y="786"/>
                    <a:pt x="495" y="750"/>
                    <a:pt x="417" y="750"/>
                  </a:cubicBezTo>
                  <a:cubicBezTo>
                    <a:pt x="349" y="750"/>
                    <a:pt x="308" y="787"/>
                    <a:pt x="291" y="823"/>
                  </a:cubicBezTo>
                  <a:cubicBezTo>
                    <a:pt x="234" y="941"/>
                    <a:pt x="310" y="997"/>
                    <a:pt x="357" y="1016"/>
                  </a:cubicBezTo>
                  <a:close/>
                  <a:moveTo>
                    <a:pt x="1242" y="435"/>
                  </a:moveTo>
                  <a:cubicBezTo>
                    <a:pt x="1242" y="437"/>
                    <a:pt x="1246" y="444"/>
                    <a:pt x="1258" y="444"/>
                  </a:cubicBezTo>
                  <a:cubicBezTo>
                    <a:pt x="1258" y="450"/>
                    <a:pt x="1257" y="460"/>
                    <a:pt x="1257" y="466"/>
                  </a:cubicBezTo>
                  <a:cubicBezTo>
                    <a:pt x="1257" y="467"/>
                    <a:pt x="1257" y="467"/>
                    <a:pt x="1257" y="467"/>
                  </a:cubicBezTo>
                  <a:cubicBezTo>
                    <a:pt x="1258" y="477"/>
                    <a:pt x="1258" y="483"/>
                    <a:pt x="1263" y="485"/>
                  </a:cubicBezTo>
                  <a:cubicBezTo>
                    <a:pt x="1266" y="487"/>
                    <a:pt x="1279" y="489"/>
                    <a:pt x="1296" y="487"/>
                  </a:cubicBezTo>
                  <a:cubicBezTo>
                    <a:pt x="1296" y="515"/>
                    <a:pt x="1296" y="515"/>
                    <a:pt x="1296" y="515"/>
                  </a:cubicBezTo>
                  <a:cubicBezTo>
                    <a:pt x="1296" y="518"/>
                    <a:pt x="1297" y="519"/>
                    <a:pt x="1300" y="519"/>
                  </a:cubicBezTo>
                  <a:cubicBezTo>
                    <a:pt x="1300" y="519"/>
                    <a:pt x="1300" y="519"/>
                    <a:pt x="1300" y="519"/>
                  </a:cubicBezTo>
                  <a:cubicBezTo>
                    <a:pt x="1302" y="519"/>
                    <a:pt x="1337" y="519"/>
                    <a:pt x="1364" y="508"/>
                  </a:cubicBezTo>
                  <a:cubicBezTo>
                    <a:pt x="1366" y="508"/>
                    <a:pt x="1367" y="506"/>
                    <a:pt x="1367" y="504"/>
                  </a:cubicBezTo>
                  <a:cubicBezTo>
                    <a:pt x="1367" y="464"/>
                    <a:pt x="1367" y="464"/>
                    <a:pt x="1367" y="464"/>
                  </a:cubicBezTo>
                  <a:cubicBezTo>
                    <a:pt x="1380" y="449"/>
                    <a:pt x="1408" y="414"/>
                    <a:pt x="1391" y="378"/>
                  </a:cubicBezTo>
                  <a:cubicBezTo>
                    <a:pt x="1381" y="358"/>
                    <a:pt x="1362" y="335"/>
                    <a:pt x="1323" y="335"/>
                  </a:cubicBezTo>
                  <a:cubicBezTo>
                    <a:pt x="1279" y="335"/>
                    <a:pt x="1292" y="346"/>
                    <a:pt x="1251" y="345"/>
                  </a:cubicBezTo>
                  <a:cubicBezTo>
                    <a:pt x="1246" y="345"/>
                    <a:pt x="1259" y="360"/>
                    <a:pt x="1262" y="369"/>
                  </a:cubicBezTo>
                  <a:cubicBezTo>
                    <a:pt x="1262" y="369"/>
                    <a:pt x="1262" y="369"/>
                    <a:pt x="1262" y="369"/>
                  </a:cubicBezTo>
                  <a:cubicBezTo>
                    <a:pt x="1262" y="369"/>
                    <a:pt x="1263" y="369"/>
                    <a:pt x="1264" y="369"/>
                  </a:cubicBezTo>
                  <a:cubicBezTo>
                    <a:pt x="1264" y="374"/>
                    <a:pt x="1263" y="384"/>
                    <a:pt x="1262" y="388"/>
                  </a:cubicBezTo>
                  <a:cubicBezTo>
                    <a:pt x="1261" y="391"/>
                    <a:pt x="1260" y="395"/>
                    <a:pt x="1259" y="398"/>
                  </a:cubicBezTo>
                  <a:cubicBezTo>
                    <a:pt x="1259" y="401"/>
                    <a:pt x="1258" y="404"/>
                    <a:pt x="1257" y="405"/>
                  </a:cubicBezTo>
                  <a:cubicBezTo>
                    <a:pt x="1255" y="411"/>
                    <a:pt x="1253" y="416"/>
                    <a:pt x="1251" y="419"/>
                  </a:cubicBezTo>
                  <a:cubicBezTo>
                    <a:pt x="1250" y="419"/>
                    <a:pt x="1250" y="420"/>
                    <a:pt x="1249" y="420"/>
                  </a:cubicBezTo>
                  <a:cubicBezTo>
                    <a:pt x="1244" y="425"/>
                    <a:pt x="1240" y="430"/>
                    <a:pt x="1242" y="4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45454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427629" y="2465439"/>
            <a:ext cx="2288740" cy="2085298"/>
            <a:chOff x="3713265" y="3287252"/>
            <a:chExt cx="2479468" cy="2780397"/>
          </a:xfrm>
        </p:grpSpPr>
        <p:sp>
          <p:nvSpPr>
            <p:cNvPr id="41" name="Rectangle 40"/>
            <p:cNvSpPr/>
            <p:nvPr/>
          </p:nvSpPr>
          <p:spPr>
            <a:xfrm>
              <a:off x="3713866" y="3287252"/>
              <a:ext cx="1152000" cy="861774"/>
            </a:xfrm>
            <a:prstGeom prst="rect">
              <a:avLst/>
            </a:prstGeom>
            <a:solidFill>
              <a:srgbClr val="79A2B3"/>
            </a:solidFill>
            <a:ln w="952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852"/>
                </a:spcAft>
              </a:pPr>
              <a:r>
                <a:rPr lang="ru-RU" sz="1000" dirty="0">
                  <a:solidFill>
                    <a:prstClr val="white"/>
                  </a:solidFill>
                </a:rPr>
                <a:t>Создать и сохранить рабочие места (спрос)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5040733" y="3287252"/>
              <a:ext cx="1152000" cy="861774"/>
            </a:xfrm>
            <a:prstGeom prst="rect">
              <a:avLst/>
            </a:prstGeom>
            <a:solidFill>
              <a:srgbClr val="79A2B3"/>
            </a:solidFill>
            <a:ln w="952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000" dirty="0">
                  <a:solidFill>
                    <a:prstClr val="white"/>
                  </a:solidFill>
                </a:rPr>
                <a:t>Повысить качество рабочей силы (предложение)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713866" y="4248567"/>
              <a:ext cx="2478867" cy="540000"/>
            </a:xfrm>
            <a:prstGeom prst="rect">
              <a:avLst/>
            </a:prstGeom>
            <a:solidFill>
              <a:srgbClr val="79A2B3"/>
            </a:solidFill>
            <a:ln w="952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852"/>
                </a:spcAft>
              </a:pPr>
              <a:r>
                <a:rPr lang="ru-RU" sz="1000" dirty="0">
                  <a:solidFill>
                    <a:prstClr val="white"/>
                  </a:solidFill>
                </a:rPr>
                <a:t>Обеспечить баланс спроса и предложения (инфраструктура)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713866" y="4888108"/>
              <a:ext cx="2478867" cy="540000"/>
            </a:xfrm>
            <a:prstGeom prst="rect">
              <a:avLst/>
            </a:prstGeom>
            <a:solidFill>
              <a:srgbClr val="5BAD82"/>
            </a:solidFill>
            <a:ln w="952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852"/>
                </a:spcAft>
              </a:pPr>
              <a:r>
                <a:rPr lang="ru-RU" sz="1000" dirty="0">
                  <a:solidFill>
                    <a:prstClr val="white"/>
                  </a:solidFill>
                  <a:cs typeface="Arial" pitchFamily="34" charset="0"/>
                </a:rPr>
                <a:t>Выработать политику и предоставить социальное обеспечение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3713265" y="5527649"/>
              <a:ext cx="2478867" cy="540000"/>
            </a:xfrm>
            <a:prstGeom prst="rect">
              <a:avLst/>
            </a:prstGeom>
            <a:solidFill>
              <a:srgbClr val="908052"/>
            </a:solidFill>
            <a:ln w="9525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852"/>
                </a:spcAft>
              </a:pPr>
              <a:r>
                <a:rPr lang="ru-RU" sz="1000" dirty="0">
                  <a:solidFill>
                    <a:prstClr val="white"/>
                  </a:solidFill>
                  <a:cs typeface="Arial" pitchFamily="34" charset="0"/>
                </a:rPr>
                <a:t>Выстроить работу институтов рынка труда</a:t>
              </a:r>
            </a:p>
          </p:txBody>
        </p:sp>
      </p:grpSp>
      <p:sp>
        <p:nvSpPr>
          <p:cNvPr id="46" name="ee4pHeader2"/>
          <p:cNvSpPr txBox="1"/>
          <p:nvPr/>
        </p:nvSpPr>
        <p:spPr>
          <a:xfrm>
            <a:off x="581540" y="1759472"/>
            <a:ext cx="2288185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/>
            <a:r>
              <a:rPr lang="ru-RU" sz="1400" dirty="0">
                <a:solidFill>
                  <a:srgbClr val="295E7E">
                    <a:lumMod val="100000"/>
                  </a:srgbClr>
                </a:solidFill>
              </a:rPr>
              <a:t>Задачи развития Казахстана и вызовы для рынка труда</a:t>
            </a:r>
            <a:endParaRPr lang="en-US" sz="1400" dirty="0">
              <a:solidFill>
                <a:srgbClr val="295E7E">
                  <a:lumMod val="100000"/>
                </a:srgbClr>
              </a:solidFill>
            </a:endParaRPr>
          </a:p>
        </p:txBody>
      </p:sp>
      <p:sp>
        <p:nvSpPr>
          <p:cNvPr id="47" name="ee4pContent1"/>
          <p:cNvSpPr txBox="1"/>
          <p:nvPr/>
        </p:nvSpPr>
        <p:spPr>
          <a:xfrm>
            <a:off x="580984" y="3196121"/>
            <a:ext cx="2288185" cy="594000"/>
          </a:xfrm>
          <a:prstGeom prst="rect">
            <a:avLst/>
          </a:prstGeom>
          <a:solidFill>
            <a:srgbClr val="E3E3E3"/>
          </a:solidFill>
          <a:ln w="9525" cap="rnd" cmpd="sng" algn="ctr">
            <a:solidFill>
              <a:srgbClr val="E3E3E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8958" rIns="0" bIns="3895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1000"/>
              </a:spcAft>
              <a:defRPr sz="1300">
                <a:solidFill>
                  <a:schemeClr val="bg1"/>
                </a:solidFill>
              </a:defRPr>
            </a:lvl1pPr>
          </a:lstStyle>
          <a:p>
            <a:r>
              <a:rPr lang="ru-RU" sz="1000" b="1" dirty="0">
                <a:solidFill>
                  <a:srgbClr val="295E7E"/>
                </a:solidFill>
              </a:rPr>
              <a:t>Экономическая модернизация</a:t>
            </a:r>
          </a:p>
          <a:p>
            <a:r>
              <a:rPr lang="ru-RU" sz="900" b="1" i="1" dirty="0">
                <a:solidFill>
                  <a:srgbClr val="545454"/>
                </a:solidFill>
              </a:rPr>
              <a:t>(</a:t>
            </a:r>
            <a:r>
              <a:rPr lang="ru-RU" sz="900" i="1" dirty="0">
                <a:solidFill>
                  <a:srgbClr val="545454"/>
                </a:solidFill>
              </a:rPr>
              <a:t>Ускоренный рост и повышение производительности </a:t>
            </a:r>
            <a:r>
              <a:rPr lang="ru-RU" sz="900" dirty="0">
                <a:solidFill>
                  <a:srgbClr val="545454"/>
                </a:solidFill>
              </a:rPr>
              <a:t>)</a:t>
            </a:r>
            <a:endParaRPr lang="en-US" sz="900" dirty="0">
              <a:solidFill>
                <a:srgbClr val="545454"/>
              </a:solidFill>
            </a:endParaRPr>
          </a:p>
        </p:txBody>
      </p:sp>
      <p:sp>
        <p:nvSpPr>
          <p:cNvPr id="48" name="ee4pContent1"/>
          <p:cNvSpPr txBox="1"/>
          <p:nvPr/>
        </p:nvSpPr>
        <p:spPr>
          <a:xfrm>
            <a:off x="580984" y="3956737"/>
            <a:ext cx="2288185" cy="594000"/>
          </a:xfrm>
          <a:prstGeom prst="rect">
            <a:avLst/>
          </a:prstGeom>
          <a:solidFill>
            <a:srgbClr val="E3E3E3"/>
          </a:solidFill>
          <a:ln w="9525" cap="rnd" cmpd="sng" algn="ctr">
            <a:solidFill>
              <a:srgbClr val="E3E3E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8958" rIns="0" bIns="3895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1000"/>
              </a:spcAft>
              <a:defRPr sz="1300">
                <a:solidFill>
                  <a:schemeClr val="bg1"/>
                </a:solidFill>
              </a:defRPr>
            </a:lvl1pPr>
          </a:lstStyle>
          <a:p>
            <a:r>
              <a:rPr lang="ru-RU" sz="1000" b="1" dirty="0">
                <a:solidFill>
                  <a:srgbClr val="295E7E"/>
                </a:solidFill>
              </a:rPr>
              <a:t>Духовная модернизация</a:t>
            </a:r>
            <a:r>
              <a:rPr lang="en-US" sz="1000" b="1" dirty="0">
                <a:solidFill>
                  <a:srgbClr val="295E7E"/>
                </a:solidFill>
              </a:rPr>
              <a:t> </a:t>
            </a:r>
            <a:endParaRPr lang="ru-RU" sz="1000" b="1" dirty="0">
              <a:solidFill>
                <a:srgbClr val="295E7E"/>
              </a:solidFill>
            </a:endParaRPr>
          </a:p>
          <a:p>
            <a:r>
              <a:rPr lang="en-US" sz="900" dirty="0">
                <a:solidFill>
                  <a:srgbClr val="545454"/>
                </a:solidFill>
              </a:rPr>
              <a:t>(</a:t>
            </a:r>
            <a:r>
              <a:rPr lang="ru-RU" sz="900" i="1" dirty="0">
                <a:solidFill>
                  <a:srgbClr val="545454"/>
                </a:solidFill>
              </a:rPr>
              <a:t>Прагматизм и повышение ответственности за свое будущее</a:t>
            </a:r>
            <a:r>
              <a:rPr lang="en-US" sz="900" dirty="0">
                <a:solidFill>
                  <a:srgbClr val="545454"/>
                </a:solidFill>
              </a:rPr>
              <a:t>)</a:t>
            </a:r>
          </a:p>
        </p:txBody>
      </p:sp>
      <p:sp>
        <p:nvSpPr>
          <p:cNvPr id="49" name="ee4pContent1"/>
          <p:cNvSpPr txBox="1"/>
          <p:nvPr/>
        </p:nvSpPr>
        <p:spPr>
          <a:xfrm>
            <a:off x="6274832" y="2465438"/>
            <a:ext cx="2288185" cy="594000"/>
          </a:xfrm>
          <a:prstGeom prst="rect">
            <a:avLst/>
          </a:prstGeom>
          <a:solidFill>
            <a:srgbClr val="E3E3E3"/>
          </a:solidFill>
          <a:ln w="9525" cap="rnd" cmpd="sng" algn="ctr">
            <a:solidFill>
              <a:srgbClr val="E3E3E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8958" rIns="0" bIns="3895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1000"/>
              </a:spcAft>
              <a:defRPr sz="1300">
                <a:solidFill>
                  <a:schemeClr val="bg1"/>
                </a:solidFill>
              </a:defRPr>
            </a:lvl1pPr>
          </a:lstStyle>
          <a:p>
            <a:r>
              <a:rPr lang="ru-RU" sz="1000" b="1" dirty="0">
                <a:solidFill>
                  <a:srgbClr val="295E7E"/>
                </a:solidFill>
              </a:rPr>
              <a:t>Развитие технологий и цифровизация</a:t>
            </a:r>
          </a:p>
        </p:txBody>
      </p:sp>
      <p:sp>
        <p:nvSpPr>
          <p:cNvPr id="50" name="ee4pContent1"/>
          <p:cNvSpPr txBox="1"/>
          <p:nvPr/>
        </p:nvSpPr>
        <p:spPr>
          <a:xfrm>
            <a:off x="6274832" y="3211087"/>
            <a:ext cx="2288185" cy="594000"/>
          </a:xfrm>
          <a:prstGeom prst="rect">
            <a:avLst/>
          </a:prstGeom>
          <a:solidFill>
            <a:srgbClr val="E3E3E3"/>
          </a:solidFill>
          <a:ln w="9525" cap="rnd" cmpd="sng" algn="ctr">
            <a:solidFill>
              <a:srgbClr val="E3E3E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8958" rIns="0" bIns="3895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1000"/>
              </a:spcAft>
              <a:defRPr sz="1300">
                <a:solidFill>
                  <a:schemeClr val="bg1"/>
                </a:solidFill>
              </a:defRPr>
            </a:lvl1pPr>
          </a:lstStyle>
          <a:p>
            <a:r>
              <a:rPr lang="ru-RU" sz="1000" b="1" dirty="0">
                <a:solidFill>
                  <a:srgbClr val="295E7E"/>
                </a:solidFill>
              </a:rPr>
              <a:t>Изменения в </a:t>
            </a:r>
            <a:r>
              <a:rPr lang="en-US" sz="1000" b="1" dirty="0">
                <a:solidFill>
                  <a:srgbClr val="295E7E"/>
                </a:solidFill>
              </a:rPr>
              <a:t/>
            </a:r>
            <a:br>
              <a:rPr lang="en-US" sz="1000" b="1" dirty="0">
                <a:solidFill>
                  <a:srgbClr val="295E7E"/>
                </a:solidFill>
              </a:rPr>
            </a:br>
            <a:r>
              <a:rPr lang="ru-RU" sz="1000" b="1" dirty="0">
                <a:solidFill>
                  <a:srgbClr val="295E7E"/>
                </a:solidFill>
              </a:rPr>
              <a:t>распределении </a:t>
            </a:r>
            <a:r>
              <a:rPr lang="en-US" sz="1000" b="1" dirty="0">
                <a:solidFill>
                  <a:srgbClr val="295E7E"/>
                </a:solidFill>
              </a:rPr>
              <a:t/>
            </a:r>
            <a:br>
              <a:rPr lang="en-US" sz="1000" b="1" dirty="0">
                <a:solidFill>
                  <a:srgbClr val="295E7E"/>
                </a:solidFill>
              </a:rPr>
            </a:br>
            <a:r>
              <a:rPr lang="ru-RU" sz="1000" b="1" dirty="0">
                <a:solidFill>
                  <a:srgbClr val="295E7E"/>
                </a:solidFill>
              </a:rPr>
              <a:t>трудовых ресурсов</a:t>
            </a:r>
          </a:p>
        </p:txBody>
      </p:sp>
      <p:sp>
        <p:nvSpPr>
          <p:cNvPr id="51" name="ee4pContent1"/>
          <p:cNvSpPr txBox="1"/>
          <p:nvPr/>
        </p:nvSpPr>
        <p:spPr>
          <a:xfrm>
            <a:off x="6274832" y="3956737"/>
            <a:ext cx="2288185" cy="594000"/>
          </a:xfrm>
          <a:prstGeom prst="rect">
            <a:avLst/>
          </a:prstGeom>
          <a:solidFill>
            <a:srgbClr val="E3E3E3"/>
          </a:solidFill>
          <a:ln w="9525" cap="rnd" cmpd="sng" algn="ctr">
            <a:solidFill>
              <a:srgbClr val="E3E3E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8958" rIns="0" bIns="3895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1000"/>
              </a:spcAft>
              <a:defRPr sz="1300">
                <a:solidFill>
                  <a:schemeClr val="bg1"/>
                </a:solidFill>
              </a:defRPr>
            </a:lvl1pPr>
          </a:lstStyle>
          <a:p>
            <a:r>
              <a:rPr lang="ru-RU" sz="1000" b="1" dirty="0">
                <a:solidFill>
                  <a:srgbClr val="295E7E"/>
                </a:solidFill>
              </a:rPr>
              <a:t>  Новые формы трудовых отношений и ценностей</a:t>
            </a:r>
          </a:p>
        </p:txBody>
      </p:sp>
      <p:sp>
        <p:nvSpPr>
          <p:cNvPr id="55" name="Oval 20"/>
          <p:cNvSpPr>
            <a:spLocks noChangeArrowheads="1"/>
          </p:cNvSpPr>
          <p:nvPr/>
        </p:nvSpPr>
        <p:spPr bwMode="auto">
          <a:xfrm>
            <a:off x="6327586" y="2680212"/>
            <a:ext cx="202406" cy="164455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rgbClr val="FFFFFF">
                    <a:lumMod val="100000"/>
                  </a:srgbClr>
                </a:solidFill>
              </a:rPr>
              <a:t>1</a:t>
            </a:r>
          </a:p>
        </p:txBody>
      </p:sp>
      <p:sp>
        <p:nvSpPr>
          <p:cNvPr id="56" name="Oval 20"/>
          <p:cNvSpPr>
            <a:spLocks noChangeArrowheads="1"/>
          </p:cNvSpPr>
          <p:nvPr/>
        </p:nvSpPr>
        <p:spPr bwMode="auto">
          <a:xfrm>
            <a:off x="6327586" y="3425861"/>
            <a:ext cx="202406" cy="164455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rgbClr val="FFFFFF">
                    <a:lumMod val="100000"/>
                  </a:srgbClr>
                </a:solidFill>
              </a:rPr>
              <a:t>2</a:t>
            </a:r>
          </a:p>
        </p:txBody>
      </p:sp>
      <p:sp>
        <p:nvSpPr>
          <p:cNvPr id="57" name="Oval 20"/>
          <p:cNvSpPr>
            <a:spLocks noChangeArrowheads="1"/>
          </p:cNvSpPr>
          <p:nvPr/>
        </p:nvSpPr>
        <p:spPr bwMode="auto">
          <a:xfrm>
            <a:off x="6327586" y="4171510"/>
            <a:ext cx="202406" cy="164455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rgbClr val="FFFFFF">
                    <a:lumMod val="100000"/>
                  </a:srgbClr>
                </a:solidFill>
              </a:rPr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875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858218" y="483171"/>
          <a:ext cx="968" cy="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3"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58218" y="483171"/>
                        <a:ext cx="968" cy="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Rectangle 71" hidden="1"/>
          <p:cNvSpPr/>
          <p:nvPr>
            <p:custDataLst>
              <p:tags r:id="rId3"/>
            </p:custDataLst>
          </p:nvPr>
        </p:nvSpPr>
        <p:spPr>
          <a:xfrm>
            <a:off x="857250" y="482204"/>
            <a:ext cx="96738" cy="9673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35" name="Straight Connector 34"/>
          <p:cNvCxnSpPr>
            <a:cxnSpLocks/>
          </p:cNvCxnSpPr>
          <p:nvPr/>
        </p:nvCxnSpPr>
        <p:spPr>
          <a:xfrm>
            <a:off x="5038062" y="1465894"/>
            <a:ext cx="0" cy="1714687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67463" y="123478"/>
            <a:ext cx="7669033" cy="623239"/>
          </a:xfrm>
        </p:spPr>
        <p:txBody>
          <a:bodyPr wrap="square">
            <a:spAutoFit/>
          </a:bodyPr>
          <a:lstStyle/>
          <a:p>
            <a:pPr algn="l"/>
            <a:r>
              <a:rPr lang="ru-RU" sz="1800" dirty="0">
                <a:solidFill>
                  <a:srgbClr val="295E7E"/>
                </a:solidFill>
              </a:rPr>
              <a:t>3. Развитие инструментария сферы занятости</a:t>
            </a:r>
            <a:br>
              <a:rPr lang="ru-RU" sz="1800" dirty="0">
                <a:solidFill>
                  <a:srgbClr val="295E7E"/>
                </a:solidFill>
              </a:rPr>
            </a:br>
            <a:r>
              <a:rPr lang="ru-RU" sz="1800" dirty="0">
                <a:solidFill>
                  <a:srgbClr val="295E7E"/>
                </a:solidFill>
              </a:rPr>
              <a:t>     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3.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5 Улучшение механизма мониторинга и оценки эффективности программы «</a:t>
            </a:r>
            <a:r>
              <a:rPr lang="ru-RU" sz="1400" dirty="0" err="1">
                <a:solidFill>
                  <a:schemeClr val="accent4">
                    <a:lumMod val="75000"/>
                  </a:schemeClr>
                </a:solidFill>
              </a:rPr>
              <a:t>Еңбек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»</a:t>
            </a:r>
            <a:endParaRPr lang="ru-RU" sz="18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755575" y="820803"/>
            <a:ext cx="3518735" cy="395175"/>
          </a:xfrm>
          <a:prstGeom prst="homePlate">
            <a:avLst/>
          </a:prstGeom>
          <a:solidFill>
            <a:schemeClr val="accent4">
              <a:lumMod val="60000"/>
              <a:lumOff val="40000"/>
            </a:schemeClr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Текущая ситуация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5" name="Chevron 4"/>
          <p:cNvSpPr/>
          <p:nvPr/>
        </p:nvSpPr>
        <p:spPr>
          <a:xfrm>
            <a:off x="4922413" y="819687"/>
            <a:ext cx="3814776" cy="395175"/>
          </a:xfrm>
          <a:prstGeom prst="chevron">
            <a:avLst/>
          </a:prstGeom>
          <a:solidFill>
            <a:schemeClr val="accent4">
              <a:lumMod val="60000"/>
              <a:lumOff val="40000"/>
            </a:schemeClr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Что будет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55576" y="1360580"/>
            <a:ext cx="3518735" cy="39613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575757"/>
                </a:solidFill>
              </a:rPr>
              <a:t>По программе «</a:t>
            </a:r>
            <a:r>
              <a:rPr lang="ru-RU" sz="1200" dirty="0" err="1">
                <a:solidFill>
                  <a:srgbClr val="575757"/>
                </a:solidFill>
              </a:rPr>
              <a:t>Енбек</a:t>
            </a:r>
            <a:r>
              <a:rPr lang="ru-RU" sz="1200" dirty="0">
                <a:solidFill>
                  <a:srgbClr val="575757"/>
                </a:solidFill>
              </a:rPr>
              <a:t>» предусмотрены </a:t>
            </a:r>
            <a:r>
              <a:rPr lang="ru-RU" sz="1200" b="1" dirty="0">
                <a:solidFill>
                  <a:srgbClr val="FF0000"/>
                </a:solidFill>
              </a:rPr>
              <a:t>4</a:t>
            </a:r>
            <a:r>
              <a:rPr lang="ru-RU" sz="1200" dirty="0">
                <a:solidFill>
                  <a:srgbClr val="575757"/>
                </a:solidFill>
              </a:rPr>
              <a:t> направления с </a:t>
            </a:r>
            <a:r>
              <a:rPr lang="ru-RU" sz="1200" b="1" dirty="0">
                <a:solidFill>
                  <a:srgbClr val="FF0000"/>
                </a:solidFill>
              </a:rPr>
              <a:t>22 </a:t>
            </a:r>
            <a:r>
              <a:rPr lang="ru-RU" sz="1200" dirty="0">
                <a:solidFill>
                  <a:srgbClr val="575757"/>
                </a:solidFill>
              </a:rPr>
              <a:t>активными мерами занятости, оказываемым 11 основным  категориям: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37240" y="1384729"/>
            <a:ext cx="3399949" cy="10424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indent="180975"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Определение эффективных мер господдержки целевых групп с учетом специфики экономики региона, потребности рынка труда и ментальности населения. </a:t>
            </a:r>
          </a:p>
          <a:p>
            <a:pPr indent="180975"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Проведение оценки государственной поддержки с учетом влияния:</a:t>
            </a:r>
          </a:p>
          <a:p>
            <a:pPr indent="180975"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- на конкретного участника программы</a:t>
            </a:r>
          </a:p>
          <a:p>
            <a:pPr indent="180975"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- в целом на рынок труда</a:t>
            </a:r>
          </a:p>
        </p:txBody>
      </p:sp>
      <p:sp>
        <p:nvSpPr>
          <p:cNvPr id="23" name="Oval 22"/>
          <p:cNvSpPr/>
          <p:nvPr/>
        </p:nvSpPr>
        <p:spPr>
          <a:xfrm>
            <a:off x="4930062" y="1380287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1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4930062" y="2519657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2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4930062" y="3070497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3</a:t>
            </a:r>
            <a:endParaRPr lang="en-US" sz="1200" dirty="0">
              <a:solidFill>
                <a:srgbClr val="FFFFFF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5240537" y="4048016"/>
            <a:ext cx="216000" cy="216000"/>
            <a:chOff x="5341054" y="5660777"/>
            <a:chExt cx="361936" cy="361936"/>
          </a:xfrm>
        </p:grpSpPr>
        <p:sp>
          <p:nvSpPr>
            <p:cNvPr id="47" name="Oval 16"/>
            <p:cNvSpPr>
              <a:spLocks noChangeArrowheads="1"/>
            </p:cNvSpPr>
            <p:nvPr/>
          </p:nvSpPr>
          <p:spPr bwMode="auto">
            <a:xfrm>
              <a:off x="5341054" y="5660777"/>
              <a:ext cx="361936" cy="361936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auto">
            <a:xfrm>
              <a:off x="5432604" y="5754454"/>
              <a:ext cx="178839" cy="172452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295E7E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prstClr val="white"/>
                </a:solidFill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5647716" y="4056398"/>
            <a:ext cx="3004270" cy="31130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Перечень мер эффективных для целевых групп</a:t>
            </a:r>
          </a:p>
        </p:txBody>
      </p:sp>
      <p:sp>
        <p:nvSpPr>
          <p:cNvPr id="65" name="NavigationIcon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8862554" y="95985"/>
            <a:ext cx="216000" cy="216000"/>
          </a:xfrm>
          <a:prstGeom prst="ellipse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200" dirty="0">
              <a:solidFill>
                <a:srgbClr val="1F497D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57" name="Таблица 56">
            <a:extLst>
              <a:ext uri="{FF2B5EF4-FFF2-40B4-BE49-F238E27FC236}">
                <a16:creationId xmlns:a16="http://schemas.microsoft.com/office/drawing/2014/main" xmlns="" id="{41C66D0E-9C12-4B3F-AF37-B7DD820E62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128360"/>
              </p:ext>
            </p:extLst>
          </p:nvPr>
        </p:nvGraphicFramePr>
        <p:xfrm>
          <a:off x="971768" y="1784661"/>
          <a:ext cx="3271525" cy="18943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0320">
                  <a:extLst>
                    <a:ext uri="{9D8B030D-6E8A-4147-A177-3AD203B41FA5}">
                      <a16:colId xmlns:a16="http://schemas.microsoft.com/office/drawing/2014/main" xmlns="" val="2538058566"/>
                    </a:ext>
                  </a:extLst>
                </a:gridCol>
                <a:gridCol w="391205">
                  <a:extLst>
                    <a:ext uri="{9D8B030D-6E8A-4147-A177-3AD203B41FA5}">
                      <a16:colId xmlns:a16="http://schemas.microsoft.com/office/drawing/2014/main" xmlns="" val="2089846773"/>
                    </a:ext>
                  </a:extLst>
                </a:gridCol>
              </a:tblGrid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1. Молодежь, в т.ч. NEET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14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35110969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2. Безработные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13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09040848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3. Малообеспеченные/ многодетные семьи 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9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051511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4. Самозанятые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8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80313702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5. Трудоспособные инвалиды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8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16019073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6. Студенты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4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07943076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7. Лица, воспитывающие детей с инвалидностью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4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86208053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8. Учащиеся  9-11 классов, 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3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8242615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9. Высвобожденные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3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44544088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10. Лица, ищущие работ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1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97937755"/>
                  </a:ext>
                </a:extLst>
              </a:tr>
              <a:tr h="1722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i="1" u="none" strike="noStrike" dirty="0">
                          <a:effectLst/>
                          <a:latin typeface="+mn-lt"/>
                        </a:rPr>
                        <a:t>11. </a:t>
                      </a:r>
                      <a:r>
                        <a:rPr lang="ru-RU" sz="1000" i="1" u="none" strike="noStrike" dirty="0" err="1">
                          <a:effectLst/>
                          <a:latin typeface="+mn-lt"/>
                        </a:rPr>
                        <a:t>Оралманы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x-none" sz="1000" i="1" u="none" strike="noStrike" dirty="0">
                          <a:effectLst/>
                          <a:latin typeface="+mn-lt"/>
                        </a:rPr>
                        <a:t>1</a:t>
                      </a:r>
                      <a:endParaRPr lang="x-none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 anchor="b">
                    <a:lnL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357B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151517"/>
                  </a:ext>
                </a:extLst>
              </a:tr>
            </a:tbl>
          </a:graphicData>
        </a:graphic>
      </p:graphicFrame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03FC9070-09C2-477C-BE96-7289BA4D7F8F}"/>
              </a:ext>
            </a:extLst>
          </p:cNvPr>
          <p:cNvSpPr/>
          <p:nvPr/>
        </p:nvSpPr>
        <p:spPr>
          <a:xfrm>
            <a:off x="759152" y="4222601"/>
            <a:ext cx="3559558" cy="526929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marL="171450" indent="-171450">
              <a:lnSpc>
                <a:spcPct val="7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Из </a:t>
            </a:r>
            <a:r>
              <a:rPr lang="ru-RU" sz="1200" b="1" dirty="0">
                <a:solidFill>
                  <a:srgbClr val="357B7F"/>
                </a:solidFill>
              </a:rPr>
              <a:t>49</a:t>
            </a:r>
            <a:r>
              <a:rPr lang="ru-RU" sz="1200" dirty="0"/>
              <a:t> отчетных форм: </a:t>
            </a:r>
          </a:p>
          <a:p>
            <a:pPr marL="447675">
              <a:lnSpc>
                <a:spcPct val="70000"/>
              </a:lnSpc>
            </a:pPr>
            <a:r>
              <a:rPr lang="ru-RU" sz="1200" i="1" dirty="0"/>
              <a:t>- автоматизированы -</a:t>
            </a:r>
            <a:r>
              <a:rPr lang="ru-RU" sz="1200" i="1" dirty="0">
                <a:solidFill>
                  <a:srgbClr val="357B7F"/>
                </a:solidFill>
              </a:rPr>
              <a:t>18</a:t>
            </a:r>
            <a:r>
              <a:rPr lang="ru-RU" sz="1200" i="1" dirty="0"/>
              <a:t> форм, </a:t>
            </a:r>
          </a:p>
          <a:p>
            <a:pPr marL="447675">
              <a:lnSpc>
                <a:spcPct val="70000"/>
              </a:lnSpc>
            </a:pPr>
            <a:r>
              <a:rPr lang="ru-RU" sz="1200" i="1" dirty="0"/>
              <a:t>- на бумажных носителях - </a:t>
            </a:r>
            <a:r>
              <a:rPr lang="ru-RU" sz="1200" i="1" dirty="0">
                <a:solidFill>
                  <a:srgbClr val="357B7F"/>
                </a:solidFill>
              </a:rPr>
              <a:t>31</a:t>
            </a:r>
            <a:r>
              <a:rPr lang="ru-RU" sz="1200" i="1" dirty="0"/>
              <a:t> форма. 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A02754EB-B997-4102-B55E-252385742BDA}"/>
              </a:ext>
            </a:extLst>
          </p:cNvPr>
          <p:cNvSpPr/>
          <p:nvPr/>
        </p:nvSpPr>
        <p:spPr>
          <a:xfrm>
            <a:off x="755576" y="3703505"/>
            <a:ext cx="3487717" cy="526929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marL="171450" indent="-171450">
              <a:lnSpc>
                <a:spcPct val="7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По </a:t>
            </a:r>
            <a:r>
              <a:rPr lang="ru-RU" sz="1200" b="1" dirty="0">
                <a:solidFill>
                  <a:srgbClr val="357B7F"/>
                </a:solidFill>
              </a:rPr>
              <a:t>22</a:t>
            </a:r>
            <a:r>
              <a:rPr lang="ru-RU" sz="1200" dirty="0"/>
              <a:t> целевым группам:</a:t>
            </a:r>
          </a:p>
          <a:p>
            <a:pPr marL="447675">
              <a:lnSpc>
                <a:spcPct val="70000"/>
              </a:lnSpc>
            </a:pPr>
            <a:r>
              <a:rPr lang="ru-RU" sz="1200" i="1" dirty="0"/>
              <a:t>- автоматизированы 8 форм, </a:t>
            </a:r>
          </a:p>
          <a:p>
            <a:pPr marL="447675">
              <a:lnSpc>
                <a:spcPct val="70000"/>
              </a:lnSpc>
            </a:pPr>
            <a:r>
              <a:rPr lang="ru-RU" sz="1200" i="1" dirty="0"/>
              <a:t>- на бумажных носителях 14 форма.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xmlns="" id="{5CF54DF0-4475-4284-89D3-27498D320EE5}"/>
              </a:ext>
            </a:extLst>
          </p:cNvPr>
          <p:cNvSpPr/>
          <p:nvPr/>
        </p:nvSpPr>
        <p:spPr>
          <a:xfrm>
            <a:off x="5252043" y="2523453"/>
            <a:ext cx="3399943" cy="359191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indent="180975" algn="just"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Проведение инвентаризации и исключение неактуальных отчетов по вопросам занятост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282482" y="2995461"/>
            <a:ext cx="35267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0975"/>
            <a:r>
              <a:rPr lang="ru-RU" sz="1200" dirty="0">
                <a:solidFill>
                  <a:srgbClr val="575757"/>
                </a:solidFill>
              </a:rPr>
              <a:t>Доработка ИС согласно новой программы занятост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A44A4E2-DF73-4578-8115-2FCFE4991F63}"/>
              </a:ext>
            </a:extLst>
          </p:cNvPr>
          <p:cNvSpPr txBox="1"/>
          <p:nvPr/>
        </p:nvSpPr>
        <p:spPr>
          <a:xfrm>
            <a:off x="4930062" y="3723902"/>
            <a:ext cx="39324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C00000"/>
                </a:solidFill>
              </a:rPr>
              <a:t>Результат:</a:t>
            </a:r>
          </a:p>
        </p:txBody>
      </p:sp>
      <p:grpSp>
        <p:nvGrpSpPr>
          <p:cNvPr id="41" name="Group 11">
            <a:extLst>
              <a:ext uri="{FF2B5EF4-FFF2-40B4-BE49-F238E27FC236}">
                <a16:creationId xmlns:a16="http://schemas.microsoft.com/office/drawing/2014/main" xmlns="" id="{EF76CD38-F2AA-40C5-A9D9-FD2612D4018E}"/>
              </a:ext>
            </a:extLst>
          </p:cNvPr>
          <p:cNvGrpSpPr/>
          <p:nvPr/>
        </p:nvGrpSpPr>
        <p:grpSpPr>
          <a:xfrm>
            <a:off x="5240537" y="4371974"/>
            <a:ext cx="216000" cy="216000"/>
            <a:chOff x="5341054" y="5660777"/>
            <a:chExt cx="361936" cy="361936"/>
          </a:xfrm>
        </p:grpSpPr>
        <p:sp>
          <p:nvSpPr>
            <p:cNvPr id="43" name="Oval 16">
              <a:extLst>
                <a:ext uri="{FF2B5EF4-FFF2-40B4-BE49-F238E27FC236}">
                  <a16:creationId xmlns:a16="http://schemas.microsoft.com/office/drawing/2014/main" xmlns="" id="{79535160-085C-4BD1-9186-BA540C56E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054" y="5660777"/>
              <a:ext cx="361936" cy="361936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xmlns="" id="{E332CB23-A43D-4353-94DC-F3AEC9DD4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2604" y="5754454"/>
              <a:ext cx="178839" cy="172452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295E7E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prstClr val="white"/>
                </a:solidFill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894B113C-70A2-47C0-AD41-470CACE25E9E}"/>
              </a:ext>
            </a:extLst>
          </p:cNvPr>
          <p:cNvSpPr txBox="1"/>
          <p:nvPr/>
        </p:nvSpPr>
        <p:spPr>
          <a:xfrm>
            <a:off x="5647716" y="4421068"/>
            <a:ext cx="3004270" cy="1604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Модернизация АИС «Рынок труда»</a:t>
            </a:r>
          </a:p>
        </p:txBody>
      </p:sp>
    </p:spTree>
    <p:extLst>
      <p:ext uri="{BB962C8B-B14F-4D97-AF65-F5344CB8AC3E}">
        <p14:creationId xmlns:p14="http://schemas.microsoft.com/office/powerpoint/2010/main" val="2400997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131BECC0-EB91-47EE-9BAD-E298D2FC6FED}"/>
              </a:ext>
            </a:extLst>
          </p:cNvPr>
          <p:cNvSpPr/>
          <p:nvPr/>
        </p:nvSpPr>
        <p:spPr>
          <a:xfrm>
            <a:off x="1331640" y="51471"/>
            <a:ext cx="8568952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r>
              <a:rPr lang="en-US" dirty="0">
                <a:solidFill>
                  <a:srgbClr val="295E7E"/>
                </a:solidFill>
              </a:rPr>
              <a:t> </a:t>
            </a:r>
            <a:r>
              <a:rPr lang="ru-RU" dirty="0">
                <a:solidFill>
                  <a:srgbClr val="295E7E"/>
                </a:solidFill>
              </a:rPr>
              <a:t>4</a:t>
            </a:r>
            <a:r>
              <a:rPr lang="en-US" dirty="0">
                <a:solidFill>
                  <a:srgbClr val="295E7E"/>
                </a:solidFill>
              </a:rPr>
              <a:t>.</a:t>
            </a:r>
            <a:r>
              <a:rPr lang="ru-RU" dirty="0">
                <a:solidFill>
                  <a:srgbClr val="295E7E"/>
                </a:solidFill>
              </a:rPr>
              <a:t> Развитие инфраструктуры сферы занятости</a:t>
            </a:r>
            <a:endParaRPr lang="x-none" dirty="0">
              <a:solidFill>
                <a:srgbClr val="295E7E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E4D69E5C-FB53-48AE-9898-15DF10C306B4}"/>
              </a:ext>
            </a:extLst>
          </p:cNvPr>
          <p:cNvSpPr txBox="1"/>
          <p:nvPr/>
        </p:nvSpPr>
        <p:spPr>
          <a:xfrm>
            <a:off x="1691680" y="483518"/>
            <a:ext cx="6696744" cy="307766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Calibri"/>
              </a:rPr>
              <a:t>4.1.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  <a:latin typeface="Calibri"/>
              </a:rPr>
              <a:t>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Трансформация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Calibri"/>
              </a:rPr>
              <a:t>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центров занятост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2531635-AFC9-4026-833E-CEB81A1F1ECF}"/>
              </a:ext>
            </a:extLst>
          </p:cNvPr>
          <p:cNvSpPr/>
          <p:nvPr/>
        </p:nvSpPr>
        <p:spPr>
          <a:xfrm>
            <a:off x="2602333" y="4096287"/>
            <a:ext cx="3880786" cy="307766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ЕЗУЛЬТАТ: </a:t>
            </a:r>
          </a:p>
        </p:txBody>
      </p:sp>
      <p:sp>
        <p:nvSpPr>
          <p:cNvPr id="11" name="Стрелка: пятиугольник 1">
            <a:extLst>
              <a:ext uri="{FF2B5EF4-FFF2-40B4-BE49-F238E27FC236}">
                <a16:creationId xmlns:a16="http://schemas.microsoft.com/office/drawing/2014/main" xmlns="" id="{806C0DD5-DFB3-4C09-AB18-E34AC015B6F0}"/>
              </a:ext>
            </a:extLst>
          </p:cNvPr>
          <p:cNvSpPr/>
          <p:nvPr/>
        </p:nvSpPr>
        <p:spPr>
          <a:xfrm>
            <a:off x="464059" y="1475656"/>
            <a:ext cx="3819909" cy="2461988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2" tIns="0" rIns="431951" bIns="0" rtlCol="0" anchor="ctr"/>
          <a:lstStyle/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  <a:tabLst>
                <a:tab pos="176193" algn="l"/>
              </a:tabLst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одготовлены 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олный пакет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нормативных правовых актов  и методологические инструкции по деятельности ЦЗ по новым бизнес-процессам</a:t>
            </a:r>
          </a:p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  <a:tabLst>
                <a:tab pos="176193" algn="l"/>
              </a:tabLst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Изменена 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рганизационная структура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и 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роведен ребрендинг ЦЗ</a:t>
            </a:r>
            <a:endParaRPr lang="ru-RU" sz="12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  <a:tabLst>
                <a:tab pos="176193" algn="l"/>
              </a:tabLst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роведено 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бучение сотрудников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центров занятости: в 2018 г. – 125 чел, в 2019 г. – 180 чел.</a:t>
            </a:r>
          </a:p>
          <a:p>
            <a:pPr marL="176193" indent="-176193" algn="just">
              <a:lnSpc>
                <a:spcPct val="70000"/>
              </a:lnSpc>
              <a:spcAft>
                <a:spcPts val="3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  <a:tabLst>
                <a:tab pos="176193" algn="l"/>
              </a:tabLst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Разработан 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рейтинг центров занятости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за 2017-2018 годы</a:t>
            </a:r>
          </a:p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  <a:tabLst>
                <a:tab pos="176193" algn="l"/>
              </a:tabLst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роводится 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ежеквартальный мониторинг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деятельности центров занятости по новым бизнес-процессам</a:t>
            </a:r>
            <a:endParaRPr lang="ru-RU" sz="1200" b="1" dirty="0">
              <a:solidFill>
                <a:schemeClr val="bg1">
                  <a:lumMod val="50000"/>
                </a:schemeClr>
              </a:solidFill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F366A46E-E482-40B4-BCC6-19B525958256}"/>
              </a:ext>
            </a:extLst>
          </p:cNvPr>
          <p:cNvSpPr/>
          <p:nvPr/>
        </p:nvSpPr>
        <p:spPr>
          <a:xfrm>
            <a:off x="4402872" y="1470374"/>
            <a:ext cx="4201576" cy="2472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бновление парка компьютерной техники во всех ЦЗ</a:t>
            </a:r>
            <a:endParaRPr lang="en-US" sz="1200" dirty="0" smtClean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бучение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не менее 1700 специалистов ЦЗН (≈40%) новым бизнес-процессам (в рамках  проекта Всемирного банка)</a:t>
            </a:r>
          </a:p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тбор и подготовка 40 тренеров из числа сотрудников ЦЗН и АО «ЦРТР» для организации непрерывного обучения и повышения квалификации специалистов ЦЗН</a:t>
            </a:r>
          </a:p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пределение 5 опорных центров занятости: внедрение новых бизнес-процессов и дальнейшее масштабирование</a:t>
            </a:r>
          </a:p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оэтапный перевод всех центров занятости на новые бизнес-процессы</a:t>
            </a:r>
          </a:p>
          <a:p>
            <a:pPr marL="176193" indent="-176193" algn="just">
              <a:lnSpc>
                <a:spcPct val="70000"/>
              </a:lnSpc>
              <a:spcAft>
                <a:spcPts val="500"/>
              </a:spcAft>
              <a:buClr>
                <a:srgbClr val="295E7E"/>
              </a:buClr>
              <a:buSzPct val="2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риведение деятельности центров занятости в соответствие  с новой Стратегией модернизации рынка труда и Государственной программой «</a:t>
            </a:r>
            <a:r>
              <a:rPr lang="ru-RU" sz="1200" dirty="0" err="1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Енбек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»</a:t>
            </a:r>
            <a:endParaRPr lang="ru-RU" sz="12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4" name="Pentagon 3"/>
          <p:cNvSpPr/>
          <p:nvPr/>
        </p:nvSpPr>
        <p:spPr>
          <a:xfrm>
            <a:off x="611560" y="989525"/>
            <a:ext cx="3399956" cy="395175"/>
          </a:xfrm>
          <a:prstGeom prst="homePlate">
            <a:avLst/>
          </a:prstGeom>
          <a:solidFill>
            <a:srgbClr val="AF703D"/>
          </a:solidFill>
          <a:ln w="9525" cap="rnd" cmpd="sng" algn="ctr">
            <a:solidFill>
              <a:srgbClr val="AF703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rgbClr val="FFFFFF"/>
                </a:solidFill>
              </a:rPr>
              <a:t>Как есть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5" name="Chevron 4"/>
          <p:cNvSpPr/>
          <p:nvPr/>
        </p:nvSpPr>
        <p:spPr>
          <a:xfrm>
            <a:off x="4783141" y="987574"/>
            <a:ext cx="3399956" cy="395175"/>
          </a:xfrm>
          <a:prstGeom prst="chevron">
            <a:avLst/>
          </a:prstGeom>
          <a:solidFill>
            <a:srgbClr val="AF703D"/>
          </a:solidFill>
          <a:ln w="9525" cap="rnd" cmpd="sng" algn="ctr">
            <a:solidFill>
              <a:srgbClr val="AF703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rgbClr val="FFFFFF"/>
                </a:solidFill>
              </a:rPr>
              <a:t>Что будет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341065" y="4028601"/>
            <a:ext cx="8064896" cy="1056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EDED2B86-DE69-4CAE-813F-494B7F3DD82B}"/>
              </a:ext>
            </a:extLst>
          </p:cNvPr>
          <p:cNvSpPr/>
          <p:nvPr/>
        </p:nvSpPr>
        <p:spPr>
          <a:xfrm>
            <a:off x="3875198" y="4095218"/>
            <a:ext cx="34818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бучение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1 700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ботников ЦЗН </a:t>
            </a:r>
          </a:p>
          <a:p>
            <a:pPr lvl="0">
              <a:defRPr/>
            </a:pP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тбор  не менее 40 тренеров </a:t>
            </a:r>
          </a:p>
          <a:p>
            <a:pPr lvl="0">
              <a:defRPr/>
            </a:pP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пределение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5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порных ЦЗН</a:t>
            </a:r>
          </a:p>
          <a:p>
            <a:pPr lvl="0">
              <a:defRPr/>
            </a:pP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Трансформация всех ЦЗН</a:t>
            </a:r>
          </a:p>
        </p:txBody>
      </p:sp>
    </p:spTree>
    <p:extLst>
      <p:ext uri="{BB962C8B-B14F-4D97-AF65-F5344CB8AC3E}">
        <p14:creationId xmlns:p14="http://schemas.microsoft.com/office/powerpoint/2010/main" val="8420677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B21748B4-EFEA-461A-B652-D53AEF502B7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5850" r="1176" b="24800"/>
          <a:stretch/>
        </p:blipFill>
        <p:spPr>
          <a:xfrm>
            <a:off x="891663" y="915566"/>
            <a:ext cx="7468178" cy="2239091"/>
          </a:xfrm>
          <a:prstGeom prst="rect">
            <a:avLst/>
          </a:prstGeom>
          <a:solidFill>
            <a:srgbClr val="CD6797"/>
          </a:solidFill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254DC402-22A4-4DC7-8103-B4DEEDCF8312}"/>
              </a:ext>
            </a:extLst>
          </p:cNvPr>
          <p:cNvSpPr/>
          <p:nvPr/>
        </p:nvSpPr>
        <p:spPr>
          <a:xfrm>
            <a:off x="3692387" y="3544801"/>
            <a:ext cx="2061981" cy="131337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marL="180975" indent="-180975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Гид по мерам господдержки </a:t>
            </a:r>
          </a:p>
          <a:p>
            <a:pPr marL="180975" indent="-180975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Платформа Онлайн обучения</a:t>
            </a:r>
          </a:p>
          <a:p>
            <a:pPr marL="180975" indent="-180975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Банк навыков </a:t>
            </a:r>
          </a:p>
          <a:p>
            <a:pPr marL="180975" indent="-180975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Аналитика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F481E6B0-E915-4504-A5A3-F492D755E610}"/>
              </a:ext>
            </a:extLst>
          </p:cNvPr>
          <p:cNvSpPr/>
          <p:nvPr/>
        </p:nvSpPr>
        <p:spPr>
          <a:xfrm>
            <a:off x="6542467" y="3544800"/>
            <a:ext cx="2061981" cy="131336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marL="285717" indent="-285717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Расширение сервисов</a:t>
            </a:r>
          </a:p>
          <a:p>
            <a:pPr marL="285717" indent="-285717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 Улучшение интерфейса</a:t>
            </a:r>
          </a:p>
          <a:p>
            <a:pPr marL="285717" indent="-285717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 Интеграция с ИС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A00D4726-F9E6-4A0E-B2D3-E8DB434413B6}"/>
              </a:ext>
            </a:extLst>
          </p:cNvPr>
          <p:cNvSpPr/>
          <p:nvPr/>
        </p:nvSpPr>
        <p:spPr>
          <a:xfrm>
            <a:off x="703022" y="3544801"/>
            <a:ext cx="2351785" cy="13133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marL="285717" indent="-285717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</a:rPr>
              <a:t>Поиск работы (вакансии)</a:t>
            </a:r>
          </a:p>
          <a:p>
            <a:pPr marL="285717" indent="-285717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</a:rPr>
              <a:t>Поиск работников (резюме)</a:t>
            </a:r>
          </a:p>
          <a:p>
            <a:pPr marL="285717" indent="-285717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</a:rPr>
              <a:t>Службы занятости Профориентация</a:t>
            </a:r>
          </a:p>
          <a:p>
            <a:pPr marL="285717" indent="-285717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</a:rPr>
              <a:t>Статистика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Знак ''плюс'' 6">
            <a:extLst>
              <a:ext uri="{FF2B5EF4-FFF2-40B4-BE49-F238E27FC236}">
                <a16:creationId xmlns:a16="http://schemas.microsoft.com/office/drawing/2014/main" xmlns="" id="{140DBC7D-5B5B-4A17-AB5A-7B221D7479BA}"/>
              </a:ext>
            </a:extLst>
          </p:cNvPr>
          <p:cNvSpPr/>
          <p:nvPr/>
        </p:nvSpPr>
        <p:spPr>
          <a:xfrm>
            <a:off x="3110604" y="3858911"/>
            <a:ext cx="504056" cy="504055"/>
          </a:xfrm>
          <a:prstGeom prst="mathPlus">
            <a:avLst/>
          </a:prstGeom>
          <a:solidFill>
            <a:srgbClr val="CD67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/>
          </a:p>
        </p:txBody>
      </p:sp>
      <p:sp>
        <p:nvSpPr>
          <p:cNvPr id="8" name="Равно 7">
            <a:extLst>
              <a:ext uri="{FF2B5EF4-FFF2-40B4-BE49-F238E27FC236}">
                <a16:creationId xmlns:a16="http://schemas.microsoft.com/office/drawing/2014/main" xmlns="" id="{8635AC10-57D6-4C03-93BB-F9659D3A131A}"/>
              </a:ext>
            </a:extLst>
          </p:cNvPr>
          <p:cNvSpPr/>
          <p:nvPr/>
        </p:nvSpPr>
        <p:spPr>
          <a:xfrm>
            <a:off x="5954876" y="3858911"/>
            <a:ext cx="504056" cy="452493"/>
          </a:xfrm>
          <a:prstGeom prst="mathEqual">
            <a:avLst/>
          </a:prstGeom>
          <a:solidFill>
            <a:srgbClr val="CD67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5CEC0FD8-B709-43A0-A966-4DB5A448D839}"/>
              </a:ext>
            </a:extLst>
          </p:cNvPr>
          <p:cNvSpPr/>
          <p:nvPr/>
        </p:nvSpPr>
        <p:spPr>
          <a:xfrm>
            <a:off x="7171099" y="3282305"/>
            <a:ext cx="9292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CD6797"/>
                </a:solidFill>
              </a:rPr>
              <a:t>Результат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563F7F74-B17B-429F-840A-615D21D8076B}"/>
              </a:ext>
            </a:extLst>
          </p:cNvPr>
          <p:cNvSpPr/>
          <p:nvPr/>
        </p:nvSpPr>
        <p:spPr>
          <a:xfrm>
            <a:off x="4096895" y="3269700"/>
            <a:ext cx="13933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CD6797"/>
                </a:solidFill>
              </a:rPr>
              <a:t>Новые сервисы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AF9BE6AA-16D0-42F5-9980-92A05D449914}"/>
              </a:ext>
            </a:extLst>
          </p:cNvPr>
          <p:cNvSpPr/>
          <p:nvPr/>
        </p:nvSpPr>
        <p:spPr>
          <a:xfrm>
            <a:off x="1458472" y="3280806"/>
            <a:ext cx="8408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D6797"/>
                </a:solidFill>
              </a:rPr>
              <a:t>Как есть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46BF5BB6-7070-4097-BEC0-75254D4B1205}"/>
              </a:ext>
            </a:extLst>
          </p:cNvPr>
          <p:cNvSpPr/>
          <p:nvPr/>
        </p:nvSpPr>
        <p:spPr>
          <a:xfrm>
            <a:off x="1331640" y="51471"/>
            <a:ext cx="8568952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r>
              <a:rPr lang="en-US" dirty="0">
                <a:solidFill>
                  <a:srgbClr val="295E7E"/>
                </a:solidFill>
              </a:rPr>
              <a:t> </a:t>
            </a:r>
            <a:r>
              <a:rPr lang="ru-RU" dirty="0">
                <a:solidFill>
                  <a:srgbClr val="295E7E"/>
                </a:solidFill>
              </a:rPr>
              <a:t>4</a:t>
            </a:r>
            <a:r>
              <a:rPr lang="en-US" dirty="0">
                <a:solidFill>
                  <a:srgbClr val="295E7E"/>
                </a:solidFill>
              </a:rPr>
              <a:t>.</a:t>
            </a:r>
            <a:r>
              <a:rPr lang="ru-RU" dirty="0">
                <a:solidFill>
                  <a:srgbClr val="295E7E"/>
                </a:solidFill>
              </a:rPr>
              <a:t> Развитие инфраструктуры сферы занятости</a:t>
            </a:r>
            <a:endParaRPr lang="x-none" dirty="0">
              <a:solidFill>
                <a:srgbClr val="295E7E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D4778DA9-FC81-4628-BD35-4AC5474F8DD5}"/>
              </a:ext>
            </a:extLst>
          </p:cNvPr>
          <p:cNvSpPr txBox="1"/>
          <p:nvPr/>
        </p:nvSpPr>
        <p:spPr>
          <a:xfrm>
            <a:off x="1619672" y="486594"/>
            <a:ext cx="6696744" cy="307766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CD6797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4.2.</a:t>
            </a:r>
            <a:r>
              <a:rPr lang="en-US" sz="1400" dirty="0">
                <a:solidFill>
                  <a:srgbClr val="CD6797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CD6797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звитие Электронной биржи труда</a:t>
            </a:r>
          </a:p>
        </p:txBody>
      </p:sp>
    </p:spTree>
    <p:extLst>
      <p:ext uri="{BB962C8B-B14F-4D97-AF65-F5344CB8AC3E}">
        <p14:creationId xmlns:p14="http://schemas.microsoft.com/office/powerpoint/2010/main" val="39668985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131BECC0-EB91-47EE-9BAD-E298D2FC6FED}"/>
              </a:ext>
            </a:extLst>
          </p:cNvPr>
          <p:cNvSpPr/>
          <p:nvPr/>
        </p:nvSpPr>
        <p:spPr>
          <a:xfrm>
            <a:off x="794383" y="127150"/>
            <a:ext cx="6387994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5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.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Центр компетенции социально-трудовой сферы</a:t>
            </a:r>
            <a:endParaRPr lang="x-none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2" name="Google Shape;81;p2">
            <a:extLst>
              <a:ext uri="{FF2B5EF4-FFF2-40B4-BE49-F238E27FC236}">
                <a16:creationId xmlns:a16="http://schemas.microsoft.com/office/drawing/2014/main" xmlns="" id="{AEC149A4-B804-4060-A6E3-90C3164A2308}"/>
              </a:ext>
            </a:extLst>
          </p:cNvPr>
          <p:cNvSpPr/>
          <p:nvPr/>
        </p:nvSpPr>
        <p:spPr>
          <a:xfrm>
            <a:off x="6331925" y="891825"/>
            <a:ext cx="2651700" cy="92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33" name="Google Shape;82;p2">
            <a:extLst>
              <a:ext uri="{FF2B5EF4-FFF2-40B4-BE49-F238E27FC236}">
                <a16:creationId xmlns:a16="http://schemas.microsoft.com/office/drawing/2014/main" xmlns="" id="{9CF32E78-0251-4538-B190-0AD29EA2A044}"/>
              </a:ext>
            </a:extLst>
          </p:cNvPr>
          <p:cNvSpPr/>
          <p:nvPr/>
        </p:nvSpPr>
        <p:spPr>
          <a:xfrm>
            <a:off x="765386" y="2406222"/>
            <a:ext cx="2350306" cy="586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71450" lvl="0" indent="-171450">
              <a:lnSpc>
                <a:spcPct val="7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Генерация новых идей, требующих внедрения</a:t>
            </a:r>
            <a:endParaRPr lang="x-none" sz="12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CA8046E1-EFD3-4995-B68F-19580473B8CC}"/>
              </a:ext>
            </a:extLst>
          </p:cNvPr>
          <p:cNvSpPr/>
          <p:nvPr/>
        </p:nvSpPr>
        <p:spPr>
          <a:xfrm>
            <a:off x="64300" y="1469548"/>
            <a:ext cx="2821093" cy="7414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lnSpc>
                <a:spcPct val="7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Сбор, систематизация и распространение внутрикорпоративных знаний и передового опыта в социально-трудовой сфере</a:t>
            </a:r>
            <a:endParaRPr lang="x-none" sz="12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6A05AD4C-F89E-4958-8C18-A84B29D9C960}"/>
              </a:ext>
            </a:extLst>
          </p:cNvPr>
          <p:cNvSpPr/>
          <p:nvPr/>
        </p:nvSpPr>
        <p:spPr>
          <a:xfrm>
            <a:off x="1225810" y="3153658"/>
            <a:ext cx="2204279" cy="612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lnSpc>
                <a:spcPct val="7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оказание сервисных, консультационных и высокопрофессиональных услуг</a:t>
            </a:r>
            <a:endParaRPr lang="x-none" sz="12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00796CE4-AD92-470B-A531-D6AC8E06B9B5}"/>
              </a:ext>
            </a:extLst>
          </p:cNvPr>
          <p:cNvSpPr/>
          <p:nvPr/>
        </p:nvSpPr>
        <p:spPr>
          <a:xfrm>
            <a:off x="6292075" y="1565484"/>
            <a:ext cx="2572464" cy="876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lnSpc>
                <a:spcPct val="7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75000"/>
                  </a:schemeClr>
                </a:solidFill>
              </a:rPr>
              <a:t>Формирование банка знаний по проектам, реализованных в рамках Проектного офиса социально-трудовой сферы, банка 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IT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</a:rPr>
              <a:t> продуктов, реализованных в МТСЗН и ЦРТР</a:t>
            </a:r>
            <a:endParaRPr lang="x-non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E652B62F-1DCD-4CAA-B202-424088C86B28}"/>
              </a:ext>
            </a:extLst>
          </p:cNvPr>
          <p:cNvSpPr/>
          <p:nvPr/>
        </p:nvSpPr>
        <p:spPr>
          <a:xfrm>
            <a:off x="5991489" y="2719980"/>
            <a:ext cx="2873050" cy="4884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lnSpc>
                <a:spcPct val="7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75000"/>
                  </a:schemeClr>
                </a:solidFill>
              </a:rPr>
              <a:t>Разработка стандартов реализации новых подходов в социально-трудовой сфере</a:t>
            </a:r>
            <a:endParaRPr lang="x-non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B62DFCA-8DFE-41DF-B6D3-DF841F3918B7}"/>
              </a:ext>
            </a:extLst>
          </p:cNvPr>
          <p:cNvSpPr/>
          <p:nvPr/>
        </p:nvSpPr>
        <p:spPr>
          <a:xfrm>
            <a:off x="2420897" y="3889103"/>
            <a:ext cx="2943191" cy="617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lnSpc>
                <a:spcPct val="7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Обучение работников ЦЗН и социальных служб местных исполнительных органов новым подходам в социально-трудовой сфере</a:t>
            </a:r>
            <a:endParaRPr lang="x-none" sz="12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CD8840F2-7140-4C6E-9E30-E55DCB87FDDC}"/>
              </a:ext>
            </a:extLst>
          </p:cNvPr>
          <p:cNvSpPr/>
          <p:nvPr/>
        </p:nvSpPr>
        <p:spPr>
          <a:xfrm>
            <a:off x="5364088" y="3535994"/>
            <a:ext cx="3367715" cy="612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lnSpc>
                <a:spcPct val="7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75000"/>
                  </a:schemeClr>
                </a:solidFill>
              </a:rPr>
              <a:t>Обучения экспертов и работников ЦГО и МИО, обеспечивающих разработку ОРК и ПС, а также сопровождающих НСК, сопровождающих «Атлас профессий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</a:rPr>
              <a:t>»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Google Shape;62;p2">
            <a:extLst>
              <a:ext uri="{FF2B5EF4-FFF2-40B4-BE49-F238E27FC236}">
                <a16:creationId xmlns:a16="http://schemas.microsoft.com/office/drawing/2014/main" xmlns="" id="{929B07FA-8707-4BBB-8D7D-EB67031F77D3}"/>
              </a:ext>
            </a:extLst>
          </p:cNvPr>
          <p:cNvSpPr/>
          <p:nvPr/>
        </p:nvSpPr>
        <p:spPr>
          <a:xfrm>
            <a:off x="2905125" y="308623"/>
            <a:ext cx="3333900" cy="3333900"/>
          </a:xfrm>
          <a:prstGeom prst="arc">
            <a:avLst>
              <a:gd name="adj1" fmla="val 20627233"/>
              <a:gd name="adj2" fmla="val 11693519"/>
            </a:avLst>
          </a:prstGeom>
          <a:noFill/>
          <a:ln w="12700" cap="flat" cmpd="sng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303744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oogle Shape;63;p2">
            <a:extLst>
              <a:ext uri="{FF2B5EF4-FFF2-40B4-BE49-F238E27FC236}">
                <a16:creationId xmlns:a16="http://schemas.microsoft.com/office/drawing/2014/main" xmlns="" id="{4B22D771-12A4-41D0-A38F-9E90415C870A}"/>
              </a:ext>
            </a:extLst>
          </p:cNvPr>
          <p:cNvGrpSpPr/>
          <p:nvPr/>
        </p:nvGrpSpPr>
        <p:grpSpPr>
          <a:xfrm>
            <a:off x="6133848" y="1469548"/>
            <a:ext cx="93704" cy="93704"/>
            <a:chOff x="2876318" y="1090613"/>
            <a:chExt cx="176700" cy="176700"/>
          </a:xfrm>
        </p:grpSpPr>
        <p:sp>
          <p:nvSpPr>
            <p:cNvPr id="98" name="Google Shape;64;p2">
              <a:extLst>
                <a:ext uri="{FF2B5EF4-FFF2-40B4-BE49-F238E27FC236}">
                  <a16:creationId xmlns:a16="http://schemas.microsoft.com/office/drawing/2014/main" xmlns="" id="{59736458-9CD3-4432-B4CF-4F2A5175393F}"/>
                </a:ext>
              </a:extLst>
            </p:cNvPr>
            <p:cNvSpPr/>
            <p:nvPr/>
          </p:nvSpPr>
          <p:spPr>
            <a:xfrm>
              <a:off x="2876318" y="1090613"/>
              <a:ext cx="176700" cy="176700"/>
            </a:xfrm>
            <a:prstGeom prst="ellipse">
              <a:avLst/>
            </a:prstGeom>
            <a:solidFill>
              <a:srgbClr val="1C45DF">
                <a:alpha val="4157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65;p2">
              <a:extLst>
                <a:ext uri="{FF2B5EF4-FFF2-40B4-BE49-F238E27FC236}">
                  <a16:creationId xmlns:a16="http://schemas.microsoft.com/office/drawing/2014/main" xmlns="" id="{D9C3094E-6F36-4FAB-9057-7E3C209BDB55}"/>
                </a:ext>
              </a:extLst>
            </p:cNvPr>
            <p:cNvSpPr/>
            <p:nvPr/>
          </p:nvSpPr>
          <p:spPr>
            <a:xfrm>
              <a:off x="2917579" y="1131874"/>
              <a:ext cx="94200" cy="94200"/>
            </a:xfrm>
            <a:prstGeom prst="ellipse">
              <a:avLst/>
            </a:prstGeom>
            <a:solidFill>
              <a:srgbClr val="1C45D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Google Shape;66;p2">
            <a:extLst>
              <a:ext uri="{FF2B5EF4-FFF2-40B4-BE49-F238E27FC236}">
                <a16:creationId xmlns:a16="http://schemas.microsoft.com/office/drawing/2014/main" xmlns="" id="{FC2930C1-C372-4EB9-8621-DEC1E37532D8}"/>
              </a:ext>
            </a:extLst>
          </p:cNvPr>
          <p:cNvGrpSpPr/>
          <p:nvPr/>
        </p:nvGrpSpPr>
        <p:grpSpPr>
          <a:xfrm>
            <a:off x="3529558" y="3253898"/>
            <a:ext cx="93704" cy="93704"/>
            <a:chOff x="2876318" y="1090613"/>
            <a:chExt cx="176700" cy="176700"/>
          </a:xfrm>
        </p:grpSpPr>
        <p:sp>
          <p:nvSpPr>
            <p:cNvPr id="101" name="Google Shape;67;p2">
              <a:extLst>
                <a:ext uri="{FF2B5EF4-FFF2-40B4-BE49-F238E27FC236}">
                  <a16:creationId xmlns:a16="http://schemas.microsoft.com/office/drawing/2014/main" xmlns="" id="{581EA2F3-106F-4681-B715-41E74F697D2F}"/>
                </a:ext>
              </a:extLst>
            </p:cNvPr>
            <p:cNvSpPr/>
            <p:nvPr/>
          </p:nvSpPr>
          <p:spPr>
            <a:xfrm>
              <a:off x="2876318" y="1090613"/>
              <a:ext cx="176700" cy="176700"/>
            </a:xfrm>
            <a:prstGeom prst="ellipse">
              <a:avLst/>
            </a:prstGeom>
            <a:solidFill>
              <a:srgbClr val="1C45DF">
                <a:alpha val="4157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68;p2">
              <a:extLst>
                <a:ext uri="{FF2B5EF4-FFF2-40B4-BE49-F238E27FC236}">
                  <a16:creationId xmlns:a16="http://schemas.microsoft.com/office/drawing/2014/main" xmlns="" id="{24A77725-6932-49C2-A492-69F65C3A0DF5}"/>
                </a:ext>
              </a:extLst>
            </p:cNvPr>
            <p:cNvSpPr/>
            <p:nvPr/>
          </p:nvSpPr>
          <p:spPr>
            <a:xfrm>
              <a:off x="2917579" y="1131874"/>
              <a:ext cx="94200" cy="94200"/>
            </a:xfrm>
            <a:prstGeom prst="ellipse">
              <a:avLst/>
            </a:prstGeom>
            <a:solidFill>
              <a:srgbClr val="1C45D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3" name="Google Shape;69;p2">
            <a:extLst>
              <a:ext uri="{FF2B5EF4-FFF2-40B4-BE49-F238E27FC236}">
                <a16:creationId xmlns:a16="http://schemas.microsoft.com/office/drawing/2014/main" xmlns="" id="{976054FF-F91D-4E80-B700-141CF2276B72}"/>
              </a:ext>
            </a:extLst>
          </p:cNvPr>
          <p:cNvGrpSpPr/>
          <p:nvPr/>
        </p:nvGrpSpPr>
        <p:grpSpPr>
          <a:xfrm>
            <a:off x="2921325" y="1469548"/>
            <a:ext cx="93704" cy="93704"/>
            <a:chOff x="2876318" y="1090613"/>
            <a:chExt cx="176700" cy="176700"/>
          </a:xfrm>
        </p:grpSpPr>
        <p:sp>
          <p:nvSpPr>
            <p:cNvPr id="104" name="Google Shape;70;p2">
              <a:extLst>
                <a:ext uri="{FF2B5EF4-FFF2-40B4-BE49-F238E27FC236}">
                  <a16:creationId xmlns:a16="http://schemas.microsoft.com/office/drawing/2014/main" xmlns="" id="{FD8C0478-E183-45F8-BE86-E8CFF1EF3BEF}"/>
                </a:ext>
              </a:extLst>
            </p:cNvPr>
            <p:cNvSpPr/>
            <p:nvPr/>
          </p:nvSpPr>
          <p:spPr>
            <a:xfrm>
              <a:off x="2876318" y="1090613"/>
              <a:ext cx="176700" cy="176700"/>
            </a:xfrm>
            <a:prstGeom prst="ellipse">
              <a:avLst/>
            </a:prstGeom>
            <a:solidFill>
              <a:srgbClr val="1C45DF">
                <a:alpha val="4157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" name="Google Shape;71;p2">
              <a:extLst>
                <a:ext uri="{FF2B5EF4-FFF2-40B4-BE49-F238E27FC236}">
                  <a16:creationId xmlns:a16="http://schemas.microsoft.com/office/drawing/2014/main" xmlns="" id="{846E4F06-E1E3-4D77-B776-B378F44CB847}"/>
                </a:ext>
              </a:extLst>
            </p:cNvPr>
            <p:cNvSpPr/>
            <p:nvPr/>
          </p:nvSpPr>
          <p:spPr>
            <a:xfrm>
              <a:off x="2917579" y="1131874"/>
              <a:ext cx="94200" cy="94200"/>
            </a:xfrm>
            <a:prstGeom prst="ellipse">
              <a:avLst/>
            </a:prstGeom>
            <a:solidFill>
              <a:srgbClr val="1C45D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6" name="Google Shape;72;p2">
            <a:extLst>
              <a:ext uri="{FF2B5EF4-FFF2-40B4-BE49-F238E27FC236}">
                <a16:creationId xmlns:a16="http://schemas.microsoft.com/office/drawing/2014/main" xmlns="" id="{4485F16E-5728-4355-A84D-C048B3C0AEF5}"/>
              </a:ext>
            </a:extLst>
          </p:cNvPr>
          <p:cNvGrpSpPr/>
          <p:nvPr/>
        </p:nvGrpSpPr>
        <p:grpSpPr>
          <a:xfrm>
            <a:off x="5517974" y="3253898"/>
            <a:ext cx="93704" cy="93704"/>
            <a:chOff x="2876318" y="1090613"/>
            <a:chExt cx="176700" cy="176700"/>
          </a:xfrm>
        </p:grpSpPr>
        <p:sp>
          <p:nvSpPr>
            <p:cNvPr id="107" name="Google Shape;73;p2">
              <a:extLst>
                <a:ext uri="{FF2B5EF4-FFF2-40B4-BE49-F238E27FC236}">
                  <a16:creationId xmlns:a16="http://schemas.microsoft.com/office/drawing/2014/main" xmlns="" id="{9729A228-8A89-42C3-B7F6-7A320A6A1969}"/>
                </a:ext>
              </a:extLst>
            </p:cNvPr>
            <p:cNvSpPr/>
            <p:nvPr/>
          </p:nvSpPr>
          <p:spPr>
            <a:xfrm>
              <a:off x="2876318" y="1090613"/>
              <a:ext cx="176700" cy="176700"/>
            </a:xfrm>
            <a:prstGeom prst="ellipse">
              <a:avLst/>
            </a:prstGeom>
            <a:solidFill>
              <a:srgbClr val="1C45DF">
                <a:alpha val="4157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74;p2">
              <a:extLst>
                <a:ext uri="{FF2B5EF4-FFF2-40B4-BE49-F238E27FC236}">
                  <a16:creationId xmlns:a16="http://schemas.microsoft.com/office/drawing/2014/main" xmlns="" id="{95EF2F6C-47E8-4ABB-B693-F05476CDA5FA}"/>
                </a:ext>
              </a:extLst>
            </p:cNvPr>
            <p:cNvSpPr/>
            <p:nvPr/>
          </p:nvSpPr>
          <p:spPr>
            <a:xfrm>
              <a:off x="2917579" y="1131874"/>
              <a:ext cx="94200" cy="94200"/>
            </a:xfrm>
            <a:prstGeom prst="ellipse">
              <a:avLst/>
            </a:prstGeom>
            <a:solidFill>
              <a:srgbClr val="1C45D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9" name="Google Shape;75;p2">
            <a:extLst>
              <a:ext uri="{FF2B5EF4-FFF2-40B4-BE49-F238E27FC236}">
                <a16:creationId xmlns:a16="http://schemas.microsoft.com/office/drawing/2014/main" xmlns="" id="{601A38E7-DA7A-41E0-92C1-D30DA970F781}"/>
              </a:ext>
            </a:extLst>
          </p:cNvPr>
          <p:cNvSpPr/>
          <p:nvPr/>
        </p:nvSpPr>
        <p:spPr>
          <a:xfrm>
            <a:off x="3488331" y="891829"/>
            <a:ext cx="2167200" cy="2167200"/>
          </a:xfrm>
          <a:prstGeom prst="ellipse">
            <a:avLst/>
          </a:prstGeom>
          <a:solidFill>
            <a:schemeClr val="bg1">
              <a:lumMod val="50000"/>
              <a:alpha val="25099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" name="Google Shape;76;p2">
            <a:extLst>
              <a:ext uri="{FF2B5EF4-FFF2-40B4-BE49-F238E27FC236}">
                <a16:creationId xmlns:a16="http://schemas.microsoft.com/office/drawing/2014/main" xmlns="" id="{83077756-97DE-45D3-A429-6AD97728F7D8}"/>
              </a:ext>
            </a:extLst>
          </p:cNvPr>
          <p:cNvSpPr/>
          <p:nvPr/>
        </p:nvSpPr>
        <p:spPr>
          <a:xfrm>
            <a:off x="3542031" y="945530"/>
            <a:ext cx="2059800" cy="2059800"/>
          </a:xfrm>
          <a:prstGeom prst="ellipse">
            <a:avLst/>
          </a:prstGeom>
          <a:solidFill>
            <a:srgbClr val="1C45DF"/>
          </a:solidFill>
          <a:ln>
            <a:noFill/>
          </a:ln>
          <a:effectLst>
            <a:outerShdw blurRad="114300" dist="50800" dir="1200000" algn="tl" rotWithShape="0">
              <a:srgbClr val="242933">
                <a:alpha val="1451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" name="Google Shape;77;p2">
            <a:extLst>
              <a:ext uri="{FF2B5EF4-FFF2-40B4-BE49-F238E27FC236}">
                <a16:creationId xmlns:a16="http://schemas.microsoft.com/office/drawing/2014/main" xmlns="" id="{586F8A9C-5E71-4E7D-AA1E-4D9710E3073E}"/>
              </a:ext>
            </a:extLst>
          </p:cNvPr>
          <p:cNvPicPr preferRelativeResize="0"/>
          <p:nvPr/>
        </p:nvPicPr>
        <p:blipFill rotWithShape="1">
          <a:blip r:embed="rId2">
            <a:alphaModFix amt="88000"/>
          </a:blip>
          <a:srcRect l="2498" t="-33077" r="6979" b="4970"/>
          <a:stretch/>
        </p:blipFill>
        <p:spPr>
          <a:xfrm>
            <a:off x="3541381" y="944879"/>
            <a:ext cx="2061300" cy="20613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</p:pic>
      <p:sp>
        <p:nvSpPr>
          <p:cNvPr id="112" name="Google Shape;78;p2">
            <a:extLst>
              <a:ext uri="{FF2B5EF4-FFF2-40B4-BE49-F238E27FC236}">
                <a16:creationId xmlns:a16="http://schemas.microsoft.com/office/drawing/2014/main" xmlns="" id="{7F6AA931-FC30-44FC-9790-AD3FF1AB1A33}"/>
              </a:ext>
            </a:extLst>
          </p:cNvPr>
          <p:cNvSpPr/>
          <p:nvPr/>
        </p:nvSpPr>
        <p:spPr>
          <a:xfrm>
            <a:off x="3610602" y="1014101"/>
            <a:ext cx="1922700" cy="1922700"/>
          </a:xfrm>
          <a:prstGeom prst="ellipse">
            <a:avLst/>
          </a:prstGeom>
          <a:noFill/>
          <a:ln w="12700" cap="flat" cmpd="sng">
            <a:solidFill>
              <a:srgbClr val="FFFFFF">
                <a:alpha val="8196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79;p2">
            <a:extLst>
              <a:ext uri="{FF2B5EF4-FFF2-40B4-BE49-F238E27FC236}">
                <a16:creationId xmlns:a16="http://schemas.microsoft.com/office/drawing/2014/main" xmlns="" id="{6725C1CF-F07D-4546-8230-D62F2F0C8D93}"/>
              </a:ext>
            </a:extLst>
          </p:cNvPr>
          <p:cNvSpPr/>
          <p:nvPr/>
        </p:nvSpPr>
        <p:spPr>
          <a:xfrm>
            <a:off x="3510891" y="1491429"/>
            <a:ext cx="2061300" cy="84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 defTabSz="914400">
              <a:buClr>
                <a:srgbClr val="000000"/>
              </a:buClr>
              <a:buSzPts val="2500"/>
              <a:buFont typeface="Arial"/>
              <a:buNone/>
            </a:pPr>
            <a:r>
              <a:rPr lang="ru-RU" sz="1400" b="1" kern="0" dirty="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Управление знаниями и обеспечение их трансфера</a:t>
            </a:r>
            <a:endParaRPr sz="1400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" name="Google Shape;80;p2">
            <a:extLst>
              <a:ext uri="{FF2B5EF4-FFF2-40B4-BE49-F238E27FC236}">
                <a16:creationId xmlns:a16="http://schemas.microsoft.com/office/drawing/2014/main" xmlns="" id="{899B3618-876B-4FA9-84E4-62F6146CC320}"/>
              </a:ext>
            </a:extLst>
          </p:cNvPr>
          <p:cNvSpPr/>
          <p:nvPr/>
        </p:nvSpPr>
        <p:spPr>
          <a:xfrm>
            <a:off x="3390900" y="794398"/>
            <a:ext cx="2362200" cy="2362200"/>
          </a:xfrm>
          <a:prstGeom prst="arc">
            <a:avLst>
              <a:gd name="adj1" fmla="val 20627233"/>
              <a:gd name="adj2" fmla="val 11693519"/>
            </a:avLst>
          </a:prstGeom>
          <a:noFill/>
          <a:ln w="12700" cap="flat" cmpd="sng">
            <a:solidFill>
              <a:srgbClr val="BFBFBF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30374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BBC8AFA-FFD9-49FF-B20F-1A6AF9E4D2B5}"/>
              </a:ext>
            </a:extLst>
          </p:cNvPr>
          <p:cNvSpPr txBox="1"/>
          <p:nvPr/>
        </p:nvSpPr>
        <p:spPr>
          <a:xfrm>
            <a:off x="616948" y="766213"/>
            <a:ext cx="33339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>
                <a:solidFill>
                  <a:schemeClr val="accent1">
                    <a:lumMod val="75000"/>
                  </a:schemeClr>
                </a:solidFill>
              </a:rPr>
              <a:t>Цели и задачи Центра компетенции</a:t>
            </a:r>
          </a:p>
        </p:txBody>
      </p:sp>
    </p:spTree>
    <p:extLst>
      <p:ext uri="{BB962C8B-B14F-4D97-AF65-F5344CB8AC3E}">
        <p14:creationId xmlns:p14="http://schemas.microsoft.com/office/powerpoint/2010/main" val="5587824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 flipV="1">
            <a:off x="1936508" y="2304317"/>
            <a:ext cx="5238582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255"/>
          <p:cNvCxnSpPr/>
          <p:nvPr/>
        </p:nvCxnSpPr>
        <p:spPr>
          <a:xfrm>
            <a:off x="1936508" y="2304315"/>
            <a:ext cx="0" cy="300254"/>
          </a:xfrm>
          <a:prstGeom prst="line">
            <a:avLst/>
          </a:prstGeom>
          <a:ln w="952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255"/>
          <p:cNvCxnSpPr/>
          <p:nvPr/>
        </p:nvCxnSpPr>
        <p:spPr>
          <a:xfrm>
            <a:off x="3755540" y="2296360"/>
            <a:ext cx="0" cy="300254"/>
          </a:xfrm>
          <a:prstGeom prst="line">
            <a:avLst/>
          </a:prstGeom>
          <a:ln w="952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255"/>
          <p:cNvCxnSpPr/>
          <p:nvPr/>
        </p:nvCxnSpPr>
        <p:spPr>
          <a:xfrm>
            <a:off x="5427238" y="2304313"/>
            <a:ext cx="1" cy="300254"/>
          </a:xfrm>
          <a:prstGeom prst="line">
            <a:avLst/>
          </a:prstGeom>
          <a:ln w="952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255"/>
          <p:cNvCxnSpPr/>
          <p:nvPr/>
        </p:nvCxnSpPr>
        <p:spPr>
          <a:xfrm flipH="1">
            <a:off x="4495765" y="756184"/>
            <a:ext cx="26" cy="1557704"/>
          </a:xfrm>
          <a:prstGeom prst="line">
            <a:avLst/>
          </a:prstGeom>
          <a:ln w="952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255"/>
          <p:cNvCxnSpPr/>
          <p:nvPr/>
        </p:nvCxnSpPr>
        <p:spPr>
          <a:xfrm>
            <a:off x="7175090" y="2313889"/>
            <a:ext cx="0" cy="287191"/>
          </a:xfrm>
          <a:prstGeom prst="line">
            <a:avLst/>
          </a:prstGeom>
          <a:ln w="952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114"/>
          <p:cNvSpPr/>
          <p:nvPr/>
        </p:nvSpPr>
        <p:spPr>
          <a:xfrm>
            <a:off x="1418870" y="2604567"/>
            <a:ext cx="1215000" cy="324036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700" b="1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23" name="Прямоугольник 114"/>
          <p:cNvSpPr/>
          <p:nvPr/>
        </p:nvSpPr>
        <p:spPr>
          <a:xfrm>
            <a:off x="6601734" y="1166658"/>
            <a:ext cx="1153787" cy="32403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chemeClr val="tx1"/>
            </a:solidFill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7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Ассистент Руководителя БН</a:t>
            </a:r>
          </a:p>
        </p:txBody>
      </p:sp>
      <p:cxnSp>
        <p:nvCxnSpPr>
          <p:cNvPr id="26" name="Прямая соединительная линия 255"/>
          <p:cNvCxnSpPr/>
          <p:nvPr/>
        </p:nvCxnSpPr>
        <p:spPr>
          <a:xfrm flipH="1">
            <a:off x="1513409" y="3279083"/>
            <a:ext cx="2" cy="1506916"/>
          </a:xfrm>
          <a:prstGeom prst="line">
            <a:avLst/>
          </a:prstGeom>
          <a:ln w="952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73"/>
          <p:cNvSpPr/>
          <p:nvPr/>
        </p:nvSpPr>
        <p:spPr>
          <a:xfrm>
            <a:off x="1670270" y="3489854"/>
            <a:ext cx="1031273" cy="4209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marL="128573" indent="-128573">
              <a:buFont typeface="Wingdings" panose="05000000000000000000" pitchFamily="2" charset="2"/>
              <a:buChar char="§"/>
            </a:pPr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рофессиональное образование</a:t>
            </a:r>
          </a:p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(1-3 года)</a:t>
            </a:r>
          </a:p>
        </p:txBody>
      </p:sp>
      <p:sp>
        <p:nvSpPr>
          <p:cNvPr id="35" name="Прямоугольник 73"/>
          <p:cNvSpPr/>
          <p:nvPr/>
        </p:nvSpPr>
        <p:spPr>
          <a:xfrm>
            <a:off x="1670270" y="3910763"/>
            <a:ext cx="1031273" cy="20278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marL="128573" indent="-128573">
              <a:buFont typeface="Arial" panose="020B0604020202020204" pitchFamily="34" charset="0"/>
              <a:buChar char="•"/>
            </a:pPr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ереподготовка</a:t>
            </a:r>
          </a:p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(6 мес.) </a:t>
            </a:r>
          </a:p>
        </p:txBody>
      </p:sp>
      <p:sp>
        <p:nvSpPr>
          <p:cNvPr id="36" name="Прямоугольник 73"/>
          <p:cNvSpPr/>
          <p:nvPr/>
        </p:nvSpPr>
        <p:spPr>
          <a:xfrm>
            <a:off x="1672850" y="4109362"/>
            <a:ext cx="1028693" cy="27795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marL="128573" indent="-128573">
              <a:buFont typeface="Arial" panose="020B0604020202020204" pitchFamily="34" charset="0"/>
              <a:buChar char="•"/>
            </a:pPr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овышение квалификации</a:t>
            </a:r>
          </a:p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(3-4 мес.)</a:t>
            </a: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1513409" y="4029913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255"/>
          <p:cNvCxnSpPr/>
          <p:nvPr/>
        </p:nvCxnSpPr>
        <p:spPr>
          <a:xfrm>
            <a:off x="3182439" y="3273830"/>
            <a:ext cx="5157" cy="1620179"/>
          </a:xfrm>
          <a:prstGeom prst="line">
            <a:avLst/>
          </a:prstGeom>
          <a:ln w="952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73"/>
          <p:cNvSpPr/>
          <p:nvPr/>
        </p:nvSpPr>
        <p:spPr>
          <a:xfrm>
            <a:off x="3339297" y="3484601"/>
            <a:ext cx="869255" cy="3066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ЕНБЕК.КЗ</a:t>
            </a:r>
          </a:p>
        </p:txBody>
      </p:sp>
      <p:sp>
        <p:nvSpPr>
          <p:cNvPr id="46" name="Прямоугольник 73"/>
          <p:cNvSpPr/>
          <p:nvPr/>
        </p:nvSpPr>
        <p:spPr>
          <a:xfrm>
            <a:off x="3339297" y="3905511"/>
            <a:ext cx="869255" cy="3066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Социальные рабочие места (50/50)</a:t>
            </a:r>
          </a:p>
        </p:txBody>
      </p:sp>
      <p:sp>
        <p:nvSpPr>
          <p:cNvPr id="47" name="Прямоугольник 73"/>
          <p:cNvSpPr/>
          <p:nvPr/>
        </p:nvSpPr>
        <p:spPr>
          <a:xfrm>
            <a:off x="3344456" y="4312116"/>
            <a:ext cx="869255" cy="3066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Молодежная практика</a:t>
            </a:r>
          </a:p>
        </p:txBody>
      </p:sp>
      <p:cxnSp>
        <p:nvCxnSpPr>
          <p:cNvPr id="48" name="Прямая соединительная линия 47"/>
          <p:cNvCxnSpPr>
            <a:endCxn id="45" idx="1"/>
          </p:cNvCxnSpPr>
          <p:nvPr/>
        </p:nvCxnSpPr>
        <p:spPr>
          <a:xfrm>
            <a:off x="3182437" y="3637906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182437" y="4024660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182437" y="4510714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73"/>
          <p:cNvSpPr/>
          <p:nvPr/>
        </p:nvSpPr>
        <p:spPr>
          <a:xfrm>
            <a:off x="3349614" y="4749417"/>
            <a:ext cx="869255" cy="3066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Общественные работы</a:t>
            </a: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3187595" y="4894009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255"/>
          <p:cNvCxnSpPr/>
          <p:nvPr/>
        </p:nvCxnSpPr>
        <p:spPr>
          <a:xfrm>
            <a:off x="4910305" y="3273830"/>
            <a:ext cx="5157" cy="1134127"/>
          </a:xfrm>
          <a:prstGeom prst="line">
            <a:avLst/>
          </a:prstGeom>
          <a:ln w="952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73"/>
          <p:cNvSpPr/>
          <p:nvPr/>
        </p:nvSpPr>
        <p:spPr>
          <a:xfrm>
            <a:off x="5067163" y="3484601"/>
            <a:ext cx="869255" cy="3066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«</a:t>
            </a:r>
            <a:r>
              <a:rPr lang="en-US" sz="600" b="1" dirty="0" err="1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Bastau</a:t>
            </a:r>
            <a:r>
              <a:rPr lang="en-US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Бизнес»</a:t>
            </a:r>
          </a:p>
        </p:txBody>
      </p:sp>
      <p:sp>
        <p:nvSpPr>
          <p:cNvPr id="56" name="Прямоугольник 73"/>
          <p:cNvSpPr/>
          <p:nvPr/>
        </p:nvSpPr>
        <p:spPr>
          <a:xfrm>
            <a:off x="5077806" y="3905510"/>
            <a:ext cx="869255" cy="4066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marL="128573" indent="-128573">
              <a:buFont typeface="Arial" panose="020B0604020202020204" pitchFamily="34" charset="0"/>
              <a:buChar char="•"/>
            </a:pPr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Микро-кредитование и гарантирование</a:t>
            </a:r>
          </a:p>
        </p:txBody>
      </p:sp>
      <p:sp>
        <p:nvSpPr>
          <p:cNvPr id="57" name="Прямоугольник 73"/>
          <p:cNvSpPr/>
          <p:nvPr/>
        </p:nvSpPr>
        <p:spPr>
          <a:xfrm>
            <a:off x="5077805" y="4258659"/>
            <a:ext cx="864096" cy="25730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marL="128573" indent="-128573">
              <a:buFont typeface="Arial" panose="020B0604020202020204" pitchFamily="34" charset="0"/>
              <a:buChar char="•"/>
            </a:pPr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Гранты</a:t>
            </a:r>
          </a:p>
        </p:txBody>
      </p:sp>
      <p:cxnSp>
        <p:nvCxnSpPr>
          <p:cNvPr id="58" name="Прямая соединительная линия 57"/>
          <p:cNvCxnSpPr>
            <a:endCxn id="55" idx="1"/>
          </p:cNvCxnSpPr>
          <p:nvPr/>
        </p:nvCxnSpPr>
        <p:spPr>
          <a:xfrm>
            <a:off x="4910302" y="3637906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4910302" y="4024660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4910302" y="4407956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73"/>
          <p:cNvSpPr/>
          <p:nvPr/>
        </p:nvSpPr>
        <p:spPr>
          <a:xfrm>
            <a:off x="1670269" y="4623980"/>
            <a:ext cx="1031272" cy="3066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600" b="1" dirty="0" err="1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Жастар</a:t>
            </a:r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- ел </a:t>
            </a:r>
            <a:r>
              <a:rPr lang="ru-RU" sz="600" b="1" dirty="0" err="1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тірегі</a:t>
            </a:r>
            <a:endParaRPr lang="ru-RU" sz="600" b="1" dirty="0">
              <a:solidFill>
                <a:srgbClr val="575757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513409" y="4785998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255"/>
          <p:cNvCxnSpPr/>
          <p:nvPr/>
        </p:nvCxnSpPr>
        <p:spPr>
          <a:xfrm>
            <a:off x="6535970" y="3273828"/>
            <a:ext cx="5157" cy="756084"/>
          </a:xfrm>
          <a:prstGeom prst="line">
            <a:avLst/>
          </a:prstGeom>
          <a:ln w="952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73"/>
          <p:cNvSpPr/>
          <p:nvPr/>
        </p:nvSpPr>
        <p:spPr>
          <a:xfrm>
            <a:off x="6692828" y="3484601"/>
            <a:ext cx="869255" cy="3066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рограмма «</a:t>
            </a:r>
            <a:r>
              <a:rPr lang="ru-RU" sz="600" b="1" dirty="0" err="1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Серпін</a:t>
            </a:r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69" name="Прямоугольник 73"/>
          <p:cNvSpPr/>
          <p:nvPr/>
        </p:nvSpPr>
        <p:spPr>
          <a:xfrm>
            <a:off x="6692828" y="3905511"/>
            <a:ext cx="869255" cy="3066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600" b="1" dirty="0">
                <a:solidFill>
                  <a:srgbClr val="575757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Добровольное переселение</a:t>
            </a: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6535967" y="3637906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6535967" y="4024660"/>
            <a:ext cx="156860" cy="1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352243" y="2334537"/>
            <a:ext cx="692279" cy="415488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kk-KZ" sz="700" b="1" dirty="0">
                <a:latin typeface="Georgia" panose="02040502050405020303" pitchFamily="18" charset="0"/>
              </a:rPr>
              <a:t>Группа проектов </a:t>
            </a:r>
            <a:r>
              <a:rPr lang="ru-RU" sz="700" b="1" dirty="0"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137020" y="2334537"/>
            <a:ext cx="692279" cy="415488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kk-KZ" sz="700" b="1" dirty="0">
                <a:latin typeface="Georgia" panose="02040502050405020303" pitchFamily="18" charset="0"/>
              </a:rPr>
              <a:t>Группа проектов </a:t>
            </a:r>
            <a:r>
              <a:rPr lang="ru-RU" sz="700" b="1" dirty="0"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764663" y="2334537"/>
            <a:ext cx="692279" cy="415488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kk-KZ" sz="700" b="1" dirty="0">
                <a:latin typeface="Georgia" panose="02040502050405020303" pitchFamily="18" charset="0"/>
              </a:rPr>
              <a:t>Группа проектов </a:t>
            </a:r>
            <a:r>
              <a:rPr lang="ru-RU" sz="700" b="1" dirty="0">
                <a:latin typeface="Georgia" panose="02040502050405020303" pitchFamily="18" charset="0"/>
              </a:rPr>
              <a:t>3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486759" y="2326806"/>
            <a:ext cx="692279" cy="415488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kk-KZ" sz="700" b="1" dirty="0">
                <a:latin typeface="Georgia" panose="02040502050405020303" pitchFamily="18" charset="0"/>
              </a:rPr>
              <a:t>Группа проектов </a:t>
            </a:r>
            <a:r>
              <a:rPr lang="ru-RU" sz="700" b="1" dirty="0">
                <a:latin typeface="Georgia" panose="02040502050405020303" pitchFamily="18" charset="0"/>
              </a:rPr>
              <a:t>4</a:t>
            </a:r>
          </a:p>
        </p:txBody>
      </p:sp>
      <p:cxnSp>
        <p:nvCxnSpPr>
          <p:cNvPr id="78" name="Google Shape;28062;p16"/>
          <p:cNvCxnSpPr/>
          <p:nvPr/>
        </p:nvCxnSpPr>
        <p:spPr>
          <a:xfrm>
            <a:off x="3893911" y="1988296"/>
            <a:ext cx="969627" cy="0"/>
          </a:xfrm>
          <a:prstGeom prst="straightConnector1">
            <a:avLst/>
          </a:prstGeom>
          <a:noFill/>
          <a:ln w="9525" cap="flat" cmpd="sng">
            <a:solidFill>
              <a:srgbClr val="072B6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0" name="Google Shape;28057;p16"/>
          <p:cNvSpPr/>
          <p:nvPr/>
        </p:nvSpPr>
        <p:spPr>
          <a:xfrm>
            <a:off x="3715277" y="1437678"/>
            <a:ext cx="1593746" cy="341416"/>
          </a:xfrm>
          <a:prstGeom prst="rect">
            <a:avLst/>
          </a:prstGeom>
          <a:solidFill>
            <a:srgbClr val="00B0F0"/>
          </a:solidFill>
          <a:ln w="317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541" tIns="13761" rIns="27541" bIns="13761" anchor="ctr" anchorCtr="0">
            <a:noAutofit/>
          </a:bodyPr>
          <a:lstStyle/>
          <a:p>
            <a:pPr lvl="0" algn="r">
              <a:buClr>
                <a:srgbClr val="000000"/>
              </a:buClr>
            </a:pPr>
            <a:r>
              <a:rPr lang="ru-RU" sz="700" b="1" dirty="0">
                <a:solidFill>
                  <a:srgbClr val="3477B2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              </a:t>
            </a:r>
            <a:r>
              <a:rPr lang="ru-RU" sz="8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onsolas" panose="020B0609020204030204" pitchFamily="49" charset="0"/>
              </a:rPr>
              <a:t>Руководитель ГУ БН</a:t>
            </a:r>
            <a:endParaRPr lang="ru-RU" sz="700" b="1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lvl="0" algn="r">
              <a:buClr>
                <a:srgbClr val="000000"/>
              </a:buClr>
            </a:pPr>
            <a:r>
              <a:rPr lang="ru-RU" sz="700" b="1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</a:t>
            </a:r>
            <a:r>
              <a:rPr lang="ru-RU" sz="700" b="1" kern="0" dirty="0">
                <a:solidFill>
                  <a:srgbClr val="FF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/>
              </a:rPr>
              <a:t>(</a:t>
            </a:r>
            <a:r>
              <a:rPr lang="en-US" sz="700" b="1" kern="0" dirty="0">
                <a:solidFill>
                  <a:srgbClr val="FF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/>
              </a:rPr>
              <a:t>full time)</a:t>
            </a:r>
            <a:endParaRPr sz="700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</a:endParaRPr>
          </a:p>
          <a:p>
            <a:pPr algn="r"/>
            <a:r>
              <a:rPr lang="ru-RU" sz="700" b="1" dirty="0">
                <a:solidFill>
                  <a:srgbClr val="FF0000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           ФИО</a:t>
            </a:r>
            <a:endParaRPr sz="700" dirty="0">
              <a:latin typeface="Georgia" panose="02040502050405020303" pitchFamily="18" charset="0"/>
            </a:endParaRPr>
          </a:p>
        </p:txBody>
      </p:sp>
      <p:sp>
        <p:nvSpPr>
          <p:cNvPr id="81" name="Google Shape;28065;p16"/>
          <p:cNvSpPr/>
          <p:nvPr/>
        </p:nvSpPr>
        <p:spPr>
          <a:xfrm>
            <a:off x="4768962" y="1840724"/>
            <a:ext cx="1582983" cy="353038"/>
          </a:xfrm>
          <a:prstGeom prst="rect">
            <a:avLst/>
          </a:prstGeom>
          <a:solidFill>
            <a:srgbClr val="00B0F0"/>
          </a:solidFill>
          <a:ln w="317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541" tIns="13761" rIns="27541" bIns="13761" anchor="ctr" anchorCtr="0">
            <a:noAutofit/>
          </a:bodyPr>
          <a:lstStyle/>
          <a:p>
            <a:endParaRPr lang="ru-RU" sz="700" b="1" dirty="0">
              <a:solidFill>
                <a:srgbClr val="3477B2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r>
              <a:rPr lang="ru-RU" sz="700" b="1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</a:t>
            </a:r>
            <a:r>
              <a:rPr lang="ru-RU" sz="8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onsolas" panose="020B0609020204030204" pitchFamily="49" charset="0"/>
              </a:rPr>
              <a:t>Администратор ГУ БН</a:t>
            </a:r>
            <a:endParaRPr lang="ru-RU" sz="700" b="1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lvl="0">
              <a:buClr>
                <a:srgbClr val="000000"/>
              </a:buClr>
            </a:pPr>
            <a:r>
              <a:rPr lang="en-US" sz="700" b="1" kern="0" dirty="0">
                <a:solidFill>
                  <a:srgbClr val="FF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/>
              </a:rPr>
              <a:t>(full time)</a:t>
            </a:r>
            <a:endParaRPr lang="en-US" sz="700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</a:endParaRPr>
          </a:p>
          <a:p>
            <a:pPr lvl="0"/>
            <a:r>
              <a:rPr lang="en-US" sz="700" b="1" dirty="0">
                <a:solidFill>
                  <a:srgbClr val="FF0000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</a:t>
            </a:r>
            <a:r>
              <a:rPr lang="ru-RU" sz="700" b="1" dirty="0">
                <a:solidFill>
                  <a:srgbClr val="FF0000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ФИО</a:t>
            </a:r>
            <a:endParaRPr sz="700" dirty="0">
              <a:latin typeface="Georgia" panose="02040502050405020303" pitchFamily="18" charset="0"/>
            </a:endParaRPr>
          </a:p>
          <a:p>
            <a:endParaRPr sz="700" b="1" dirty="0">
              <a:solidFill>
                <a:srgbClr val="575757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85" name="Google Shape;28065;p16"/>
          <p:cNvSpPr/>
          <p:nvPr/>
        </p:nvSpPr>
        <p:spPr>
          <a:xfrm>
            <a:off x="2687042" y="1840724"/>
            <a:ext cx="1560923" cy="353037"/>
          </a:xfrm>
          <a:prstGeom prst="rect">
            <a:avLst/>
          </a:prstGeom>
          <a:solidFill>
            <a:srgbClr val="00B0F0"/>
          </a:solidFill>
          <a:ln w="317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541" tIns="13761" rIns="27541" bIns="13761" anchor="ctr" anchorCtr="0">
            <a:noAutofit/>
          </a:bodyPr>
          <a:lstStyle/>
          <a:p>
            <a:pPr algn="ctr"/>
            <a:endParaRPr sz="700" b="1" dirty="0">
              <a:solidFill>
                <a:srgbClr val="3477B2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algn="r"/>
            <a:r>
              <a:rPr lang="ru-RU" sz="700" b="1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        </a:t>
            </a:r>
            <a:r>
              <a:rPr lang="ru-RU" sz="8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onsolas" panose="020B0609020204030204" pitchFamily="49" charset="0"/>
              </a:rPr>
              <a:t>Главный менеджер</a:t>
            </a:r>
            <a:r>
              <a:rPr lang="ru-RU" sz="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onsolas" panose="020B0609020204030204" pitchFamily="49" charset="0"/>
              </a:rPr>
              <a:t> </a:t>
            </a:r>
            <a:r>
              <a:rPr lang="ru-RU" sz="8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onsolas" panose="020B0609020204030204" pitchFamily="49" charset="0"/>
              </a:rPr>
              <a:t>ГУ БН</a:t>
            </a:r>
            <a:endParaRPr lang="ru-RU" sz="700" b="1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lvl="0" algn="r">
              <a:buClr>
                <a:srgbClr val="000000"/>
              </a:buClr>
            </a:pPr>
            <a:r>
              <a:rPr lang="en-US" sz="700" b="1" kern="0" dirty="0">
                <a:solidFill>
                  <a:srgbClr val="FF0000"/>
                </a:solidFill>
                <a:latin typeface="Georgia" panose="02040502050405020303" pitchFamily="18" charset="0"/>
                <a:cs typeface="Arial" panose="020B0604020202020204" pitchFamily="34" charset="0"/>
                <a:sym typeface="Arial"/>
              </a:rPr>
              <a:t>(full time)</a:t>
            </a:r>
            <a:endParaRPr lang="en-US" sz="700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</a:endParaRPr>
          </a:p>
          <a:p>
            <a:pPr lvl="0" algn="r"/>
            <a:r>
              <a:rPr lang="en-US" sz="700" b="1" dirty="0">
                <a:solidFill>
                  <a:srgbClr val="FF0000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           </a:t>
            </a:r>
            <a:r>
              <a:rPr lang="ru-RU" sz="700" b="1" dirty="0">
                <a:solidFill>
                  <a:srgbClr val="FF0000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ФИО</a:t>
            </a:r>
            <a:endParaRPr lang="ru-RU" sz="700" dirty="0">
              <a:latin typeface="Georgia" panose="02040502050405020303" pitchFamily="18" charset="0"/>
            </a:endParaRPr>
          </a:p>
          <a:p>
            <a:pPr algn="ctr"/>
            <a:endParaRPr sz="700" b="1" dirty="0">
              <a:solidFill>
                <a:srgbClr val="575757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87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9299" y="1486531"/>
            <a:ext cx="291593" cy="27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7095" y="1879652"/>
            <a:ext cx="291593" cy="27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547" y="1876014"/>
            <a:ext cx="291593" cy="27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Google Shape;28063;p16"/>
          <p:cNvSpPr/>
          <p:nvPr/>
        </p:nvSpPr>
        <p:spPr>
          <a:xfrm>
            <a:off x="2539525" y="1402564"/>
            <a:ext cx="3922777" cy="848725"/>
          </a:xfrm>
          <a:prstGeom prst="rect">
            <a:avLst/>
          </a:prstGeom>
          <a:noFill/>
          <a:ln w="12700" cap="flat" cmpd="sng">
            <a:solidFill>
              <a:srgbClr val="121429"/>
            </a:solidFill>
            <a:prstDash val="lgDashDot"/>
            <a:round/>
            <a:headEnd type="none" w="sm" len="sm"/>
            <a:tailEnd type="none" w="sm" len="sm"/>
          </a:ln>
        </p:spPr>
        <p:txBody>
          <a:bodyPr spcFirstLastPara="1" wrap="square" lIns="68561" tIns="34271" rIns="68561" bIns="34271" anchor="ctr" anchorCtr="0">
            <a:noAutofit/>
          </a:bodyPr>
          <a:lstStyle/>
          <a:p>
            <a:pPr algn="ctr"/>
            <a:endParaRPr sz="800">
              <a:solidFill>
                <a:schemeClr val="lt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91" name="Google Shape;28064;p16"/>
          <p:cNvSpPr/>
          <p:nvPr/>
        </p:nvSpPr>
        <p:spPr>
          <a:xfrm>
            <a:off x="1824602" y="873020"/>
            <a:ext cx="1351547" cy="296100"/>
          </a:xfrm>
          <a:prstGeom prst="wedgeRectCallout">
            <a:avLst>
              <a:gd name="adj1" fmla="val 35864"/>
              <a:gd name="adj2" fmla="val 125963"/>
            </a:avLst>
          </a:prstGeom>
          <a:noFill/>
          <a:ln w="12700" cap="flat" cmpd="sng">
            <a:solidFill>
              <a:srgbClr val="121429"/>
            </a:solidFill>
            <a:prstDash val="lgDashDot"/>
            <a:round/>
            <a:headEnd type="none" w="sm" len="sm"/>
            <a:tailEnd type="none" w="sm" len="sm"/>
          </a:ln>
        </p:spPr>
        <p:txBody>
          <a:bodyPr spcFirstLastPara="1" wrap="square" lIns="68561" tIns="34271" rIns="68561" bIns="34271" anchor="ctr" anchorCtr="0">
            <a:noAutofit/>
          </a:bodyPr>
          <a:lstStyle/>
          <a:p>
            <a:pPr algn="ctr"/>
            <a:r>
              <a:rPr lang="ru-RU" sz="800" b="1" dirty="0">
                <a:solidFill>
                  <a:srgbClr val="C00000"/>
                </a:solidFill>
                <a:latin typeface="Georgia" panose="02040502050405020303" pitchFamily="18" charset="0"/>
              </a:rPr>
              <a:t>Группа Управления БН</a:t>
            </a:r>
            <a:endParaRPr sz="800" b="1" dirty="0">
              <a:solidFill>
                <a:srgbClr val="C00000"/>
              </a:solidFill>
              <a:latin typeface="Georgia" panose="02040502050405020303" pitchFamily="18" charset="0"/>
            </a:endParaRPr>
          </a:p>
        </p:txBody>
      </p:sp>
      <p:sp>
        <p:nvSpPr>
          <p:cNvPr id="94" name="Google Shape;28065;p16"/>
          <p:cNvSpPr/>
          <p:nvPr/>
        </p:nvSpPr>
        <p:spPr>
          <a:xfrm>
            <a:off x="1424795" y="2926355"/>
            <a:ext cx="1209077" cy="353037"/>
          </a:xfrm>
          <a:prstGeom prst="rect">
            <a:avLst/>
          </a:prstGeom>
          <a:solidFill>
            <a:srgbClr val="00B0F0"/>
          </a:solidFill>
          <a:ln w="317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541" tIns="13761" rIns="27541" bIns="13761" anchor="ctr" anchorCtr="0">
            <a:noAutofit/>
          </a:bodyPr>
          <a:lstStyle/>
          <a:p>
            <a:pPr algn="ctr"/>
            <a:endParaRPr sz="700" b="1" dirty="0">
              <a:solidFill>
                <a:srgbClr val="3477B2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algn="r"/>
            <a:r>
              <a:rPr lang="ru-RU" sz="700" b="1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        </a:t>
            </a:r>
            <a:r>
              <a:rPr lang="ru-RU" sz="8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onsolas" panose="020B0609020204030204" pitchFamily="49" charset="0"/>
              </a:rPr>
              <a:t>Руководитель Группы проектов 1</a:t>
            </a:r>
            <a:endParaRPr lang="ru-RU" sz="700" b="1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lvl="0" algn="r">
              <a:buClr>
                <a:srgbClr val="000000"/>
              </a:buClr>
            </a:pPr>
            <a:r>
              <a:rPr lang="ru-RU" sz="700" b="1" dirty="0">
                <a:solidFill>
                  <a:srgbClr val="FF0000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ФИО</a:t>
            </a:r>
          </a:p>
          <a:p>
            <a:pPr algn="ctr"/>
            <a:endParaRPr sz="700" b="1" dirty="0">
              <a:solidFill>
                <a:srgbClr val="575757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96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9654" y="2968708"/>
            <a:ext cx="291593" cy="27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" name="Прямоугольник 114"/>
          <p:cNvSpPr/>
          <p:nvPr/>
        </p:nvSpPr>
        <p:spPr>
          <a:xfrm>
            <a:off x="3069048" y="2604567"/>
            <a:ext cx="1204200" cy="324036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700" b="1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Трудоустройство</a:t>
            </a:r>
          </a:p>
        </p:txBody>
      </p:sp>
      <p:sp>
        <p:nvSpPr>
          <p:cNvPr id="100" name="Google Shape;28065;p16"/>
          <p:cNvSpPr/>
          <p:nvPr/>
        </p:nvSpPr>
        <p:spPr>
          <a:xfrm>
            <a:off x="3072540" y="2926355"/>
            <a:ext cx="1199110" cy="353037"/>
          </a:xfrm>
          <a:prstGeom prst="rect">
            <a:avLst/>
          </a:prstGeom>
          <a:solidFill>
            <a:srgbClr val="00B0F0"/>
          </a:solidFill>
          <a:ln w="317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541" tIns="13761" rIns="27541" bIns="13761" anchor="ctr" anchorCtr="0">
            <a:noAutofit/>
          </a:bodyPr>
          <a:lstStyle/>
          <a:p>
            <a:pPr algn="ctr"/>
            <a:endParaRPr sz="700" b="1" dirty="0">
              <a:solidFill>
                <a:srgbClr val="3477B2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algn="r"/>
            <a:r>
              <a:rPr lang="ru-RU" sz="700" b="1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        </a:t>
            </a:r>
            <a:r>
              <a:rPr lang="ru-RU" sz="8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onsolas" panose="020B0609020204030204" pitchFamily="49" charset="0"/>
              </a:rPr>
              <a:t>Руководитель Группы проектов 1</a:t>
            </a:r>
            <a:endParaRPr lang="ru-RU" sz="700" b="1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lvl="0" algn="r">
              <a:buClr>
                <a:srgbClr val="000000"/>
              </a:buClr>
            </a:pPr>
            <a:r>
              <a:rPr lang="ru-RU" sz="700" b="1" dirty="0">
                <a:solidFill>
                  <a:srgbClr val="FF0000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ФИО</a:t>
            </a:r>
            <a:endParaRPr lang="ru-RU" sz="700" dirty="0">
              <a:latin typeface="Georgia" panose="02040502050405020303" pitchFamily="18" charset="0"/>
            </a:endParaRPr>
          </a:p>
          <a:p>
            <a:pPr algn="ctr"/>
            <a:endParaRPr sz="700" b="1" dirty="0">
              <a:solidFill>
                <a:srgbClr val="575757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101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7399" y="2968708"/>
            <a:ext cx="291593" cy="27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Прямоугольник 114"/>
          <p:cNvSpPr/>
          <p:nvPr/>
        </p:nvSpPr>
        <p:spPr>
          <a:xfrm>
            <a:off x="4817132" y="2610349"/>
            <a:ext cx="1204200" cy="324036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700" b="1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Развитие предпринимательства</a:t>
            </a:r>
          </a:p>
        </p:txBody>
      </p:sp>
      <p:sp>
        <p:nvSpPr>
          <p:cNvPr id="103" name="Google Shape;28065;p16"/>
          <p:cNvSpPr/>
          <p:nvPr/>
        </p:nvSpPr>
        <p:spPr>
          <a:xfrm>
            <a:off x="4813480" y="2932136"/>
            <a:ext cx="1207853" cy="353037"/>
          </a:xfrm>
          <a:prstGeom prst="rect">
            <a:avLst/>
          </a:prstGeom>
          <a:solidFill>
            <a:srgbClr val="00B0F0"/>
          </a:solidFill>
          <a:ln w="317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541" tIns="13761" rIns="27541" bIns="13761" anchor="ctr" anchorCtr="0">
            <a:noAutofit/>
          </a:bodyPr>
          <a:lstStyle/>
          <a:p>
            <a:pPr algn="ctr"/>
            <a:endParaRPr sz="700" b="1" dirty="0">
              <a:solidFill>
                <a:srgbClr val="3477B2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algn="r"/>
            <a:r>
              <a:rPr lang="ru-RU" sz="700" b="1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        </a:t>
            </a:r>
            <a:r>
              <a:rPr lang="ru-RU" sz="8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onsolas" panose="020B0609020204030204" pitchFamily="49" charset="0"/>
              </a:rPr>
              <a:t>Руководитель Группы проектов 1</a:t>
            </a:r>
            <a:endParaRPr lang="ru-RU" sz="700" b="1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lvl="0" algn="r">
              <a:buClr>
                <a:srgbClr val="000000"/>
              </a:buClr>
            </a:pPr>
            <a:r>
              <a:rPr lang="ru-RU" sz="700" b="1" dirty="0">
                <a:solidFill>
                  <a:srgbClr val="FF0000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ФИО</a:t>
            </a:r>
            <a:endParaRPr lang="ru-RU" sz="700" dirty="0">
              <a:latin typeface="Georgia" panose="02040502050405020303" pitchFamily="18" charset="0"/>
            </a:endParaRPr>
          </a:p>
          <a:p>
            <a:pPr algn="ctr"/>
            <a:endParaRPr sz="700" b="1" dirty="0">
              <a:solidFill>
                <a:srgbClr val="575757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104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5483" y="2974490"/>
            <a:ext cx="291593" cy="27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" name="Прямоугольник 114"/>
          <p:cNvSpPr/>
          <p:nvPr/>
        </p:nvSpPr>
        <p:spPr>
          <a:xfrm>
            <a:off x="6482151" y="2610349"/>
            <a:ext cx="1204200" cy="324036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549" tIns="13773" rIns="27549" bIns="13773" rtlCol="0" anchor="ctr"/>
          <a:lstStyle/>
          <a:p>
            <a:pPr algn="ctr"/>
            <a:r>
              <a:rPr lang="ru-RU" sz="700" b="1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Мобильность трудовых ресурсов</a:t>
            </a:r>
          </a:p>
        </p:txBody>
      </p:sp>
      <p:sp>
        <p:nvSpPr>
          <p:cNvPr id="106" name="Google Shape;28065;p16"/>
          <p:cNvSpPr/>
          <p:nvPr/>
        </p:nvSpPr>
        <p:spPr>
          <a:xfrm>
            <a:off x="6478499" y="2932136"/>
            <a:ext cx="1207853" cy="353037"/>
          </a:xfrm>
          <a:prstGeom prst="rect">
            <a:avLst/>
          </a:prstGeom>
          <a:solidFill>
            <a:srgbClr val="00B0F0"/>
          </a:solidFill>
          <a:ln w="317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541" tIns="13761" rIns="27541" bIns="13761" anchor="ctr" anchorCtr="0">
            <a:noAutofit/>
          </a:bodyPr>
          <a:lstStyle/>
          <a:p>
            <a:pPr algn="ctr"/>
            <a:endParaRPr sz="700" b="1" dirty="0">
              <a:solidFill>
                <a:srgbClr val="3477B2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algn="r"/>
            <a:r>
              <a:rPr lang="ru-RU" sz="700" b="1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        </a:t>
            </a:r>
            <a:r>
              <a:rPr lang="ru-RU" sz="8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onsolas" panose="020B0609020204030204" pitchFamily="49" charset="0"/>
              </a:rPr>
              <a:t>Руководитель Группы проектов 1</a:t>
            </a:r>
            <a:endParaRPr lang="ru-RU" sz="700" b="1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lvl="0" algn="r">
              <a:buClr>
                <a:srgbClr val="000000"/>
              </a:buClr>
            </a:pPr>
            <a:r>
              <a:rPr lang="ru-RU" sz="700" b="1" dirty="0">
                <a:solidFill>
                  <a:srgbClr val="FF0000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ФИО</a:t>
            </a:r>
            <a:endParaRPr lang="ru-RU" sz="700" dirty="0">
              <a:latin typeface="Georgia" panose="02040502050405020303" pitchFamily="18" charset="0"/>
            </a:endParaRPr>
          </a:p>
          <a:p>
            <a:pPr algn="ctr"/>
            <a:endParaRPr sz="700" b="1" dirty="0">
              <a:solidFill>
                <a:srgbClr val="575757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107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0501" y="2974490"/>
            <a:ext cx="291593" cy="27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8" name="Google Shape;28063;p16"/>
          <p:cNvSpPr/>
          <p:nvPr/>
        </p:nvSpPr>
        <p:spPr>
          <a:xfrm>
            <a:off x="1310585" y="2346549"/>
            <a:ext cx="6564425" cy="1000661"/>
          </a:xfrm>
          <a:prstGeom prst="rect">
            <a:avLst/>
          </a:prstGeom>
          <a:noFill/>
          <a:ln w="12700" cap="flat" cmpd="sng">
            <a:solidFill>
              <a:srgbClr val="121429"/>
            </a:solidFill>
            <a:prstDash val="lgDashDot"/>
            <a:round/>
            <a:headEnd type="none" w="sm" len="sm"/>
            <a:tailEnd type="none" w="sm" len="sm"/>
          </a:ln>
        </p:spPr>
        <p:txBody>
          <a:bodyPr spcFirstLastPara="1" wrap="square" lIns="68561" tIns="34271" rIns="68561" bIns="34271" anchor="ctr" anchorCtr="0">
            <a:noAutofit/>
          </a:bodyPr>
          <a:lstStyle/>
          <a:p>
            <a:pPr algn="ctr"/>
            <a:endParaRPr sz="800">
              <a:solidFill>
                <a:schemeClr val="lt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28064;p16"/>
          <p:cNvSpPr/>
          <p:nvPr/>
        </p:nvSpPr>
        <p:spPr>
          <a:xfrm>
            <a:off x="682680" y="1693705"/>
            <a:ext cx="1361842" cy="406724"/>
          </a:xfrm>
          <a:prstGeom prst="wedgeRectCallout">
            <a:avLst>
              <a:gd name="adj1" fmla="val 43456"/>
              <a:gd name="adj2" fmla="val 110316"/>
            </a:avLst>
          </a:prstGeom>
          <a:noFill/>
          <a:ln w="12700" cap="flat" cmpd="sng">
            <a:solidFill>
              <a:srgbClr val="121429"/>
            </a:solidFill>
            <a:prstDash val="lgDashDot"/>
            <a:round/>
            <a:headEnd type="none" w="sm" len="sm"/>
            <a:tailEnd type="none" w="sm" len="sm"/>
          </a:ln>
        </p:spPr>
        <p:txBody>
          <a:bodyPr spcFirstLastPara="1" wrap="square" lIns="68561" tIns="34271" rIns="68561" bIns="34271" anchor="ctr" anchorCtr="0">
            <a:noAutofit/>
          </a:bodyPr>
          <a:lstStyle/>
          <a:p>
            <a:pPr algn="ctr"/>
            <a:r>
              <a:rPr lang="ru-RU" sz="800" b="1" dirty="0">
                <a:solidFill>
                  <a:srgbClr val="C00000"/>
                </a:solidFill>
                <a:latin typeface="Georgia" panose="02040502050405020303" pitchFamily="18" charset="0"/>
              </a:rPr>
              <a:t>Должностные лица уполномоченного органа (МТСЗН)</a:t>
            </a:r>
            <a:endParaRPr sz="800" b="1" dirty="0">
              <a:solidFill>
                <a:srgbClr val="C00000"/>
              </a:solidFill>
              <a:latin typeface="Georgia" panose="02040502050405020303" pitchFamily="18" charset="0"/>
            </a:endParaRPr>
          </a:p>
        </p:txBody>
      </p:sp>
      <p:cxnSp>
        <p:nvCxnSpPr>
          <p:cNvPr id="110" name="Google Shape;28062;p16"/>
          <p:cNvCxnSpPr>
            <a:endCxn id="23" idx="1"/>
          </p:cNvCxnSpPr>
          <p:nvPr/>
        </p:nvCxnSpPr>
        <p:spPr>
          <a:xfrm>
            <a:off x="4504717" y="1328676"/>
            <a:ext cx="2097016" cy="0"/>
          </a:xfrm>
          <a:prstGeom prst="straightConnector1">
            <a:avLst/>
          </a:prstGeom>
          <a:noFill/>
          <a:ln w="9525" cap="flat" cmpd="sng">
            <a:solidFill>
              <a:srgbClr val="072B6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7" name="Google Shape;28058;p16"/>
          <p:cNvSpPr/>
          <p:nvPr/>
        </p:nvSpPr>
        <p:spPr>
          <a:xfrm>
            <a:off x="3628087" y="288737"/>
            <a:ext cx="1743224" cy="42081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541" tIns="13761" rIns="27541" bIns="13761" anchor="ctr" anchorCtr="0">
            <a:noAutofit/>
          </a:bodyPr>
          <a:lstStyle/>
          <a:p>
            <a:pPr algn="ctr"/>
            <a:r>
              <a:rPr lang="ru-RU" sz="900" b="1" dirty="0">
                <a:solidFill>
                  <a:schemeClr val="tx1">
                    <a:lumMod val="95000"/>
                    <a:lumOff val="5000"/>
                  </a:schemeClr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БН «Продуктивная занятость»</a:t>
            </a:r>
          </a:p>
        </p:txBody>
      </p:sp>
      <p:sp>
        <p:nvSpPr>
          <p:cNvPr id="118" name="Google Shape;28065;p16"/>
          <p:cNvSpPr/>
          <p:nvPr/>
        </p:nvSpPr>
        <p:spPr>
          <a:xfrm>
            <a:off x="4083305" y="711642"/>
            <a:ext cx="1288006" cy="36852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541" tIns="13761" rIns="27541" bIns="13761" anchor="ctr" anchorCtr="0">
            <a:noAutofit/>
          </a:bodyPr>
          <a:lstStyle/>
          <a:p>
            <a:pPr algn="ctr"/>
            <a:endParaRPr sz="800" b="1" dirty="0">
              <a:solidFill>
                <a:srgbClr val="3477B2"/>
              </a:solidFill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  <a:p>
            <a:pPr algn="ctr"/>
            <a:r>
              <a:rPr lang="ru-RU" sz="800" b="1" dirty="0"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Руководитель БН</a:t>
            </a:r>
          </a:p>
          <a:p>
            <a:pPr algn="ctr"/>
            <a:r>
              <a:rPr lang="ru-RU" sz="800" b="1" dirty="0">
                <a:latin typeface="Georgia" panose="02040502050405020303" pitchFamily="18" charset="0"/>
              </a:rPr>
              <a:t>Вице-министр  </a:t>
            </a:r>
            <a:r>
              <a:rPr lang="ru-RU" sz="800" b="1" dirty="0" err="1">
                <a:latin typeface="Georgia" panose="02040502050405020303" pitchFamily="18" charset="0"/>
              </a:rPr>
              <a:t>Жилкибаев</a:t>
            </a:r>
            <a:r>
              <a:rPr lang="ru-RU" sz="800" b="1" dirty="0">
                <a:latin typeface="Georgia" panose="02040502050405020303" pitchFamily="18" charset="0"/>
              </a:rPr>
              <a:t> Е.Ж.</a:t>
            </a:r>
          </a:p>
          <a:p>
            <a:pPr algn="ctr"/>
            <a:endParaRPr sz="800" b="1" dirty="0">
              <a:latin typeface="Georgia" panose="02040502050405020303" pitchFamily="18" charset="0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119" name="Picture 6" descr="ÐÐ°ÑÑÐ¸Ð½ÐºÐ¸ Ð¿Ð¾ Ð·Ð°Ð¿ÑÐ¾ÑÑ Ð¶ÑÐ»ÐºÐ¸Ð±Ð°ÐµÐ² Ð¼ÑÑÐ·Ð½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73" r="20926" b="23810"/>
          <a:stretch/>
        </p:blipFill>
        <p:spPr bwMode="auto">
          <a:xfrm>
            <a:off x="3628087" y="713813"/>
            <a:ext cx="452858" cy="369900"/>
          </a:xfrm>
          <a:prstGeom prst="rect">
            <a:avLst/>
          </a:prstGeom>
          <a:noFill/>
          <a:ln w="3175">
            <a:solidFill>
              <a:schemeClr val="tx1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39" y="3536297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39" y="3912461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39" y="4664788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39" y="4288624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3560" y="3560120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3560" y="3936284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3560" y="4688611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3560" y="4312447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492" y="3609626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492" y="3985790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627" y="3539276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14" descr="ÐÐ°ÑÑÐ¸Ð½ÐºÐ¸ Ð¿Ð¾ Ð·Ð°Ð¿ÑÐ¾ÑÑ Ð¡ÐÐÐÐÐ Ð§ÐÐÐÐÐÐ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627" y="3915439"/>
            <a:ext cx="224993" cy="22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8" name="Google Shape;28063;p16"/>
          <p:cNvSpPr/>
          <p:nvPr/>
        </p:nvSpPr>
        <p:spPr>
          <a:xfrm>
            <a:off x="962243" y="3460024"/>
            <a:ext cx="7066142" cy="1623299"/>
          </a:xfrm>
          <a:prstGeom prst="rect">
            <a:avLst/>
          </a:prstGeom>
          <a:noFill/>
          <a:ln w="12700" cap="flat" cmpd="sng">
            <a:solidFill>
              <a:srgbClr val="121429"/>
            </a:solidFill>
            <a:prstDash val="lgDashDot"/>
            <a:round/>
            <a:headEnd type="none" w="sm" len="sm"/>
            <a:tailEnd type="none" w="sm" len="sm"/>
          </a:ln>
        </p:spPr>
        <p:txBody>
          <a:bodyPr spcFirstLastPara="1" wrap="square" lIns="68561" tIns="34271" rIns="68561" bIns="34271" anchor="ctr" anchorCtr="0">
            <a:noAutofit/>
          </a:bodyPr>
          <a:lstStyle/>
          <a:p>
            <a:pPr algn="ctr"/>
            <a:endParaRPr sz="800">
              <a:solidFill>
                <a:schemeClr val="lt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39" name="Google Shape;28064;p16"/>
          <p:cNvSpPr/>
          <p:nvPr/>
        </p:nvSpPr>
        <p:spPr>
          <a:xfrm>
            <a:off x="84750" y="2831146"/>
            <a:ext cx="1072826" cy="406724"/>
          </a:xfrm>
          <a:prstGeom prst="wedgeRectCallout">
            <a:avLst>
              <a:gd name="adj1" fmla="val 42589"/>
              <a:gd name="adj2" fmla="val 92700"/>
            </a:avLst>
          </a:prstGeom>
          <a:noFill/>
          <a:ln w="12700" cap="flat" cmpd="sng">
            <a:solidFill>
              <a:srgbClr val="121429"/>
            </a:solidFill>
            <a:prstDash val="lgDashDot"/>
            <a:round/>
            <a:headEnd type="none" w="sm" len="sm"/>
            <a:tailEnd type="none" w="sm" len="sm"/>
          </a:ln>
        </p:spPr>
        <p:txBody>
          <a:bodyPr spcFirstLastPara="1" wrap="square" lIns="68561" tIns="34271" rIns="68561" bIns="34271" anchor="ctr" anchorCtr="0">
            <a:noAutofit/>
          </a:bodyPr>
          <a:lstStyle/>
          <a:p>
            <a:pPr algn="ctr"/>
            <a:r>
              <a:rPr lang="ru-RU" sz="800" b="1" dirty="0">
                <a:solidFill>
                  <a:srgbClr val="C00000"/>
                </a:solidFill>
                <a:latin typeface="Georgia" panose="02040502050405020303" pitchFamily="18" charset="0"/>
              </a:rPr>
              <a:t>Руководители проектов</a:t>
            </a:r>
            <a:endParaRPr sz="800" b="1" dirty="0">
              <a:solidFill>
                <a:srgbClr val="C00000"/>
              </a:solidFill>
              <a:latin typeface="Georgia" panose="02040502050405020303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3974" y="-36374"/>
            <a:ext cx="83285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295E7E"/>
                </a:solidFill>
              </a:rPr>
              <a:t>6</a:t>
            </a:r>
            <a:r>
              <a:rPr lang="en-US" dirty="0">
                <a:solidFill>
                  <a:srgbClr val="295E7E"/>
                </a:solidFill>
              </a:rPr>
              <a:t>.</a:t>
            </a:r>
            <a:r>
              <a:rPr lang="ru-RU" dirty="0">
                <a:solidFill>
                  <a:srgbClr val="295E7E"/>
                </a:solidFill>
              </a:rPr>
              <a:t> Управление проектами социально-трудовой сферы </a:t>
            </a:r>
            <a:endParaRPr lang="x-none" dirty="0">
              <a:solidFill>
                <a:srgbClr val="295E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2614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B80382C-588C-4DAB-A940-725AEC0BBD96}"/>
              </a:ext>
            </a:extLst>
          </p:cNvPr>
          <p:cNvSpPr/>
          <p:nvPr/>
        </p:nvSpPr>
        <p:spPr>
          <a:xfrm>
            <a:off x="794382" y="127150"/>
            <a:ext cx="7882073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908752"/>
                </a:solidFill>
              </a:rPr>
              <a:t>7. Информационное сопровождение проекта “Модернизация рынка труда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49AF9A4-46E4-4385-88CB-581A3BD29657}"/>
              </a:ext>
            </a:extLst>
          </p:cNvPr>
          <p:cNvSpPr txBox="1"/>
          <p:nvPr/>
        </p:nvSpPr>
        <p:spPr>
          <a:xfrm>
            <a:off x="539552" y="915566"/>
            <a:ext cx="1852103" cy="48846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" sz="1200" b="1" dirty="0"/>
              <a:t>Содержание первично по отношению к PR-инструментам</a:t>
            </a:r>
            <a:endParaRPr lang="ru-RU" sz="12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6400065-DC1E-4B27-9014-C78AC99F27C7}"/>
              </a:ext>
            </a:extLst>
          </p:cNvPr>
          <p:cNvSpPr txBox="1"/>
          <p:nvPr/>
        </p:nvSpPr>
        <p:spPr>
          <a:xfrm>
            <a:off x="669429" y="1404802"/>
            <a:ext cx="1853666" cy="900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lvl="0"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1. </a:t>
            </a:r>
            <a:r>
              <a:rPr lang="ru-RU" sz="1200" b="1" dirty="0"/>
              <a:t>Правильный копирайтинг: </a:t>
            </a:r>
            <a:r>
              <a:rPr lang="ru-RU" sz="1200" dirty="0"/>
              <a:t>необходимо ориентироваться на то, как думает читатель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BCCA2042-9510-4757-8099-4051222607A0}"/>
              </a:ext>
            </a:extLst>
          </p:cNvPr>
          <p:cNvSpPr txBox="1"/>
          <p:nvPr/>
        </p:nvSpPr>
        <p:spPr>
          <a:xfrm>
            <a:off x="1023553" y="3579430"/>
            <a:ext cx="1853666" cy="936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lvl="0"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3. </a:t>
            </a:r>
            <a:r>
              <a:rPr lang="ru-RU" sz="1200" b="1" dirty="0"/>
              <a:t>Контакты с республиканскими медиа</a:t>
            </a:r>
            <a:r>
              <a:rPr lang="ru-RU" sz="1200" dirty="0"/>
              <a:t>: informburo.kz, tengrinews.kz, forbes.kz и др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49934B2-22E6-4451-ACBF-C02D118B44D9}"/>
              </a:ext>
            </a:extLst>
          </p:cNvPr>
          <p:cNvSpPr txBox="1"/>
          <p:nvPr/>
        </p:nvSpPr>
        <p:spPr>
          <a:xfrm>
            <a:off x="878918" y="2312505"/>
            <a:ext cx="1853666" cy="1260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2. </a:t>
            </a:r>
            <a:r>
              <a:rPr lang="ru-RU" sz="1200" b="1" dirty="0"/>
              <a:t>Правильный подбор инфоповодов</a:t>
            </a:r>
            <a:r>
              <a:rPr lang="ru-RU" sz="1200" dirty="0"/>
              <a:t>: PR вторичен к содержанию, поэтому нужно выбрасывать в </a:t>
            </a:r>
            <a:r>
              <a:rPr lang="ru-RU" sz="1200" dirty="0" err="1"/>
              <a:t>инфополе</a:t>
            </a:r>
            <a:r>
              <a:rPr lang="ru-RU" sz="1200" dirty="0"/>
              <a:t> более интересные гражданам тезисы и проект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1DECAF-221C-4690-9C5C-81686758DE58}"/>
              </a:ext>
            </a:extLst>
          </p:cNvPr>
          <p:cNvSpPr txBox="1"/>
          <p:nvPr/>
        </p:nvSpPr>
        <p:spPr>
          <a:xfrm>
            <a:off x="2627784" y="915565"/>
            <a:ext cx="1852103" cy="486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>
              <a:lnSpc>
                <a:spcPct val="70000"/>
              </a:lnSpc>
            </a:pPr>
            <a:r>
              <a:rPr lang="ru" sz="1200" b="1" dirty="0"/>
              <a:t>Современная подача и оперативная реакция</a:t>
            </a:r>
            <a:endParaRPr lang="ru-RU" sz="12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365AE8FE-D675-44BC-9C98-C0BCB5204B33}"/>
              </a:ext>
            </a:extLst>
          </p:cNvPr>
          <p:cNvSpPr txBox="1"/>
          <p:nvPr/>
        </p:nvSpPr>
        <p:spPr>
          <a:xfrm>
            <a:off x="2757661" y="1404802"/>
            <a:ext cx="1783606" cy="684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1. </a:t>
            </a:r>
            <a:r>
              <a:rPr lang="ru-RU" sz="1200" b="1" dirty="0"/>
              <a:t>Писать просто</a:t>
            </a:r>
            <a:r>
              <a:rPr lang="ru-RU" sz="1200" dirty="0"/>
              <a:t>, давать короткие месседжи и информативную инфографику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1447F1F-96E5-4C0E-83EE-71915D16F45C}"/>
              </a:ext>
            </a:extLst>
          </p:cNvPr>
          <p:cNvSpPr txBox="1"/>
          <p:nvPr/>
        </p:nvSpPr>
        <p:spPr>
          <a:xfrm>
            <a:off x="3049556" y="2686049"/>
            <a:ext cx="1783606" cy="936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3. Правильно выбирать</a:t>
            </a:r>
            <a:r>
              <a:rPr lang="ru-RU" sz="1200" b="1" dirty="0"/>
              <a:t> площадки </a:t>
            </a:r>
            <a:r>
              <a:rPr lang="ru-RU" sz="1200" dirty="0"/>
              <a:t>и детально настраивать </a:t>
            </a:r>
            <a:r>
              <a:rPr lang="ru-RU" sz="1200" b="1" dirty="0"/>
              <a:t>рекламу</a:t>
            </a:r>
            <a:r>
              <a:rPr lang="ru-RU" sz="1200" dirty="0"/>
              <a:t>: чем больше данных, тем лучше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A406710-57DD-4435-8D43-88F343403572}"/>
              </a:ext>
            </a:extLst>
          </p:cNvPr>
          <p:cNvSpPr txBox="1"/>
          <p:nvPr/>
        </p:nvSpPr>
        <p:spPr>
          <a:xfrm>
            <a:off x="2877219" y="2096269"/>
            <a:ext cx="1783606" cy="576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2. </a:t>
            </a:r>
            <a:r>
              <a:rPr lang="ru" sz="1200" dirty="0"/>
              <a:t>Оперативно давать </a:t>
            </a:r>
            <a:r>
              <a:rPr lang="ru" sz="1200" b="1" dirty="0"/>
              <a:t>обратную связь с подписчиками</a:t>
            </a:r>
            <a:endParaRPr lang="ru-RU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8E4AAB5-EA99-4283-AA1F-8C7E6478C232}"/>
              </a:ext>
            </a:extLst>
          </p:cNvPr>
          <p:cNvSpPr txBox="1"/>
          <p:nvPr/>
        </p:nvSpPr>
        <p:spPr>
          <a:xfrm>
            <a:off x="3166490" y="3626345"/>
            <a:ext cx="1783606" cy="540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4. Точечная работа</a:t>
            </a:r>
            <a:r>
              <a:rPr lang="ru-RU" sz="1200" b="1" dirty="0"/>
              <a:t> с лидерами мнений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48962D08-B93E-4DED-9A7A-4A2A4CF87927}"/>
              </a:ext>
            </a:extLst>
          </p:cNvPr>
          <p:cNvSpPr txBox="1"/>
          <p:nvPr/>
        </p:nvSpPr>
        <p:spPr>
          <a:xfrm>
            <a:off x="4700364" y="915565"/>
            <a:ext cx="1852103" cy="486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>
              <a:lnSpc>
                <a:spcPct val="70000"/>
              </a:lnSpc>
            </a:pPr>
            <a:r>
              <a:rPr lang="ru" sz="1200" b="1" dirty="0"/>
              <a:t>Открытость </a:t>
            </a:r>
            <a:r>
              <a:rPr lang="ru-RU" sz="1200" b="1" dirty="0"/>
              <a:t>и</a:t>
            </a:r>
            <a:r>
              <a:rPr lang="ru" sz="1200" b="1" dirty="0"/>
              <a:t> </a:t>
            </a:r>
            <a:br>
              <a:rPr lang="ru" sz="1200" b="1" dirty="0"/>
            </a:br>
            <a:r>
              <a:rPr lang="ru" sz="1200" b="1" dirty="0"/>
              <a:t>дискуссии</a:t>
            </a:r>
            <a:endParaRPr lang="ru-RU" sz="12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BE96A807-1738-40DB-A99D-F06415D990B4}"/>
              </a:ext>
            </a:extLst>
          </p:cNvPr>
          <p:cNvSpPr txBox="1"/>
          <p:nvPr/>
        </p:nvSpPr>
        <p:spPr>
          <a:xfrm>
            <a:off x="4887391" y="1404802"/>
            <a:ext cx="1734108" cy="8069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1. </a:t>
            </a:r>
            <a:r>
              <a:rPr lang="ru-RU" sz="1200" b="1" dirty="0"/>
              <a:t>Круглые столы с участием экспертов: </a:t>
            </a:r>
            <a:r>
              <a:rPr lang="ru-RU" sz="1200" dirty="0"/>
              <a:t>поднимает доверие и открытости госорган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D3B44AC3-41B0-4B9E-BB69-AD30E45CDB59}"/>
              </a:ext>
            </a:extLst>
          </p:cNvPr>
          <p:cNvSpPr txBox="1"/>
          <p:nvPr/>
        </p:nvSpPr>
        <p:spPr>
          <a:xfrm>
            <a:off x="5223134" y="3111710"/>
            <a:ext cx="1734108" cy="720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3. Все мероприятия необходимо транслировать в </a:t>
            </a:r>
            <a:r>
              <a:rPr lang="ru-RU" sz="1200" dirty="0" err="1"/>
              <a:t>Facebook</a:t>
            </a:r>
            <a:r>
              <a:rPr lang="ru-RU" sz="1200" dirty="0"/>
              <a:t> и </a:t>
            </a:r>
            <a:r>
              <a:rPr lang="ru-RU" sz="1200" dirty="0" err="1"/>
              <a:t>Youtube</a:t>
            </a:r>
            <a:endParaRPr lang="ru-RU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7F2B8E3F-9C35-4CC3-86E7-776CED625A91}"/>
              </a:ext>
            </a:extLst>
          </p:cNvPr>
          <p:cNvSpPr txBox="1"/>
          <p:nvPr/>
        </p:nvSpPr>
        <p:spPr>
          <a:xfrm>
            <a:off x="5007246" y="2211710"/>
            <a:ext cx="1734108" cy="900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2. </a:t>
            </a:r>
            <a:r>
              <a:rPr lang="ru-RU" sz="1200" b="1" dirty="0"/>
              <a:t>Публичные дебаты о различных реформах: </a:t>
            </a:r>
            <a:r>
              <a:rPr lang="ru-RU" sz="1200" dirty="0"/>
              <a:t>показывает, как принимаются решения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4A5CF8A2-AF5D-4094-907D-9DFA695E3606}"/>
              </a:ext>
            </a:extLst>
          </p:cNvPr>
          <p:cNvSpPr txBox="1"/>
          <p:nvPr/>
        </p:nvSpPr>
        <p:spPr>
          <a:xfrm>
            <a:off x="6770215" y="915565"/>
            <a:ext cx="1852103" cy="486000"/>
          </a:xfrm>
          <a:prstGeom prst="rect">
            <a:avLst/>
          </a:prstGeom>
          <a:solidFill>
            <a:srgbClr val="DDD9C3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>
              <a:lnSpc>
                <a:spcPct val="70000"/>
              </a:lnSpc>
            </a:pPr>
            <a:r>
              <a:rPr lang="ru" sz="1200" b="1" dirty="0"/>
              <a:t>Правиль</a:t>
            </a:r>
            <a:r>
              <a:rPr lang="ru-RU" sz="1200" b="1" dirty="0" err="1"/>
              <a:t>ный</a:t>
            </a:r>
            <a:r>
              <a:rPr lang="ru-RU" sz="1200" b="1" dirty="0"/>
              <a:t> </a:t>
            </a:r>
            <a:br>
              <a:rPr lang="ru-RU" sz="1200" b="1" dirty="0"/>
            </a:br>
            <a:r>
              <a:rPr lang="ru-RU" sz="1200" b="1" dirty="0"/>
              <a:t>т</a:t>
            </a:r>
            <a:r>
              <a:rPr lang="ru" sz="1200" b="1" dirty="0"/>
              <a:t>айминг</a:t>
            </a:r>
            <a:endParaRPr lang="ru-RU" sz="1200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CCE58A7-EE17-4BF4-ADA3-BCFEFBB5DFDF}"/>
              </a:ext>
            </a:extLst>
          </p:cNvPr>
          <p:cNvSpPr txBox="1"/>
          <p:nvPr/>
        </p:nvSpPr>
        <p:spPr>
          <a:xfrm>
            <a:off x="6918339" y="1404802"/>
            <a:ext cx="1815609" cy="720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1. П</a:t>
            </a:r>
            <a:r>
              <a:rPr lang="ru" sz="1200" dirty="0"/>
              <a:t>остоянный анализ информационного поля</a:t>
            </a:r>
            <a:endParaRPr lang="ru-RU" sz="12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D34DB92-DE4E-44D2-AFB6-BA53052BFBCC}"/>
              </a:ext>
            </a:extLst>
          </p:cNvPr>
          <p:cNvSpPr txBox="1"/>
          <p:nvPr/>
        </p:nvSpPr>
        <p:spPr>
          <a:xfrm>
            <a:off x="7054329" y="2124802"/>
            <a:ext cx="1815609" cy="7200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70000"/>
              </a:lnSpc>
              <a:spcBef>
                <a:spcPts val="1600"/>
              </a:spcBef>
              <a:buSzPts val="2000"/>
            </a:pPr>
            <a:r>
              <a:rPr lang="ru-RU" sz="1200" dirty="0"/>
              <a:t>2. А</a:t>
            </a:r>
            <a:r>
              <a:rPr lang="ru" sz="1200" dirty="0"/>
              <a:t>ктуальност</a:t>
            </a:r>
            <a:r>
              <a:rPr lang="ru-RU" sz="1200" dirty="0"/>
              <a:t>ь</a:t>
            </a:r>
            <a:r>
              <a:rPr lang="ru" sz="1200" dirty="0"/>
              <a:t> информационных поводов и месседжей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0809933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85844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844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857251" y="1"/>
            <a:ext cx="119063" cy="119063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ee4pContent4"/>
          <p:cNvSpPr txBox="1"/>
          <p:nvPr>
            <p:custDataLst>
              <p:tags r:id="rId5"/>
            </p:custDataLst>
          </p:nvPr>
        </p:nvSpPr>
        <p:spPr>
          <a:xfrm>
            <a:off x="6372562" y="1584299"/>
            <a:ext cx="1891653" cy="430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FFFFFF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2pPr>
            <a:lvl3pPr marL="648000" lvl="2" indent="-216000"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D4DF33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FFFFFF"/>
                </a:solidFill>
                <a:latin typeface="Trebuchet MS" panose="020B0603020202020204" pitchFamily="34" charset="0"/>
              </a:defRPr>
            </a:lvl5pPr>
            <a:lvl6pPr marL="324000" lvl="5" indent="-216000"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FFFFF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FFFFF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D4DF33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D4DF33"/>
                </a:solidFill>
                <a:latin typeface="Trebuchet MS" panose="020B0603020202020204" pitchFamily="34" charset="0"/>
              </a:defRPr>
            </a:lvl9pPr>
          </a:lstStyle>
          <a:p>
            <a:pPr algn="ctr"/>
            <a:r>
              <a:rPr lang="ru-RU" sz="1400" dirty="0">
                <a:solidFill>
                  <a:srgbClr val="D4DF33"/>
                </a:solidFill>
              </a:rPr>
              <a:t>Основные КПЭ </a:t>
            </a:r>
            <a:br>
              <a:rPr lang="ru-RU" sz="1400" dirty="0">
                <a:solidFill>
                  <a:srgbClr val="D4DF33"/>
                </a:solidFill>
              </a:rPr>
            </a:br>
            <a:r>
              <a:rPr lang="ru-RU" sz="1400" dirty="0">
                <a:solidFill>
                  <a:srgbClr val="D4DF33"/>
                </a:solidFill>
              </a:rPr>
              <a:t>рынка труда</a:t>
            </a:r>
            <a:endParaRPr lang="en-US" sz="1400" dirty="0">
              <a:solidFill>
                <a:srgbClr val="D4DF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95536" y="283508"/>
            <a:ext cx="4567614" cy="642254"/>
          </a:xfrm>
        </p:spPr>
        <p:txBody>
          <a:bodyPr>
            <a:noAutofit/>
          </a:bodyPr>
          <a:lstStyle/>
          <a:p>
            <a:pPr algn="l"/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Проект по модернизации рынка труда</a:t>
            </a:r>
            <a:endParaRPr lang="en-US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5" name="Подзаголовок 2">
            <a:extLst>
              <a:ext uri="{FF2B5EF4-FFF2-40B4-BE49-F238E27FC236}">
                <a16:creationId xmlns:a16="http://schemas.microsoft.com/office/drawing/2014/main" xmlns="" id="{B34F7D29-5C51-4BCE-8622-FC87F4C33BBE}"/>
              </a:ext>
            </a:extLst>
          </p:cNvPr>
          <p:cNvSpPr txBox="1">
            <a:spLocks/>
          </p:cNvSpPr>
          <p:nvPr/>
        </p:nvSpPr>
        <p:spPr>
          <a:xfrm>
            <a:off x="6372562" y="2151719"/>
            <a:ext cx="2375901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400">
                <a:solidFill>
                  <a:srgbClr val="FFFFFF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2pPr>
            <a:lvl3pPr marL="648000" lvl="2" indent="-216000"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D4DF33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FFFFFF"/>
                </a:solidFill>
                <a:latin typeface="Trebuchet MS" panose="020B0603020202020204" pitchFamily="34" charset="0"/>
              </a:defRPr>
            </a:lvl5pPr>
            <a:lvl6pPr marL="324000" lvl="5" indent="-216000"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FFFFF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FFFFF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D4DF33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D4DF33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200" dirty="0"/>
              <a:t>Доля занятости в частном секторе</a:t>
            </a:r>
            <a:endParaRPr lang="x-none" sz="1200" dirty="0"/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xmlns="" id="{A6348A27-9855-453C-9AFE-2D17B9215B37}"/>
              </a:ext>
            </a:extLst>
          </p:cNvPr>
          <p:cNvSpPr txBox="1">
            <a:spLocks/>
          </p:cNvSpPr>
          <p:nvPr/>
        </p:nvSpPr>
        <p:spPr>
          <a:xfrm>
            <a:off x="6372562" y="3929854"/>
            <a:ext cx="2375901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400">
                <a:solidFill>
                  <a:srgbClr val="FFFFFF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2pPr>
            <a:lvl3pPr marL="648000" lvl="2" indent="-216000"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D4DF33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FFFFFF"/>
                </a:solidFill>
                <a:latin typeface="Trebuchet MS" panose="020B0603020202020204" pitchFamily="34" charset="0"/>
              </a:defRPr>
            </a:lvl5pPr>
            <a:lvl6pPr marL="324000" lvl="5" indent="-216000"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FFFFF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FFFFF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D4DF33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D4DF33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200" dirty="0"/>
              <a:t>Доля рабочей силы, охваченной активными мерами содействия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xmlns="" id="{B34F7D29-5C51-4BCE-8622-FC87F4C33BBE}"/>
              </a:ext>
            </a:extLst>
          </p:cNvPr>
          <p:cNvSpPr txBox="1">
            <a:spLocks/>
          </p:cNvSpPr>
          <p:nvPr/>
        </p:nvSpPr>
        <p:spPr>
          <a:xfrm>
            <a:off x="6372562" y="2648943"/>
            <a:ext cx="2375901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400">
                <a:solidFill>
                  <a:srgbClr val="FFFFFF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2pPr>
            <a:lvl3pPr marL="648000" lvl="2" indent="-216000"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D4DF33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FFFFFF"/>
                </a:solidFill>
                <a:latin typeface="Trebuchet MS" panose="020B0603020202020204" pitchFamily="34" charset="0"/>
              </a:defRPr>
            </a:lvl5pPr>
            <a:lvl6pPr marL="324000" lvl="5" indent="-216000"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FFFFF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FFFFF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D4DF33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D4DF33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200" dirty="0"/>
              <a:t>Среднее кол-во рабочих мест на 1 активный субъект МСБ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xmlns="" id="{B34F7D29-5C51-4BCE-8622-FC87F4C33BBE}"/>
              </a:ext>
            </a:extLst>
          </p:cNvPr>
          <p:cNvSpPr txBox="1">
            <a:spLocks/>
          </p:cNvSpPr>
          <p:nvPr/>
        </p:nvSpPr>
        <p:spPr>
          <a:xfrm>
            <a:off x="6372562" y="3343757"/>
            <a:ext cx="2375901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400">
                <a:solidFill>
                  <a:srgbClr val="FFFFFF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2pPr>
            <a:lvl3pPr marL="648000" lvl="2" indent="-216000"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FFFFF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D4DF33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FFFFFF"/>
                </a:solidFill>
                <a:latin typeface="Trebuchet MS" panose="020B0603020202020204" pitchFamily="34" charset="0"/>
              </a:defRPr>
            </a:lvl5pPr>
            <a:lvl6pPr marL="324000" lvl="5" indent="-216000"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FFFFF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FFFFF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D4DF33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D4DF33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200" dirty="0"/>
              <a:t>Рост реальных денежных доходов населения</a:t>
            </a: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xmlns="" id="{20A3744B-C30E-4885-88ED-A84E12F04A13}"/>
              </a:ext>
            </a:extLst>
          </p:cNvPr>
          <p:cNvSpPr txBox="1">
            <a:spLocks/>
          </p:cNvSpPr>
          <p:nvPr/>
        </p:nvSpPr>
        <p:spPr>
          <a:xfrm>
            <a:off x="1264407" y="1730189"/>
            <a:ext cx="3983348" cy="430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400" dirty="0"/>
              <a:t>Разработка новых концептуальных подходов по развитию сферы занятости</a:t>
            </a:r>
            <a:endParaRPr lang="x-none" sz="1400" dirty="0"/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xmlns="" id="{F50D241F-4D93-4AB3-B9CB-76493571121D}"/>
              </a:ext>
            </a:extLst>
          </p:cNvPr>
          <p:cNvSpPr txBox="1">
            <a:spLocks/>
          </p:cNvSpPr>
          <p:nvPr/>
        </p:nvSpPr>
        <p:spPr>
          <a:xfrm>
            <a:off x="1293724" y="2216204"/>
            <a:ext cx="4142372" cy="430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400" dirty="0"/>
              <a:t>Расширение государственной поддержки в сфере занятости и повышение их эффективности</a:t>
            </a:r>
            <a:endParaRPr lang="x-none" sz="1400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xmlns="" id="{6DE89DA7-66F9-4C19-A055-C7D684572A17}"/>
              </a:ext>
            </a:extLst>
          </p:cNvPr>
          <p:cNvSpPr txBox="1">
            <a:spLocks/>
          </p:cNvSpPr>
          <p:nvPr/>
        </p:nvSpPr>
        <p:spPr>
          <a:xfrm>
            <a:off x="1373236" y="2772054"/>
            <a:ext cx="3983348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400" dirty="0"/>
              <a:t>Развитие инструментария сферы занятости </a:t>
            </a:r>
            <a:endParaRPr lang="x-none" sz="1400" dirty="0"/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xmlns="" id="{49D33BD3-AAD5-4A89-B945-A4CA532B8D76}"/>
              </a:ext>
            </a:extLst>
          </p:cNvPr>
          <p:cNvSpPr txBox="1">
            <a:spLocks/>
          </p:cNvSpPr>
          <p:nvPr/>
        </p:nvSpPr>
        <p:spPr>
          <a:xfrm>
            <a:off x="1373236" y="3107685"/>
            <a:ext cx="3983348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400" dirty="0"/>
              <a:t>Развитие инфраструктуры сферы занятости </a:t>
            </a:r>
            <a:endParaRPr lang="x-none" sz="1400" dirty="0"/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xmlns="" id="{7A9E6288-C536-4800-97BF-1A5586C1B807}"/>
              </a:ext>
            </a:extLst>
          </p:cNvPr>
          <p:cNvSpPr txBox="1">
            <a:spLocks/>
          </p:cNvSpPr>
          <p:nvPr/>
        </p:nvSpPr>
        <p:spPr>
          <a:xfrm>
            <a:off x="1370370" y="3431754"/>
            <a:ext cx="3983348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400" dirty="0"/>
              <a:t>Центр компетенции социально-трудовой сферы</a:t>
            </a:r>
          </a:p>
        </p:txBody>
      </p:sp>
      <p:sp>
        <p:nvSpPr>
          <p:cNvPr id="26" name="Oval 20"/>
          <p:cNvSpPr>
            <a:spLocks noChangeArrowheads="1"/>
          </p:cNvSpPr>
          <p:nvPr/>
        </p:nvSpPr>
        <p:spPr bwMode="auto">
          <a:xfrm>
            <a:off x="969710" y="2283742"/>
            <a:ext cx="216000" cy="21600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2</a:t>
            </a:r>
          </a:p>
        </p:txBody>
      </p:sp>
      <p:sp>
        <p:nvSpPr>
          <p:cNvPr id="27" name="Oval 20"/>
          <p:cNvSpPr>
            <a:spLocks noChangeArrowheads="1"/>
          </p:cNvSpPr>
          <p:nvPr/>
        </p:nvSpPr>
        <p:spPr bwMode="auto">
          <a:xfrm>
            <a:off x="969710" y="2787774"/>
            <a:ext cx="216000" cy="21600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3</a:t>
            </a:r>
          </a:p>
        </p:txBody>
      </p:sp>
      <p:sp>
        <p:nvSpPr>
          <p:cNvPr id="28" name="Oval 20"/>
          <p:cNvSpPr>
            <a:spLocks noChangeArrowheads="1"/>
          </p:cNvSpPr>
          <p:nvPr/>
        </p:nvSpPr>
        <p:spPr bwMode="auto">
          <a:xfrm>
            <a:off x="969710" y="3075806"/>
            <a:ext cx="216000" cy="21600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4</a:t>
            </a:r>
          </a:p>
        </p:txBody>
      </p:sp>
      <p:sp>
        <p:nvSpPr>
          <p:cNvPr id="29" name="Oval 20"/>
          <p:cNvSpPr>
            <a:spLocks noChangeArrowheads="1"/>
          </p:cNvSpPr>
          <p:nvPr/>
        </p:nvSpPr>
        <p:spPr bwMode="auto">
          <a:xfrm>
            <a:off x="969710" y="3435846"/>
            <a:ext cx="216000" cy="21600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5</a:t>
            </a:r>
          </a:p>
        </p:txBody>
      </p:sp>
      <p:sp>
        <p:nvSpPr>
          <p:cNvPr id="38" name="ee4pHeader1"/>
          <p:cNvSpPr txBox="1"/>
          <p:nvPr/>
        </p:nvSpPr>
        <p:spPr>
          <a:xfrm>
            <a:off x="929582" y="1063152"/>
            <a:ext cx="2058242" cy="493776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sz="1400" dirty="0">
                <a:solidFill>
                  <a:srgbClr val="295E7E">
                    <a:lumMod val="100000"/>
                  </a:srgbClr>
                </a:solidFill>
                <a:latin typeface="Trebuchet MS" panose="020B0603020202020204" pitchFamily="34" charset="0"/>
              </a:rPr>
              <a:t>Основные компоненты</a:t>
            </a:r>
            <a:endParaRPr lang="en-US" sz="1400" dirty="0">
              <a:solidFill>
                <a:srgbClr val="295E7E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grpSp>
        <p:nvGrpSpPr>
          <p:cNvPr id="62" name="bcgIcons_BuildingBlocks">
            <a:extLst>
              <a:ext uri="{FF2B5EF4-FFF2-40B4-BE49-F238E27FC236}">
                <a16:creationId xmlns:a16="http://schemas.microsoft.com/office/drawing/2014/main" xmlns="" id="{259113F2-7237-4EDC-905E-ADC92E2552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6582" y="825147"/>
            <a:ext cx="486000" cy="486451"/>
            <a:chOff x="1682" y="0"/>
            <a:chExt cx="4316" cy="4320"/>
          </a:xfrm>
        </p:grpSpPr>
        <p:sp>
          <p:nvSpPr>
            <p:cNvPr id="63" name="AutoShape 3">
              <a:extLst>
                <a:ext uri="{FF2B5EF4-FFF2-40B4-BE49-F238E27FC236}">
                  <a16:creationId xmlns:a16="http://schemas.microsoft.com/office/drawing/2014/main" xmlns="" id="{7F8D06FB-8301-47AC-858B-1C9A1527CA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64" name="Freeform 5">
              <a:extLst>
                <a:ext uri="{FF2B5EF4-FFF2-40B4-BE49-F238E27FC236}">
                  <a16:creationId xmlns:a16="http://schemas.microsoft.com/office/drawing/2014/main" xmlns="" id="{BE4B4057-538B-4354-986B-A31D805BC5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9" y="889"/>
              <a:ext cx="2526" cy="2529"/>
            </a:xfrm>
            <a:custGeom>
              <a:avLst/>
              <a:gdLst>
                <a:gd name="T0" fmla="*/ 0 w 2526"/>
                <a:gd name="T1" fmla="*/ 2529 h 2529"/>
                <a:gd name="T2" fmla="*/ 0 w 2526"/>
                <a:gd name="T3" fmla="*/ 1305 h 2529"/>
                <a:gd name="T4" fmla="*/ 1222 w 2526"/>
                <a:gd name="T5" fmla="*/ 1305 h 2529"/>
                <a:gd name="T6" fmla="*/ 1222 w 2526"/>
                <a:gd name="T7" fmla="*/ 2529 h 2529"/>
                <a:gd name="T8" fmla="*/ 0 w 2526"/>
                <a:gd name="T9" fmla="*/ 2529 h 2529"/>
                <a:gd name="T10" fmla="*/ 2526 w 2526"/>
                <a:gd name="T11" fmla="*/ 2529 h 2529"/>
                <a:gd name="T12" fmla="*/ 2526 w 2526"/>
                <a:gd name="T13" fmla="*/ 1305 h 2529"/>
                <a:gd name="T14" fmla="*/ 1304 w 2526"/>
                <a:gd name="T15" fmla="*/ 1305 h 2529"/>
                <a:gd name="T16" fmla="*/ 1304 w 2526"/>
                <a:gd name="T17" fmla="*/ 2529 h 2529"/>
                <a:gd name="T18" fmla="*/ 2526 w 2526"/>
                <a:gd name="T19" fmla="*/ 2529 h 2529"/>
                <a:gd name="T20" fmla="*/ 2526 w 2526"/>
                <a:gd name="T21" fmla="*/ 1222 h 2529"/>
                <a:gd name="T22" fmla="*/ 2526 w 2526"/>
                <a:gd name="T23" fmla="*/ 0 h 2529"/>
                <a:gd name="T24" fmla="*/ 1304 w 2526"/>
                <a:gd name="T25" fmla="*/ 0 h 2529"/>
                <a:gd name="T26" fmla="*/ 1304 w 2526"/>
                <a:gd name="T27" fmla="*/ 1222 h 2529"/>
                <a:gd name="T28" fmla="*/ 2526 w 2526"/>
                <a:gd name="T29" fmla="*/ 1222 h 2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26" h="2529">
                  <a:moveTo>
                    <a:pt x="0" y="2529"/>
                  </a:moveTo>
                  <a:lnTo>
                    <a:pt x="0" y="1305"/>
                  </a:lnTo>
                  <a:lnTo>
                    <a:pt x="1222" y="1305"/>
                  </a:lnTo>
                  <a:lnTo>
                    <a:pt x="1222" y="2529"/>
                  </a:lnTo>
                  <a:lnTo>
                    <a:pt x="0" y="2529"/>
                  </a:lnTo>
                  <a:close/>
                  <a:moveTo>
                    <a:pt x="2526" y="2529"/>
                  </a:moveTo>
                  <a:lnTo>
                    <a:pt x="2526" y="1305"/>
                  </a:lnTo>
                  <a:lnTo>
                    <a:pt x="1304" y="1305"/>
                  </a:lnTo>
                  <a:lnTo>
                    <a:pt x="1304" y="2529"/>
                  </a:lnTo>
                  <a:lnTo>
                    <a:pt x="2526" y="2529"/>
                  </a:lnTo>
                  <a:close/>
                  <a:moveTo>
                    <a:pt x="2526" y="1222"/>
                  </a:moveTo>
                  <a:lnTo>
                    <a:pt x="2526" y="0"/>
                  </a:lnTo>
                  <a:lnTo>
                    <a:pt x="1304" y="0"/>
                  </a:lnTo>
                  <a:lnTo>
                    <a:pt x="1304" y="1222"/>
                  </a:lnTo>
                  <a:lnTo>
                    <a:pt x="2526" y="122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xmlns="" id="{F94993A3-550C-4518-A23E-2BAF957E02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5" y="724"/>
              <a:ext cx="2854" cy="2859"/>
            </a:xfrm>
            <a:custGeom>
              <a:avLst/>
              <a:gdLst>
                <a:gd name="T0" fmla="*/ 1502 w 1524"/>
                <a:gd name="T1" fmla="*/ 1525 h 1525"/>
                <a:gd name="T2" fmla="*/ 22 w 1524"/>
                <a:gd name="T3" fmla="*/ 1525 h 1525"/>
                <a:gd name="T4" fmla="*/ 0 w 1524"/>
                <a:gd name="T5" fmla="*/ 1503 h 1525"/>
                <a:gd name="T6" fmla="*/ 0 w 1524"/>
                <a:gd name="T7" fmla="*/ 718 h 1525"/>
                <a:gd name="T8" fmla="*/ 22 w 1524"/>
                <a:gd name="T9" fmla="*/ 696 h 1525"/>
                <a:gd name="T10" fmla="*/ 696 w 1524"/>
                <a:gd name="T11" fmla="*/ 696 h 1525"/>
                <a:gd name="T12" fmla="*/ 696 w 1524"/>
                <a:gd name="T13" fmla="*/ 22 h 1525"/>
                <a:gd name="T14" fmla="*/ 718 w 1524"/>
                <a:gd name="T15" fmla="*/ 0 h 1525"/>
                <a:gd name="T16" fmla="*/ 1502 w 1524"/>
                <a:gd name="T17" fmla="*/ 0 h 1525"/>
                <a:gd name="T18" fmla="*/ 1524 w 1524"/>
                <a:gd name="T19" fmla="*/ 22 h 1525"/>
                <a:gd name="T20" fmla="*/ 1524 w 1524"/>
                <a:gd name="T21" fmla="*/ 1503 h 1525"/>
                <a:gd name="T22" fmla="*/ 1502 w 1524"/>
                <a:gd name="T23" fmla="*/ 1525 h 1525"/>
                <a:gd name="T24" fmla="*/ 44 w 1524"/>
                <a:gd name="T25" fmla="*/ 1481 h 1525"/>
                <a:gd name="T26" fmla="*/ 1480 w 1524"/>
                <a:gd name="T27" fmla="*/ 1481 h 1525"/>
                <a:gd name="T28" fmla="*/ 1480 w 1524"/>
                <a:gd name="T29" fmla="*/ 44 h 1525"/>
                <a:gd name="T30" fmla="*/ 740 w 1524"/>
                <a:gd name="T31" fmla="*/ 44 h 1525"/>
                <a:gd name="T32" fmla="*/ 740 w 1524"/>
                <a:gd name="T33" fmla="*/ 718 h 1525"/>
                <a:gd name="T34" fmla="*/ 718 w 1524"/>
                <a:gd name="T35" fmla="*/ 740 h 1525"/>
                <a:gd name="T36" fmla="*/ 44 w 1524"/>
                <a:gd name="T37" fmla="*/ 740 h 1525"/>
                <a:gd name="T38" fmla="*/ 44 w 1524"/>
                <a:gd name="T39" fmla="*/ 148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24" h="1525">
                  <a:moveTo>
                    <a:pt x="1502" y="1525"/>
                  </a:moveTo>
                  <a:cubicBezTo>
                    <a:pt x="22" y="1525"/>
                    <a:pt x="22" y="1525"/>
                    <a:pt x="22" y="1525"/>
                  </a:cubicBezTo>
                  <a:cubicBezTo>
                    <a:pt x="10" y="1525"/>
                    <a:pt x="0" y="1515"/>
                    <a:pt x="0" y="1503"/>
                  </a:cubicBezTo>
                  <a:cubicBezTo>
                    <a:pt x="0" y="718"/>
                    <a:pt x="0" y="718"/>
                    <a:pt x="0" y="718"/>
                  </a:cubicBezTo>
                  <a:cubicBezTo>
                    <a:pt x="0" y="706"/>
                    <a:pt x="10" y="696"/>
                    <a:pt x="22" y="696"/>
                  </a:cubicBezTo>
                  <a:cubicBezTo>
                    <a:pt x="696" y="696"/>
                    <a:pt x="696" y="696"/>
                    <a:pt x="696" y="696"/>
                  </a:cubicBezTo>
                  <a:cubicBezTo>
                    <a:pt x="696" y="22"/>
                    <a:pt x="696" y="22"/>
                    <a:pt x="696" y="22"/>
                  </a:cubicBezTo>
                  <a:cubicBezTo>
                    <a:pt x="696" y="10"/>
                    <a:pt x="706" y="0"/>
                    <a:pt x="718" y="0"/>
                  </a:cubicBezTo>
                  <a:cubicBezTo>
                    <a:pt x="1502" y="0"/>
                    <a:pt x="1502" y="0"/>
                    <a:pt x="1502" y="0"/>
                  </a:cubicBezTo>
                  <a:cubicBezTo>
                    <a:pt x="1514" y="0"/>
                    <a:pt x="1524" y="10"/>
                    <a:pt x="1524" y="22"/>
                  </a:cubicBezTo>
                  <a:cubicBezTo>
                    <a:pt x="1524" y="1503"/>
                    <a:pt x="1524" y="1503"/>
                    <a:pt x="1524" y="1503"/>
                  </a:cubicBezTo>
                  <a:cubicBezTo>
                    <a:pt x="1524" y="1515"/>
                    <a:pt x="1514" y="1525"/>
                    <a:pt x="1502" y="1525"/>
                  </a:cubicBezTo>
                  <a:close/>
                  <a:moveTo>
                    <a:pt x="44" y="1481"/>
                  </a:moveTo>
                  <a:cubicBezTo>
                    <a:pt x="1480" y="1481"/>
                    <a:pt x="1480" y="1481"/>
                    <a:pt x="1480" y="1481"/>
                  </a:cubicBezTo>
                  <a:cubicBezTo>
                    <a:pt x="1480" y="44"/>
                    <a:pt x="1480" y="44"/>
                    <a:pt x="1480" y="44"/>
                  </a:cubicBezTo>
                  <a:cubicBezTo>
                    <a:pt x="740" y="44"/>
                    <a:pt x="740" y="44"/>
                    <a:pt x="740" y="44"/>
                  </a:cubicBezTo>
                  <a:cubicBezTo>
                    <a:pt x="740" y="718"/>
                    <a:pt x="740" y="718"/>
                    <a:pt x="740" y="718"/>
                  </a:cubicBezTo>
                  <a:cubicBezTo>
                    <a:pt x="740" y="730"/>
                    <a:pt x="730" y="740"/>
                    <a:pt x="718" y="740"/>
                  </a:cubicBezTo>
                  <a:cubicBezTo>
                    <a:pt x="44" y="740"/>
                    <a:pt x="44" y="740"/>
                    <a:pt x="44" y="740"/>
                  </a:cubicBezTo>
                  <a:lnTo>
                    <a:pt x="44" y="14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</p:grpSp>
      <p:grpSp>
        <p:nvGrpSpPr>
          <p:cNvPr id="66" name="Group 65"/>
          <p:cNvGrpSpPr>
            <a:grpSpLocks noChangeAspect="1"/>
          </p:cNvGrpSpPr>
          <p:nvPr/>
        </p:nvGrpSpPr>
        <p:grpSpPr>
          <a:xfrm>
            <a:off x="6130042" y="1100472"/>
            <a:ext cx="486451" cy="486451"/>
            <a:chOff x="5273675" y="2606675"/>
            <a:chExt cx="1644650" cy="1644650"/>
          </a:xfrm>
        </p:grpSpPr>
        <p:sp>
          <p:nvSpPr>
            <p:cNvPr id="67" name="AutoShape 16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5541963" y="2881313"/>
              <a:ext cx="1103313" cy="1096963"/>
            </a:xfrm>
            <a:custGeom>
              <a:avLst/>
              <a:gdLst>
                <a:gd name="connsiteX0" fmla="*/ 627062 w 1103313"/>
                <a:gd name="connsiteY0" fmla="*/ 808037 h 1096963"/>
                <a:gd name="connsiteX1" fmla="*/ 876412 w 1103313"/>
                <a:gd name="connsiteY1" fmla="*/ 808037 h 1096963"/>
                <a:gd name="connsiteX2" fmla="*/ 892175 w 1103313"/>
                <a:gd name="connsiteY2" fmla="*/ 823119 h 1096963"/>
                <a:gd name="connsiteX3" fmla="*/ 876412 w 1103313"/>
                <a:gd name="connsiteY3" fmla="*/ 838200 h 1096963"/>
                <a:gd name="connsiteX4" fmla="*/ 627062 w 1103313"/>
                <a:gd name="connsiteY4" fmla="*/ 838200 h 1096963"/>
                <a:gd name="connsiteX5" fmla="*/ 627062 w 1103313"/>
                <a:gd name="connsiteY5" fmla="*/ 808037 h 1096963"/>
                <a:gd name="connsiteX6" fmla="*/ 228361 w 1103313"/>
                <a:gd name="connsiteY6" fmla="*/ 808037 h 1096963"/>
                <a:gd name="connsiteX7" fmla="*/ 382588 w 1103313"/>
                <a:gd name="connsiteY7" fmla="*/ 808037 h 1096963"/>
                <a:gd name="connsiteX8" fmla="*/ 382588 w 1103313"/>
                <a:gd name="connsiteY8" fmla="*/ 838200 h 1096963"/>
                <a:gd name="connsiteX9" fmla="*/ 228361 w 1103313"/>
                <a:gd name="connsiteY9" fmla="*/ 838200 h 1096963"/>
                <a:gd name="connsiteX10" fmla="*/ 212725 w 1103313"/>
                <a:gd name="connsiteY10" fmla="*/ 823119 h 1096963"/>
                <a:gd name="connsiteX11" fmla="*/ 228361 w 1103313"/>
                <a:gd name="connsiteY11" fmla="*/ 808037 h 1096963"/>
                <a:gd name="connsiteX12" fmla="*/ 430087 w 1103313"/>
                <a:gd name="connsiteY12" fmla="*/ 731837 h 1096963"/>
                <a:gd name="connsiteX13" fmla="*/ 581149 w 1103313"/>
                <a:gd name="connsiteY13" fmla="*/ 731837 h 1096963"/>
                <a:gd name="connsiteX14" fmla="*/ 596899 w 1103313"/>
                <a:gd name="connsiteY14" fmla="*/ 747588 h 1096963"/>
                <a:gd name="connsiteX15" fmla="*/ 596899 w 1103313"/>
                <a:gd name="connsiteY15" fmla="*/ 807010 h 1096963"/>
                <a:gd name="connsiteX16" fmla="*/ 596899 w 1103313"/>
                <a:gd name="connsiteY16" fmla="*/ 838511 h 1096963"/>
                <a:gd name="connsiteX17" fmla="*/ 596899 w 1103313"/>
                <a:gd name="connsiteY17" fmla="*/ 898650 h 1096963"/>
                <a:gd name="connsiteX18" fmla="*/ 581149 w 1103313"/>
                <a:gd name="connsiteY18" fmla="*/ 914400 h 1096963"/>
                <a:gd name="connsiteX19" fmla="*/ 430087 w 1103313"/>
                <a:gd name="connsiteY19" fmla="*/ 914400 h 1096963"/>
                <a:gd name="connsiteX20" fmla="*/ 414336 w 1103313"/>
                <a:gd name="connsiteY20" fmla="*/ 898650 h 1096963"/>
                <a:gd name="connsiteX21" fmla="*/ 414336 w 1103313"/>
                <a:gd name="connsiteY21" fmla="*/ 838511 h 1096963"/>
                <a:gd name="connsiteX22" fmla="*/ 414336 w 1103313"/>
                <a:gd name="connsiteY22" fmla="*/ 807010 h 1096963"/>
                <a:gd name="connsiteX23" fmla="*/ 414336 w 1103313"/>
                <a:gd name="connsiteY23" fmla="*/ 747588 h 1096963"/>
                <a:gd name="connsiteX24" fmla="*/ 430087 w 1103313"/>
                <a:gd name="connsiteY24" fmla="*/ 731837 h 1096963"/>
                <a:gd name="connsiteX25" fmla="*/ 722312 w 1103313"/>
                <a:gd name="connsiteY25" fmla="*/ 531812 h 1096963"/>
                <a:gd name="connsiteX26" fmla="*/ 876474 w 1103313"/>
                <a:gd name="connsiteY26" fmla="*/ 531812 h 1096963"/>
                <a:gd name="connsiteX27" fmla="*/ 892175 w 1103313"/>
                <a:gd name="connsiteY27" fmla="*/ 546894 h 1096963"/>
                <a:gd name="connsiteX28" fmla="*/ 876474 w 1103313"/>
                <a:gd name="connsiteY28" fmla="*/ 561975 h 1096963"/>
                <a:gd name="connsiteX29" fmla="*/ 722312 w 1103313"/>
                <a:gd name="connsiteY29" fmla="*/ 561975 h 1096963"/>
                <a:gd name="connsiteX30" fmla="*/ 722312 w 1103313"/>
                <a:gd name="connsiteY30" fmla="*/ 531812 h 1096963"/>
                <a:gd name="connsiteX31" fmla="*/ 228352 w 1103313"/>
                <a:gd name="connsiteY31" fmla="*/ 531812 h 1096963"/>
                <a:gd name="connsiteX32" fmla="*/ 476250 w 1103313"/>
                <a:gd name="connsiteY32" fmla="*/ 531812 h 1096963"/>
                <a:gd name="connsiteX33" fmla="*/ 476250 w 1103313"/>
                <a:gd name="connsiteY33" fmla="*/ 561975 h 1096963"/>
                <a:gd name="connsiteX34" fmla="*/ 228352 w 1103313"/>
                <a:gd name="connsiteY34" fmla="*/ 561975 h 1096963"/>
                <a:gd name="connsiteX35" fmla="*/ 212725 w 1103313"/>
                <a:gd name="connsiteY35" fmla="*/ 546894 h 1096963"/>
                <a:gd name="connsiteX36" fmla="*/ 228352 w 1103313"/>
                <a:gd name="connsiteY36" fmla="*/ 531812 h 1096963"/>
                <a:gd name="connsiteX37" fmla="*/ 523750 w 1103313"/>
                <a:gd name="connsiteY37" fmla="*/ 455612 h 1096963"/>
                <a:gd name="connsiteX38" fmla="*/ 674812 w 1103313"/>
                <a:gd name="connsiteY38" fmla="*/ 455612 h 1096963"/>
                <a:gd name="connsiteX39" fmla="*/ 690562 w 1103313"/>
                <a:gd name="connsiteY39" fmla="*/ 471363 h 1096963"/>
                <a:gd name="connsiteX40" fmla="*/ 690562 w 1103313"/>
                <a:gd name="connsiteY40" fmla="*/ 530785 h 1096963"/>
                <a:gd name="connsiteX41" fmla="*/ 690562 w 1103313"/>
                <a:gd name="connsiteY41" fmla="*/ 562286 h 1096963"/>
                <a:gd name="connsiteX42" fmla="*/ 690562 w 1103313"/>
                <a:gd name="connsiteY42" fmla="*/ 622425 h 1096963"/>
                <a:gd name="connsiteX43" fmla="*/ 674812 w 1103313"/>
                <a:gd name="connsiteY43" fmla="*/ 638175 h 1096963"/>
                <a:gd name="connsiteX44" fmla="*/ 523750 w 1103313"/>
                <a:gd name="connsiteY44" fmla="*/ 638175 h 1096963"/>
                <a:gd name="connsiteX45" fmla="*/ 507999 w 1103313"/>
                <a:gd name="connsiteY45" fmla="*/ 622425 h 1096963"/>
                <a:gd name="connsiteX46" fmla="*/ 507999 w 1103313"/>
                <a:gd name="connsiteY46" fmla="*/ 562286 h 1096963"/>
                <a:gd name="connsiteX47" fmla="*/ 507999 w 1103313"/>
                <a:gd name="connsiteY47" fmla="*/ 530785 h 1096963"/>
                <a:gd name="connsiteX48" fmla="*/ 507999 w 1103313"/>
                <a:gd name="connsiteY48" fmla="*/ 471363 h 1096963"/>
                <a:gd name="connsiteX49" fmla="*/ 523750 w 1103313"/>
                <a:gd name="connsiteY49" fmla="*/ 455612 h 1096963"/>
                <a:gd name="connsiteX50" fmla="*/ 627062 w 1103313"/>
                <a:gd name="connsiteY50" fmla="*/ 255587 h 1096963"/>
                <a:gd name="connsiteX51" fmla="*/ 876412 w 1103313"/>
                <a:gd name="connsiteY51" fmla="*/ 255587 h 1096963"/>
                <a:gd name="connsiteX52" fmla="*/ 892175 w 1103313"/>
                <a:gd name="connsiteY52" fmla="*/ 270669 h 1096963"/>
                <a:gd name="connsiteX53" fmla="*/ 876412 w 1103313"/>
                <a:gd name="connsiteY53" fmla="*/ 285750 h 1096963"/>
                <a:gd name="connsiteX54" fmla="*/ 627062 w 1103313"/>
                <a:gd name="connsiteY54" fmla="*/ 285750 h 1096963"/>
                <a:gd name="connsiteX55" fmla="*/ 627062 w 1103313"/>
                <a:gd name="connsiteY55" fmla="*/ 255587 h 1096963"/>
                <a:gd name="connsiteX56" fmla="*/ 228361 w 1103313"/>
                <a:gd name="connsiteY56" fmla="*/ 255587 h 1096963"/>
                <a:gd name="connsiteX57" fmla="*/ 382588 w 1103313"/>
                <a:gd name="connsiteY57" fmla="*/ 255587 h 1096963"/>
                <a:gd name="connsiteX58" fmla="*/ 382588 w 1103313"/>
                <a:gd name="connsiteY58" fmla="*/ 285750 h 1096963"/>
                <a:gd name="connsiteX59" fmla="*/ 228361 w 1103313"/>
                <a:gd name="connsiteY59" fmla="*/ 285750 h 1096963"/>
                <a:gd name="connsiteX60" fmla="*/ 212725 w 1103313"/>
                <a:gd name="connsiteY60" fmla="*/ 270669 h 1096963"/>
                <a:gd name="connsiteX61" fmla="*/ 228361 w 1103313"/>
                <a:gd name="connsiteY61" fmla="*/ 255587 h 1096963"/>
                <a:gd name="connsiteX62" fmla="*/ 430087 w 1103313"/>
                <a:gd name="connsiteY62" fmla="*/ 179387 h 1096963"/>
                <a:gd name="connsiteX63" fmla="*/ 581149 w 1103313"/>
                <a:gd name="connsiteY63" fmla="*/ 179387 h 1096963"/>
                <a:gd name="connsiteX64" fmla="*/ 596899 w 1103313"/>
                <a:gd name="connsiteY64" fmla="*/ 195138 h 1096963"/>
                <a:gd name="connsiteX65" fmla="*/ 596899 w 1103313"/>
                <a:gd name="connsiteY65" fmla="*/ 254560 h 1096963"/>
                <a:gd name="connsiteX66" fmla="*/ 596899 w 1103313"/>
                <a:gd name="connsiteY66" fmla="*/ 286061 h 1096963"/>
                <a:gd name="connsiteX67" fmla="*/ 596899 w 1103313"/>
                <a:gd name="connsiteY67" fmla="*/ 346200 h 1096963"/>
                <a:gd name="connsiteX68" fmla="*/ 581149 w 1103313"/>
                <a:gd name="connsiteY68" fmla="*/ 361950 h 1096963"/>
                <a:gd name="connsiteX69" fmla="*/ 430087 w 1103313"/>
                <a:gd name="connsiteY69" fmla="*/ 361950 h 1096963"/>
                <a:gd name="connsiteX70" fmla="*/ 414336 w 1103313"/>
                <a:gd name="connsiteY70" fmla="*/ 346200 h 1096963"/>
                <a:gd name="connsiteX71" fmla="*/ 414336 w 1103313"/>
                <a:gd name="connsiteY71" fmla="*/ 286061 h 1096963"/>
                <a:gd name="connsiteX72" fmla="*/ 414336 w 1103313"/>
                <a:gd name="connsiteY72" fmla="*/ 254560 h 1096963"/>
                <a:gd name="connsiteX73" fmla="*/ 414336 w 1103313"/>
                <a:gd name="connsiteY73" fmla="*/ 195138 h 1096963"/>
                <a:gd name="connsiteX74" fmla="*/ 430087 w 1103313"/>
                <a:gd name="connsiteY74" fmla="*/ 179387 h 1096963"/>
                <a:gd name="connsiteX75" fmla="*/ 36512 w 1103313"/>
                <a:gd name="connsiteY75" fmla="*/ 36512 h 1096963"/>
                <a:gd name="connsiteX76" fmla="*/ 36512 w 1103313"/>
                <a:gd name="connsiteY76" fmla="*/ 1058862 h 1096963"/>
                <a:gd name="connsiteX77" fmla="*/ 1066800 w 1103313"/>
                <a:gd name="connsiteY77" fmla="*/ 1058862 h 1096963"/>
                <a:gd name="connsiteX78" fmla="*/ 1066800 w 1103313"/>
                <a:gd name="connsiteY78" fmla="*/ 36512 h 1096963"/>
                <a:gd name="connsiteX79" fmla="*/ 34234 w 1103313"/>
                <a:gd name="connsiteY79" fmla="*/ 0 h 1096963"/>
                <a:gd name="connsiteX80" fmla="*/ 1069080 w 1103313"/>
                <a:gd name="connsiteY80" fmla="*/ 0 h 1096963"/>
                <a:gd name="connsiteX81" fmla="*/ 1103313 w 1103313"/>
                <a:gd name="connsiteY81" fmla="*/ 34258 h 1096963"/>
                <a:gd name="connsiteX82" fmla="*/ 1103313 w 1103313"/>
                <a:gd name="connsiteY82" fmla="*/ 1062705 h 1096963"/>
                <a:gd name="connsiteX83" fmla="*/ 1069080 w 1103313"/>
                <a:gd name="connsiteY83" fmla="*/ 1096963 h 1096963"/>
                <a:gd name="connsiteX84" fmla="*/ 34234 w 1103313"/>
                <a:gd name="connsiteY84" fmla="*/ 1096963 h 1096963"/>
                <a:gd name="connsiteX85" fmla="*/ 0 w 1103313"/>
                <a:gd name="connsiteY85" fmla="*/ 1062705 h 1096963"/>
                <a:gd name="connsiteX86" fmla="*/ 0 w 1103313"/>
                <a:gd name="connsiteY86" fmla="*/ 34258 h 1096963"/>
                <a:gd name="connsiteX87" fmla="*/ 34234 w 1103313"/>
                <a:gd name="connsiteY87" fmla="*/ 0 h 109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103313" h="1096963">
                  <a:moveTo>
                    <a:pt x="627062" y="808037"/>
                  </a:moveTo>
                  <a:cubicBezTo>
                    <a:pt x="627062" y="808037"/>
                    <a:pt x="627062" y="808037"/>
                    <a:pt x="876412" y="808037"/>
                  </a:cubicBezTo>
                  <a:cubicBezTo>
                    <a:pt x="885010" y="808037"/>
                    <a:pt x="892175" y="814892"/>
                    <a:pt x="892175" y="823119"/>
                  </a:cubicBezTo>
                  <a:cubicBezTo>
                    <a:pt x="892175" y="832030"/>
                    <a:pt x="885010" y="838200"/>
                    <a:pt x="876412" y="838200"/>
                  </a:cubicBezTo>
                  <a:cubicBezTo>
                    <a:pt x="876412" y="838200"/>
                    <a:pt x="876412" y="838200"/>
                    <a:pt x="627062" y="838200"/>
                  </a:cubicBezTo>
                  <a:cubicBezTo>
                    <a:pt x="627062" y="838200"/>
                    <a:pt x="627062" y="838200"/>
                    <a:pt x="627062" y="808037"/>
                  </a:cubicBezTo>
                  <a:close/>
                  <a:moveTo>
                    <a:pt x="228361" y="808037"/>
                  </a:moveTo>
                  <a:cubicBezTo>
                    <a:pt x="228361" y="808037"/>
                    <a:pt x="228361" y="808037"/>
                    <a:pt x="382588" y="808037"/>
                  </a:cubicBezTo>
                  <a:cubicBezTo>
                    <a:pt x="382588" y="808037"/>
                    <a:pt x="382588" y="808037"/>
                    <a:pt x="382588" y="838200"/>
                  </a:cubicBezTo>
                  <a:cubicBezTo>
                    <a:pt x="382588" y="838200"/>
                    <a:pt x="382588" y="838200"/>
                    <a:pt x="228361" y="838200"/>
                  </a:cubicBezTo>
                  <a:cubicBezTo>
                    <a:pt x="219832" y="838200"/>
                    <a:pt x="212725" y="832030"/>
                    <a:pt x="212725" y="823119"/>
                  </a:cubicBezTo>
                  <a:cubicBezTo>
                    <a:pt x="212725" y="814892"/>
                    <a:pt x="219832" y="808037"/>
                    <a:pt x="228361" y="808037"/>
                  </a:cubicBezTo>
                  <a:close/>
                  <a:moveTo>
                    <a:pt x="430087" y="731837"/>
                  </a:moveTo>
                  <a:cubicBezTo>
                    <a:pt x="430087" y="731837"/>
                    <a:pt x="430087" y="731837"/>
                    <a:pt x="581149" y="731837"/>
                  </a:cubicBezTo>
                  <a:cubicBezTo>
                    <a:pt x="589740" y="731837"/>
                    <a:pt x="596899" y="738996"/>
                    <a:pt x="596899" y="747588"/>
                  </a:cubicBezTo>
                  <a:cubicBezTo>
                    <a:pt x="596899" y="747588"/>
                    <a:pt x="596899" y="747588"/>
                    <a:pt x="596899" y="807010"/>
                  </a:cubicBezTo>
                  <a:cubicBezTo>
                    <a:pt x="596899" y="807010"/>
                    <a:pt x="596899" y="807010"/>
                    <a:pt x="596899" y="838511"/>
                  </a:cubicBezTo>
                  <a:cubicBezTo>
                    <a:pt x="596899" y="838511"/>
                    <a:pt x="596899" y="838511"/>
                    <a:pt x="596899" y="898650"/>
                  </a:cubicBezTo>
                  <a:cubicBezTo>
                    <a:pt x="596899" y="907241"/>
                    <a:pt x="589740" y="914400"/>
                    <a:pt x="581149" y="914400"/>
                  </a:cubicBezTo>
                  <a:cubicBezTo>
                    <a:pt x="581149" y="914400"/>
                    <a:pt x="581149" y="914400"/>
                    <a:pt x="430087" y="914400"/>
                  </a:cubicBezTo>
                  <a:cubicBezTo>
                    <a:pt x="420780" y="914400"/>
                    <a:pt x="414336" y="907241"/>
                    <a:pt x="414336" y="898650"/>
                  </a:cubicBezTo>
                  <a:cubicBezTo>
                    <a:pt x="414336" y="898650"/>
                    <a:pt x="414336" y="898650"/>
                    <a:pt x="414336" y="838511"/>
                  </a:cubicBezTo>
                  <a:cubicBezTo>
                    <a:pt x="414336" y="838511"/>
                    <a:pt x="414336" y="838511"/>
                    <a:pt x="414336" y="807010"/>
                  </a:cubicBezTo>
                  <a:cubicBezTo>
                    <a:pt x="414336" y="807010"/>
                    <a:pt x="414336" y="807010"/>
                    <a:pt x="414336" y="747588"/>
                  </a:cubicBezTo>
                  <a:cubicBezTo>
                    <a:pt x="414336" y="738996"/>
                    <a:pt x="420780" y="731837"/>
                    <a:pt x="430087" y="731837"/>
                  </a:cubicBezTo>
                  <a:close/>
                  <a:moveTo>
                    <a:pt x="722312" y="531812"/>
                  </a:moveTo>
                  <a:cubicBezTo>
                    <a:pt x="722312" y="531812"/>
                    <a:pt x="722312" y="531812"/>
                    <a:pt x="876474" y="531812"/>
                  </a:cubicBezTo>
                  <a:cubicBezTo>
                    <a:pt x="885038" y="531812"/>
                    <a:pt x="892175" y="538667"/>
                    <a:pt x="892175" y="546894"/>
                  </a:cubicBezTo>
                  <a:cubicBezTo>
                    <a:pt x="892175" y="555805"/>
                    <a:pt x="885038" y="561975"/>
                    <a:pt x="876474" y="561975"/>
                  </a:cubicBezTo>
                  <a:cubicBezTo>
                    <a:pt x="876474" y="561975"/>
                    <a:pt x="876474" y="561975"/>
                    <a:pt x="722312" y="561975"/>
                  </a:cubicBezTo>
                  <a:cubicBezTo>
                    <a:pt x="722312" y="561975"/>
                    <a:pt x="722312" y="561975"/>
                    <a:pt x="722312" y="531812"/>
                  </a:cubicBezTo>
                  <a:close/>
                  <a:moveTo>
                    <a:pt x="228352" y="531812"/>
                  </a:moveTo>
                  <a:cubicBezTo>
                    <a:pt x="228352" y="531812"/>
                    <a:pt x="228352" y="531812"/>
                    <a:pt x="476250" y="531812"/>
                  </a:cubicBezTo>
                  <a:cubicBezTo>
                    <a:pt x="476250" y="531812"/>
                    <a:pt x="476250" y="531812"/>
                    <a:pt x="476250" y="561975"/>
                  </a:cubicBezTo>
                  <a:cubicBezTo>
                    <a:pt x="476250" y="561975"/>
                    <a:pt x="476250" y="561975"/>
                    <a:pt x="228352" y="561975"/>
                  </a:cubicBezTo>
                  <a:cubicBezTo>
                    <a:pt x="219828" y="561975"/>
                    <a:pt x="212725" y="555805"/>
                    <a:pt x="212725" y="546894"/>
                  </a:cubicBezTo>
                  <a:cubicBezTo>
                    <a:pt x="212725" y="538667"/>
                    <a:pt x="219828" y="531812"/>
                    <a:pt x="228352" y="531812"/>
                  </a:cubicBezTo>
                  <a:close/>
                  <a:moveTo>
                    <a:pt x="523750" y="455612"/>
                  </a:moveTo>
                  <a:cubicBezTo>
                    <a:pt x="523750" y="455612"/>
                    <a:pt x="523750" y="455612"/>
                    <a:pt x="674812" y="455612"/>
                  </a:cubicBezTo>
                  <a:cubicBezTo>
                    <a:pt x="683403" y="455612"/>
                    <a:pt x="690562" y="462771"/>
                    <a:pt x="690562" y="471363"/>
                  </a:cubicBezTo>
                  <a:cubicBezTo>
                    <a:pt x="690562" y="471363"/>
                    <a:pt x="690562" y="471363"/>
                    <a:pt x="690562" y="530785"/>
                  </a:cubicBezTo>
                  <a:cubicBezTo>
                    <a:pt x="690562" y="530785"/>
                    <a:pt x="690562" y="530785"/>
                    <a:pt x="690562" y="562286"/>
                  </a:cubicBezTo>
                  <a:cubicBezTo>
                    <a:pt x="690562" y="562286"/>
                    <a:pt x="690562" y="562286"/>
                    <a:pt x="690562" y="622425"/>
                  </a:cubicBezTo>
                  <a:cubicBezTo>
                    <a:pt x="690562" y="631016"/>
                    <a:pt x="683403" y="638175"/>
                    <a:pt x="674812" y="638175"/>
                  </a:cubicBezTo>
                  <a:cubicBezTo>
                    <a:pt x="674812" y="638175"/>
                    <a:pt x="674812" y="638175"/>
                    <a:pt x="523750" y="638175"/>
                  </a:cubicBezTo>
                  <a:cubicBezTo>
                    <a:pt x="514443" y="638175"/>
                    <a:pt x="507999" y="631016"/>
                    <a:pt x="507999" y="622425"/>
                  </a:cubicBezTo>
                  <a:cubicBezTo>
                    <a:pt x="507999" y="622425"/>
                    <a:pt x="507999" y="622425"/>
                    <a:pt x="507999" y="562286"/>
                  </a:cubicBezTo>
                  <a:cubicBezTo>
                    <a:pt x="507999" y="562286"/>
                    <a:pt x="507999" y="562286"/>
                    <a:pt x="507999" y="530785"/>
                  </a:cubicBezTo>
                  <a:cubicBezTo>
                    <a:pt x="507999" y="530785"/>
                    <a:pt x="507999" y="530785"/>
                    <a:pt x="507999" y="471363"/>
                  </a:cubicBezTo>
                  <a:cubicBezTo>
                    <a:pt x="507999" y="462771"/>
                    <a:pt x="514443" y="455612"/>
                    <a:pt x="523750" y="455612"/>
                  </a:cubicBezTo>
                  <a:close/>
                  <a:moveTo>
                    <a:pt x="627062" y="255587"/>
                  </a:moveTo>
                  <a:cubicBezTo>
                    <a:pt x="627062" y="255587"/>
                    <a:pt x="627062" y="255587"/>
                    <a:pt x="876412" y="255587"/>
                  </a:cubicBezTo>
                  <a:cubicBezTo>
                    <a:pt x="885010" y="255587"/>
                    <a:pt x="892175" y="262442"/>
                    <a:pt x="892175" y="270669"/>
                  </a:cubicBezTo>
                  <a:cubicBezTo>
                    <a:pt x="892175" y="279580"/>
                    <a:pt x="885010" y="285750"/>
                    <a:pt x="876412" y="285750"/>
                  </a:cubicBezTo>
                  <a:cubicBezTo>
                    <a:pt x="876412" y="285750"/>
                    <a:pt x="876412" y="285750"/>
                    <a:pt x="627062" y="285750"/>
                  </a:cubicBezTo>
                  <a:cubicBezTo>
                    <a:pt x="627062" y="285750"/>
                    <a:pt x="627062" y="285750"/>
                    <a:pt x="627062" y="255587"/>
                  </a:cubicBezTo>
                  <a:close/>
                  <a:moveTo>
                    <a:pt x="228361" y="255587"/>
                  </a:moveTo>
                  <a:cubicBezTo>
                    <a:pt x="228361" y="255587"/>
                    <a:pt x="228361" y="255587"/>
                    <a:pt x="382588" y="255587"/>
                  </a:cubicBezTo>
                  <a:cubicBezTo>
                    <a:pt x="382588" y="255587"/>
                    <a:pt x="382588" y="255587"/>
                    <a:pt x="382588" y="285750"/>
                  </a:cubicBezTo>
                  <a:cubicBezTo>
                    <a:pt x="382588" y="285750"/>
                    <a:pt x="382588" y="285750"/>
                    <a:pt x="228361" y="285750"/>
                  </a:cubicBezTo>
                  <a:cubicBezTo>
                    <a:pt x="219832" y="285750"/>
                    <a:pt x="212725" y="279580"/>
                    <a:pt x="212725" y="270669"/>
                  </a:cubicBezTo>
                  <a:cubicBezTo>
                    <a:pt x="212725" y="262442"/>
                    <a:pt x="219832" y="255587"/>
                    <a:pt x="228361" y="255587"/>
                  </a:cubicBezTo>
                  <a:close/>
                  <a:moveTo>
                    <a:pt x="430087" y="179387"/>
                  </a:moveTo>
                  <a:cubicBezTo>
                    <a:pt x="430087" y="179387"/>
                    <a:pt x="430087" y="179387"/>
                    <a:pt x="581149" y="179387"/>
                  </a:cubicBezTo>
                  <a:cubicBezTo>
                    <a:pt x="589740" y="179387"/>
                    <a:pt x="596899" y="186546"/>
                    <a:pt x="596899" y="195138"/>
                  </a:cubicBezTo>
                  <a:cubicBezTo>
                    <a:pt x="596899" y="195138"/>
                    <a:pt x="596899" y="195138"/>
                    <a:pt x="596899" y="254560"/>
                  </a:cubicBezTo>
                  <a:cubicBezTo>
                    <a:pt x="596899" y="254560"/>
                    <a:pt x="596899" y="254560"/>
                    <a:pt x="596899" y="286061"/>
                  </a:cubicBezTo>
                  <a:cubicBezTo>
                    <a:pt x="596899" y="286061"/>
                    <a:pt x="596899" y="286061"/>
                    <a:pt x="596899" y="346200"/>
                  </a:cubicBezTo>
                  <a:cubicBezTo>
                    <a:pt x="596899" y="354791"/>
                    <a:pt x="589740" y="361950"/>
                    <a:pt x="581149" y="361950"/>
                  </a:cubicBezTo>
                  <a:cubicBezTo>
                    <a:pt x="581149" y="361950"/>
                    <a:pt x="581149" y="361950"/>
                    <a:pt x="430087" y="361950"/>
                  </a:cubicBezTo>
                  <a:cubicBezTo>
                    <a:pt x="420780" y="361950"/>
                    <a:pt x="414336" y="354791"/>
                    <a:pt x="414336" y="346200"/>
                  </a:cubicBezTo>
                  <a:cubicBezTo>
                    <a:pt x="414336" y="346200"/>
                    <a:pt x="414336" y="346200"/>
                    <a:pt x="414336" y="286061"/>
                  </a:cubicBezTo>
                  <a:cubicBezTo>
                    <a:pt x="414336" y="286061"/>
                    <a:pt x="414336" y="286061"/>
                    <a:pt x="414336" y="254560"/>
                  </a:cubicBezTo>
                  <a:cubicBezTo>
                    <a:pt x="414336" y="254560"/>
                    <a:pt x="414336" y="254560"/>
                    <a:pt x="414336" y="195138"/>
                  </a:cubicBezTo>
                  <a:cubicBezTo>
                    <a:pt x="414336" y="186546"/>
                    <a:pt x="420780" y="179387"/>
                    <a:pt x="430087" y="179387"/>
                  </a:cubicBezTo>
                  <a:close/>
                  <a:moveTo>
                    <a:pt x="36512" y="36512"/>
                  </a:moveTo>
                  <a:lnTo>
                    <a:pt x="36512" y="1058862"/>
                  </a:lnTo>
                  <a:lnTo>
                    <a:pt x="1066800" y="1058862"/>
                  </a:lnTo>
                  <a:lnTo>
                    <a:pt x="1066800" y="36512"/>
                  </a:lnTo>
                  <a:close/>
                  <a:moveTo>
                    <a:pt x="34234" y="0"/>
                  </a:moveTo>
                  <a:cubicBezTo>
                    <a:pt x="34234" y="0"/>
                    <a:pt x="34234" y="0"/>
                    <a:pt x="1069080" y="0"/>
                  </a:cubicBezTo>
                  <a:cubicBezTo>
                    <a:pt x="1087623" y="0"/>
                    <a:pt x="1103313" y="15702"/>
                    <a:pt x="1103313" y="34258"/>
                  </a:cubicBezTo>
                  <a:cubicBezTo>
                    <a:pt x="1103313" y="34258"/>
                    <a:pt x="1103313" y="34258"/>
                    <a:pt x="1103313" y="1062705"/>
                  </a:cubicBezTo>
                  <a:cubicBezTo>
                    <a:pt x="1103313" y="1081975"/>
                    <a:pt x="1087623" y="1096963"/>
                    <a:pt x="1069080" y="1096963"/>
                  </a:cubicBezTo>
                  <a:cubicBezTo>
                    <a:pt x="1069080" y="1096963"/>
                    <a:pt x="1069080" y="1096963"/>
                    <a:pt x="34234" y="1096963"/>
                  </a:cubicBezTo>
                  <a:cubicBezTo>
                    <a:pt x="15691" y="1096963"/>
                    <a:pt x="0" y="1081975"/>
                    <a:pt x="0" y="1062705"/>
                  </a:cubicBezTo>
                  <a:cubicBezTo>
                    <a:pt x="0" y="1062705"/>
                    <a:pt x="0" y="1062705"/>
                    <a:pt x="0" y="34258"/>
                  </a:cubicBezTo>
                  <a:cubicBezTo>
                    <a:pt x="0" y="15702"/>
                    <a:pt x="15691" y="0"/>
                    <a:pt x="3423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 dirty="0"/>
            </a:p>
          </p:txBody>
        </p:sp>
      </p:grpSp>
      <p:sp>
        <p:nvSpPr>
          <p:cNvPr id="74" name="Подзаголовок 2">
            <a:extLst>
              <a:ext uri="{FF2B5EF4-FFF2-40B4-BE49-F238E27FC236}">
                <a16:creationId xmlns:a16="http://schemas.microsoft.com/office/drawing/2014/main" xmlns="" id="{6DE89DA7-66F9-4C19-A055-C7D684572A17}"/>
              </a:ext>
            </a:extLst>
          </p:cNvPr>
          <p:cNvSpPr txBox="1">
            <a:spLocks/>
          </p:cNvSpPr>
          <p:nvPr/>
        </p:nvSpPr>
        <p:spPr>
          <a:xfrm>
            <a:off x="1370370" y="3759831"/>
            <a:ext cx="3983348" cy="430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400" dirty="0"/>
              <a:t>Управление проектами социально-трудовой сферы </a:t>
            </a:r>
          </a:p>
        </p:txBody>
      </p:sp>
      <p:sp>
        <p:nvSpPr>
          <p:cNvPr id="75" name="Подзаголовок 2">
            <a:extLst>
              <a:ext uri="{FF2B5EF4-FFF2-40B4-BE49-F238E27FC236}">
                <a16:creationId xmlns:a16="http://schemas.microsoft.com/office/drawing/2014/main" xmlns="" id="{49D33BD3-AAD5-4A89-B945-A4CA532B8D76}"/>
              </a:ext>
            </a:extLst>
          </p:cNvPr>
          <p:cNvSpPr txBox="1">
            <a:spLocks/>
          </p:cNvSpPr>
          <p:nvPr/>
        </p:nvSpPr>
        <p:spPr>
          <a:xfrm>
            <a:off x="1370370" y="4241539"/>
            <a:ext cx="3983348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400" dirty="0"/>
              <a:t>Информационное</a:t>
            </a:r>
            <a:r>
              <a:rPr lang="ru-RU" dirty="0"/>
              <a:t> сопровождение</a:t>
            </a:r>
          </a:p>
        </p:txBody>
      </p:sp>
      <p:sp>
        <p:nvSpPr>
          <p:cNvPr id="77" name="Oval 20"/>
          <p:cNvSpPr>
            <a:spLocks noChangeArrowheads="1"/>
          </p:cNvSpPr>
          <p:nvPr/>
        </p:nvSpPr>
        <p:spPr bwMode="auto">
          <a:xfrm>
            <a:off x="969710" y="3795886"/>
            <a:ext cx="216000" cy="21600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kk-KZ" sz="10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6</a:t>
            </a:r>
            <a:endParaRPr lang="en-US" sz="100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78" name="Oval 20"/>
          <p:cNvSpPr>
            <a:spLocks noChangeArrowheads="1"/>
          </p:cNvSpPr>
          <p:nvPr/>
        </p:nvSpPr>
        <p:spPr bwMode="auto">
          <a:xfrm>
            <a:off x="969710" y="4226128"/>
            <a:ext cx="216000" cy="21600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kk-KZ" sz="10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7</a:t>
            </a:r>
            <a:endParaRPr lang="en-US" sz="100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xmlns="" id="{836D64EC-2258-46E0-8AC2-34B7FF292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600" y="1779662"/>
            <a:ext cx="216000" cy="21600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latin typeface="Trebuchet MS" panose="020B0603020202020204" pitchFamily="34" charset="0"/>
              </a:rPr>
              <a:t>1</a:t>
            </a:r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7147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858218" y="483171"/>
          <a:ext cx="968" cy="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9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58218" y="483171"/>
                        <a:ext cx="968" cy="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Rectangle 71" hidden="1"/>
          <p:cNvSpPr/>
          <p:nvPr>
            <p:custDataLst>
              <p:tags r:id="rId3"/>
            </p:custDataLst>
          </p:nvPr>
        </p:nvSpPr>
        <p:spPr>
          <a:xfrm>
            <a:off x="857250" y="482204"/>
            <a:ext cx="96738" cy="9673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5492553" y="2166259"/>
            <a:ext cx="0" cy="1702352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007423" y="2135440"/>
            <a:ext cx="0" cy="1547594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29750" y="404780"/>
            <a:ext cx="6485400" cy="623239"/>
          </a:xfrm>
        </p:spPr>
        <p:txBody>
          <a:bodyPr>
            <a:spAutoFit/>
          </a:bodyPr>
          <a:lstStyle/>
          <a:p>
            <a:pPr algn="l"/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1. Разработка новых концептуальных подходов по развитию сферы занятости</a:t>
            </a:r>
            <a:endParaRPr lang="en-US" sz="1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240991" y="2834316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Задачи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744879" y="1542272"/>
            <a:ext cx="3399956" cy="395175"/>
          </a:xfrm>
          <a:prstGeom prst="homePlat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Актуализация оценки текущего состояния и поиск областей для улучшения                                       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" name="Chevron 4"/>
          <p:cNvSpPr/>
          <p:nvPr/>
        </p:nvSpPr>
        <p:spPr>
          <a:xfrm>
            <a:off x="5093923" y="1540321"/>
            <a:ext cx="3399956" cy="395175"/>
          </a:xfrm>
          <a:prstGeom prst="chevron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Разработка концептуальных подходов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64471" y="2004156"/>
            <a:ext cx="2740708" cy="525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Анализ текущего состояния сферы занятости с учетом изменений спроса и предложения, развития инфраструктуры, мер гос. политики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64471" y="2747626"/>
            <a:ext cx="2740708" cy="525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Формирование экспертной группы для выявления проблем и потенциальных областей для улучшения в сфере занятост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64471" y="3491096"/>
            <a:ext cx="2740708" cy="525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Определение и систематизация перечня актуальных проблем и потенциальных областей для улучшения в сфере занятости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91732" y="2002205"/>
            <a:ext cx="2740708" cy="39613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Определение группы </a:t>
            </a:r>
            <a:r>
              <a:rPr lang="ru-RU" sz="1200" dirty="0" err="1">
                <a:solidFill>
                  <a:srgbClr val="575757"/>
                </a:solidFill>
              </a:rPr>
              <a:t>референсных</a:t>
            </a:r>
            <a:r>
              <a:rPr lang="ru-RU" sz="1200" dirty="0">
                <a:solidFill>
                  <a:srgbClr val="575757"/>
                </a:solidFill>
              </a:rPr>
              <a:t> стран и выявление применимых практик по выбранным странам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88209" y="2512439"/>
            <a:ext cx="2740708" cy="26686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Работа экспертной группы для выявления и обсуждения концептуальных подходов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91736" y="2855625"/>
            <a:ext cx="2828509" cy="525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Формулирование концептуальных подходов для улучшений на основе лучших практик и обсуждений экспертной группы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788209" y="3394410"/>
            <a:ext cx="2740708" cy="39613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Разработка рекомендаций по внесению изменений в трудовой кодекс и законы о занятости 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788209" y="3813712"/>
            <a:ext cx="2740708" cy="26686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 err="1">
                <a:solidFill>
                  <a:srgbClr val="575757"/>
                </a:solidFill>
              </a:rPr>
              <a:t>Верхнеуровневая</a:t>
            </a:r>
            <a:r>
              <a:rPr lang="ru-RU" sz="1200" dirty="0">
                <a:solidFill>
                  <a:srgbClr val="575757"/>
                </a:solidFill>
              </a:rPr>
              <a:t> оценка эффекта от подходов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899424" y="4107390"/>
            <a:ext cx="3090869" cy="0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5248468" y="4105439"/>
            <a:ext cx="3090869" cy="0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899423" y="2004154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1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899423" y="2747625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2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899423" y="3491094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3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5384553" y="1997763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1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5384553" y="2512439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2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5384553" y="2884174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3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5384553" y="3394409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4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5384553" y="3766142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5</a:t>
            </a:r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744879" y="2004156"/>
            <a:ext cx="0" cy="186640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744879" y="4296790"/>
            <a:ext cx="0" cy="43829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 rot="16200000">
            <a:off x="184780" y="4346632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 rot="16200000">
            <a:off x="240991" y="4412894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Результат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264471" y="4308188"/>
            <a:ext cx="2740708" cy="31130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dirty="0">
                <a:solidFill>
                  <a:srgbClr val="295E7E"/>
                </a:solidFill>
              </a:rPr>
              <a:t>Актуализировано понимание областей для улучшений</a:t>
            </a:r>
          </a:p>
        </p:txBody>
      </p:sp>
      <p:grpSp>
        <p:nvGrpSpPr>
          <p:cNvPr id="43" name="Group 42"/>
          <p:cNvGrpSpPr>
            <a:grpSpLocks noChangeAspect="1"/>
          </p:cNvGrpSpPr>
          <p:nvPr/>
        </p:nvGrpSpPr>
        <p:grpSpPr>
          <a:xfrm>
            <a:off x="899423" y="4303746"/>
            <a:ext cx="216000" cy="216000"/>
            <a:chOff x="982662" y="3868738"/>
            <a:chExt cx="269875" cy="269875"/>
          </a:xfrm>
        </p:grpSpPr>
        <p:sp>
          <p:nvSpPr>
            <p:cNvPr id="44" name="Oval 16"/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17"/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384553" y="4245583"/>
            <a:ext cx="216000" cy="216000"/>
            <a:chOff x="5341054" y="5660777"/>
            <a:chExt cx="361936" cy="361936"/>
          </a:xfrm>
        </p:grpSpPr>
        <p:sp>
          <p:nvSpPr>
            <p:cNvPr id="47" name="Oval 16"/>
            <p:cNvSpPr>
              <a:spLocks noChangeArrowheads="1"/>
            </p:cNvSpPr>
            <p:nvPr/>
          </p:nvSpPr>
          <p:spPr bwMode="auto">
            <a:xfrm>
              <a:off x="5341054" y="5660777"/>
              <a:ext cx="361936" cy="361936"/>
            </a:xfrm>
            <a:prstGeom prst="ellipse">
              <a:avLst/>
            </a:prstGeom>
            <a:solidFill>
              <a:srgbClr val="295E7E"/>
            </a:solidFill>
            <a:ln w="9525" cap="flat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auto">
            <a:xfrm>
              <a:off x="5432604" y="5754454"/>
              <a:ext cx="178839" cy="172452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295E7E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2311366" y="3973898"/>
            <a:ext cx="266985" cy="266985"/>
            <a:chOff x="3200644" y="5713895"/>
            <a:chExt cx="438129" cy="438129"/>
          </a:xfrm>
        </p:grpSpPr>
        <p:sp>
          <p:nvSpPr>
            <p:cNvPr id="50" name="Oval 50"/>
            <p:cNvSpPr>
              <a:spLocks noChangeArrowheads="1"/>
            </p:cNvSpPr>
            <p:nvPr/>
          </p:nvSpPr>
          <p:spPr bwMode="auto">
            <a:xfrm rot="5400000">
              <a:off x="3200644" y="5713895"/>
              <a:ext cx="438129" cy="43812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 rot="5400000">
              <a:off x="3341103" y="5813119"/>
              <a:ext cx="157210" cy="28349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9BA74"/>
            </a:solidFill>
            <a:ln w="9525" cap="flat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58" name="Oval 50"/>
          <p:cNvSpPr>
            <a:spLocks noChangeArrowheads="1"/>
          </p:cNvSpPr>
          <p:nvPr/>
        </p:nvSpPr>
        <p:spPr bwMode="auto">
          <a:xfrm rot="5400000">
            <a:off x="6660410" y="3971947"/>
            <a:ext cx="266985" cy="266985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55714" tIns="27858" rIns="55714" bIns="27858" numCol="1" anchor="t" anchorCtr="0" compatLnSpc="1">
            <a:prstTxWarp prst="textNoShape">
              <a:avLst/>
            </a:prstTxWarp>
          </a:bodyPr>
          <a:lstStyle/>
          <a:p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59" name="Freeform 51"/>
          <p:cNvSpPr>
            <a:spLocks/>
          </p:cNvSpPr>
          <p:nvPr/>
        </p:nvSpPr>
        <p:spPr bwMode="auto">
          <a:xfrm rot="5400000">
            <a:off x="6746004" y="4019062"/>
            <a:ext cx="95800" cy="172755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3EAD92"/>
          </a:solidFill>
          <a:ln w="9525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55714" tIns="27858" rIns="55714" bIns="27858" numCol="1" anchor="t" anchorCtr="0" compatLnSpc="1">
            <a:prstTxWarp prst="textNoShape">
              <a:avLst/>
            </a:prstTxWarp>
          </a:bodyPr>
          <a:lstStyle/>
          <a:p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791732" y="4306237"/>
            <a:ext cx="2740708" cy="39613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295E7E"/>
                </a:solidFill>
              </a:rPr>
              <a:t>Разработаны концептуальные подходы и предложены изменения в трудовой кодекс и законы о занятости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744879" y="1376385"/>
            <a:ext cx="3166704" cy="0"/>
          </a:xfrm>
          <a:prstGeom prst="line">
            <a:avLst/>
          </a:prstGeom>
          <a:noFill/>
          <a:ln w="19050" cap="rnd" cmpd="sng" algn="ctr">
            <a:solidFill>
              <a:srgbClr val="6E6F73"/>
            </a:solidFill>
            <a:prstDash val="solid"/>
            <a:headEnd type="oval"/>
            <a:tailEnd type="oval" w="med" len="med"/>
          </a:ln>
          <a:effectLst/>
        </p:spPr>
      </p:cxnSp>
      <p:sp>
        <p:nvSpPr>
          <p:cNvPr id="70" name="TextBox 69"/>
          <p:cNvSpPr txBox="1"/>
          <p:nvPr/>
        </p:nvSpPr>
        <p:spPr>
          <a:xfrm>
            <a:off x="2004231" y="1307136"/>
            <a:ext cx="648000" cy="138499"/>
          </a:xfrm>
          <a:prstGeom prst="rect">
            <a:avLst/>
          </a:prstGeom>
          <a:solidFill>
            <a:srgbClr val="FFFFFF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900" dirty="0">
                <a:solidFill>
                  <a:srgbClr val="575757"/>
                </a:solidFill>
              </a:rPr>
              <a:t>5 </a:t>
            </a:r>
            <a:r>
              <a:rPr lang="ru-RU" sz="900" dirty="0">
                <a:solidFill>
                  <a:srgbClr val="575757"/>
                </a:solidFill>
              </a:rPr>
              <a:t>недель</a:t>
            </a:r>
            <a:endParaRPr lang="en-US" sz="900" dirty="0">
              <a:solidFill>
                <a:srgbClr val="575757"/>
              </a:solidFill>
            </a:endParaRPr>
          </a:p>
        </p:txBody>
      </p:sp>
      <p:cxnSp>
        <p:nvCxnSpPr>
          <p:cNvPr id="84" name="Straight Connector 83"/>
          <p:cNvCxnSpPr/>
          <p:nvPr/>
        </p:nvCxnSpPr>
        <p:spPr>
          <a:xfrm>
            <a:off x="5093923" y="1374434"/>
            <a:ext cx="3166704" cy="0"/>
          </a:xfrm>
          <a:prstGeom prst="line">
            <a:avLst/>
          </a:prstGeom>
          <a:noFill/>
          <a:ln w="19050" cap="rnd" cmpd="sng" algn="ctr">
            <a:solidFill>
              <a:srgbClr val="6E6F73"/>
            </a:solidFill>
            <a:prstDash val="solid"/>
            <a:headEnd type="oval"/>
            <a:tailEnd type="oval" w="med" len="med"/>
          </a:ln>
          <a:effectLst/>
        </p:spPr>
      </p:cxnSp>
      <p:sp>
        <p:nvSpPr>
          <p:cNvPr id="85" name="TextBox 84"/>
          <p:cNvSpPr txBox="1"/>
          <p:nvPr/>
        </p:nvSpPr>
        <p:spPr>
          <a:xfrm>
            <a:off x="6353275" y="1305185"/>
            <a:ext cx="648000" cy="138499"/>
          </a:xfrm>
          <a:prstGeom prst="rect">
            <a:avLst/>
          </a:prstGeom>
          <a:solidFill>
            <a:srgbClr val="FFFFFF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10</a:t>
            </a:r>
            <a:r>
              <a:rPr lang="en-US" sz="900" dirty="0">
                <a:solidFill>
                  <a:srgbClr val="575757"/>
                </a:solidFill>
              </a:rPr>
              <a:t> </a:t>
            </a:r>
            <a:r>
              <a:rPr lang="ru-RU" sz="900" dirty="0">
                <a:solidFill>
                  <a:srgbClr val="575757"/>
                </a:solidFill>
              </a:rPr>
              <a:t>недель</a:t>
            </a:r>
            <a:endParaRPr lang="en-US" sz="900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812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858218" y="483171"/>
          <a:ext cx="968" cy="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58218" y="483171"/>
                        <a:ext cx="968" cy="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857250" y="482204"/>
            <a:ext cx="96738" cy="9673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9750" y="404781"/>
            <a:ext cx="6485400" cy="623239"/>
          </a:xfrm>
        </p:spPr>
        <p:txBody>
          <a:bodyPr vert="horz" lIns="68572" tIns="34286" rIns="68572" bIns="34286" rtlCol="0" anchor="ctr">
            <a:spAutoFit/>
          </a:bodyPr>
          <a:lstStyle/>
          <a:p>
            <a:pPr algn="l"/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2. Расширение государственной поддержки в сфере занятости и повышение их эффективности</a:t>
            </a:r>
          </a:p>
        </p:txBody>
      </p:sp>
      <p:sp>
        <p:nvSpPr>
          <p:cNvPr id="5" name="Pentagon 4"/>
          <p:cNvSpPr/>
          <p:nvPr/>
        </p:nvSpPr>
        <p:spPr>
          <a:xfrm>
            <a:off x="760678" y="1506451"/>
            <a:ext cx="3399300" cy="394200"/>
          </a:xfrm>
          <a:prstGeom prst="homePlat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Определение приоритетных мер </a:t>
            </a:r>
            <a:br>
              <a:rPr lang="ru-RU" sz="1200" dirty="0">
                <a:solidFill>
                  <a:srgbClr val="FFFFFF"/>
                </a:solidFill>
              </a:rPr>
            </a:br>
            <a:r>
              <a:rPr lang="ru-RU" sz="1200" dirty="0">
                <a:solidFill>
                  <a:srgbClr val="FFFFFF"/>
                </a:solidFill>
              </a:rPr>
              <a:t>государственной поддержки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5154997" y="1506451"/>
            <a:ext cx="3377443" cy="394200"/>
          </a:xfrm>
          <a:prstGeom prst="chevron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Формирование проекта программы занятости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280268" y="2002205"/>
            <a:ext cx="2740500" cy="39613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Оценка эффективности действующих мер для выявления потенциала повышения их эффективности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280268" y="2471336"/>
            <a:ext cx="2740500" cy="39613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Формирование длинного перечня мер на основе разработанных концептуальных подходов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280267" y="2940470"/>
            <a:ext cx="2879705" cy="13760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Проведение предварительной оценки мер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280268" y="3271103"/>
            <a:ext cx="2740500" cy="1846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575757"/>
                </a:solidFill>
              </a:rPr>
              <a:t>Приоритизация мер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80268" y="3601735"/>
            <a:ext cx="2740500" cy="26686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Определение практических инструментов</a:t>
            </a:r>
            <a:r>
              <a:rPr lang="en-US" sz="1200" dirty="0">
                <a:solidFill>
                  <a:srgbClr val="575757"/>
                </a:solidFill>
              </a:rPr>
              <a:t> </a:t>
            </a:r>
            <a:r>
              <a:rPr lang="ru-RU" sz="1200" dirty="0">
                <a:solidFill>
                  <a:srgbClr val="575757"/>
                </a:solidFill>
              </a:rPr>
              <a:t>для модернизации рынка труда 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760676" y="4097601"/>
            <a:ext cx="3166704" cy="0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5154996" y="4097601"/>
            <a:ext cx="3166704" cy="0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760676" y="4294840"/>
            <a:ext cx="0" cy="43829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2210537" y="3964109"/>
            <a:ext cx="266985" cy="266985"/>
            <a:chOff x="3200644" y="5713895"/>
            <a:chExt cx="438129" cy="438129"/>
          </a:xfrm>
        </p:grpSpPr>
        <p:sp>
          <p:nvSpPr>
            <p:cNvPr id="28" name="Oval 50"/>
            <p:cNvSpPr>
              <a:spLocks noChangeArrowheads="1"/>
            </p:cNvSpPr>
            <p:nvPr/>
          </p:nvSpPr>
          <p:spPr bwMode="auto">
            <a:xfrm rot="5400000">
              <a:off x="3200644" y="5713895"/>
              <a:ext cx="438129" cy="43812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51"/>
            <p:cNvSpPr>
              <a:spLocks/>
            </p:cNvSpPr>
            <p:nvPr/>
          </p:nvSpPr>
          <p:spPr bwMode="auto">
            <a:xfrm rot="5400000">
              <a:off x="3341103" y="5813119"/>
              <a:ext cx="157210" cy="28349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9BA74"/>
            </a:solidFill>
            <a:ln w="9525" cap="flat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604856" y="3964109"/>
            <a:ext cx="266985" cy="266985"/>
            <a:chOff x="7042195" y="5285478"/>
            <a:chExt cx="355980" cy="355980"/>
          </a:xfrm>
        </p:grpSpPr>
        <p:sp>
          <p:nvSpPr>
            <p:cNvPr id="30" name="Oval 50"/>
            <p:cNvSpPr>
              <a:spLocks noChangeArrowheads="1"/>
            </p:cNvSpPr>
            <p:nvPr/>
          </p:nvSpPr>
          <p:spPr bwMode="auto">
            <a:xfrm rot="5400000">
              <a:off x="7042195" y="5285478"/>
              <a:ext cx="355980" cy="355980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51"/>
            <p:cNvSpPr>
              <a:spLocks/>
            </p:cNvSpPr>
            <p:nvPr/>
          </p:nvSpPr>
          <p:spPr bwMode="auto">
            <a:xfrm rot="5400000">
              <a:off x="7156318" y="5348298"/>
              <a:ext cx="127733" cy="230340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95E7E"/>
            </a:solidFill>
            <a:ln w="9525" cap="flat" cmpd="sng" algn="ctr">
              <a:solidFill>
                <a:srgbClr val="295E7E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762865" y="2002204"/>
            <a:ext cx="2740500" cy="26686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Разработка проекта программы с использованием приоритетных мер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762865" y="2730500"/>
            <a:ext cx="2740500" cy="39613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Работа экспертной группы для обсуждения и согласования проекта программы 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762865" y="3463237"/>
            <a:ext cx="2740500" cy="39613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200" dirty="0">
                <a:solidFill>
                  <a:srgbClr val="575757"/>
                </a:solidFill>
              </a:rPr>
              <a:t>Предварительное согласование проекта Программы с заинтересованными государственными органами</a:t>
            </a:r>
            <a:endParaRPr lang="en-US" sz="1200" dirty="0" err="1">
              <a:solidFill>
                <a:srgbClr val="575757"/>
              </a:solidFill>
            </a:endParaRPr>
          </a:p>
        </p:txBody>
      </p:sp>
      <p:cxnSp>
        <p:nvCxnSpPr>
          <p:cNvPr id="37" name="Straight Connector 36"/>
          <p:cNvCxnSpPr>
            <a:endCxn id="43" idx="0"/>
          </p:cNvCxnSpPr>
          <p:nvPr/>
        </p:nvCxnSpPr>
        <p:spPr>
          <a:xfrm>
            <a:off x="1023220" y="2133489"/>
            <a:ext cx="0" cy="1468246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915220" y="2002203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1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915220" y="2471336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2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915220" y="2940468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3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915220" y="3271101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4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3" name="Oval 42"/>
          <p:cNvSpPr/>
          <p:nvPr/>
        </p:nvSpPr>
        <p:spPr>
          <a:xfrm>
            <a:off x="915220" y="3601735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5</a:t>
            </a:r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5525141" y="2166259"/>
            <a:ext cx="0" cy="1354103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/>
          <p:cNvSpPr/>
          <p:nvPr/>
        </p:nvSpPr>
        <p:spPr>
          <a:xfrm>
            <a:off x="5417141" y="1997763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1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5417141" y="2730500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2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8" name="Oval 47"/>
          <p:cNvSpPr/>
          <p:nvPr/>
        </p:nvSpPr>
        <p:spPr>
          <a:xfrm>
            <a:off x="5417141" y="3463235"/>
            <a:ext cx="216000" cy="216000"/>
          </a:xfrm>
          <a:prstGeom prst="ellipse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3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280268" y="4306237"/>
            <a:ext cx="2740500" cy="61292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dirty="0">
                <a:solidFill>
                  <a:srgbClr val="295E7E"/>
                </a:solidFill>
              </a:rPr>
              <a:t>Сформирован приоритизированный перечень мер по модернизации рынка труда Казахстана</a:t>
            </a:r>
          </a:p>
        </p:txBody>
      </p:sp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915220" y="4306235"/>
            <a:ext cx="216000" cy="216000"/>
            <a:chOff x="982662" y="3868738"/>
            <a:chExt cx="269875" cy="269875"/>
          </a:xfrm>
        </p:grpSpPr>
        <p:sp>
          <p:nvSpPr>
            <p:cNvPr id="52" name="Oval 16"/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53" name="Freeform 17"/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5762865" y="4306237"/>
            <a:ext cx="2740500" cy="31130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dirty="0">
                <a:solidFill>
                  <a:srgbClr val="295E7E"/>
                </a:solidFill>
              </a:rPr>
              <a:t>Разработан проект программы занятости</a:t>
            </a:r>
          </a:p>
        </p:txBody>
      </p:sp>
      <p:sp>
        <p:nvSpPr>
          <p:cNvPr id="56" name="Oval 16"/>
          <p:cNvSpPr>
            <a:spLocks noChangeArrowheads="1"/>
          </p:cNvSpPr>
          <p:nvPr/>
        </p:nvSpPr>
        <p:spPr bwMode="auto">
          <a:xfrm>
            <a:off x="5417141" y="4306235"/>
            <a:ext cx="216000" cy="216000"/>
          </a:xfrm>
          <a:prstGeom prst="ellipse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55714" tIns="27858" rIns="55714" bIns="27858" numCol="1" anchor="t" anchorCtr="0" compatLnSpc="1">
            <a:prstTxWarp prst="textNoShape">
              <a:avLst/>
            </a:prstTxWarp>
          </a:bodyPr>
          <a:lstStyle/>
          <a:p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57" name="Freeform 17"/>
          <p:cNvSpPr>
            <a:spLocks/>
          </p:cNvSpPr>
          <p:nvPr/>
        </p:nvSpPr>
        <p:spPr bwMode="auto">
          <a:xfrm>
            <a:off x="5458077" y="4349567"/>
            <a:ext cx="134129" cy="129339"/>
          </a:xfrm>
          <a:custGeom>
            <a:avLst/>
            <a:gdLst>
              <a:gd name="T0" fmla="*/ 36 w 84"/>
              <a:gd name="T1" fmla="*/ 67 h 81"/>
              <a:gd name="T2" fmla="*/ 7 w 84"/>
              <a:gd name="T3" fmla="*/ 39 h 81"/>
              <a:gd name="T4" fmla="*/ 0 w 84"/>
              <a:gd name="T5" fmla="*/ 45 h 81"/>
              <a:gd name="T6" fmla="*/ 38 w 84"/>
              <a:gd name="T7" fmla="*/ 81 h 81"/>
              <a:gd name="T8" fmla="*/ 84 w 84"/>
              <a:gd name="T9" fmla="*/ 4 h 81"/>
              <a:gd name="T10" fmla="*/ 76 w 84"/>
              <a:gd name="T11" fmla="*/ 0 h 81"/>
              <a:gd name="T12" fmla="*/ 36 w 84"/>
              <a:gd name="T13" fmla="*/ 67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4" h="81">
                <a:moveTo>
                  <a:pt x="36" y="67"/>
                </a:moveTo>
                <a:lnTo>
                  <a:pt x="7" y="39"/>
                </a:lnTo>
                <a:lnTo>
                  <a:pt x="0" y="45"/>
                </a:lnTo>
                <a:lnTo>
                  <a:pt x="38" y="81"/>
                </a:lnTo>
                <a:lnTo>
                  <a:pt x="84" y="4"/>
                </a:lnTo>
                <a:lnTo>
                  <a:pt x="76" y="0"/>
                </a:lnTo>
                <a:lnTo>
                  <a:pt x="36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5714" tIns="27858" rIns="55714" bIns="27858" numCol="1" anchor="t" anchorCtr="0" compatLnSpc="1">
            <a:prstTxWarp prst="textNoShape">
              <a:avLst/>
            </a:prstTxWarp>
          </a:bodyPr>
          <a:lstStyle/>
          <a:p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>
            <a:off x="760676" y="2002203"/>
            <a:ext cx="0" cy="1815532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760676" y="1374434"/>
            <a:ext cx="3166704" cy="0"/>
          </a:xfrm>
          <a:prstGeom prst="line">
            <a:avLst/>
          </a:prstGeom>
          <a:noFill/>
          <a:ln w="19050" cap="rnd" cmpd="sng" algn="ctr">
            <a:solidFill>
              <a:srgbClr val="6E6F73"/>
            </a:solidFill>
            <a:prstDash val="solid"/>
            <a:headEnd type="oval"/>
            <a:tailEnd type="oval" w="med" len="med"/>
          </a:ln>
          <a:effectLst/>
        </p:spPr>
      </p:cxnSp>
      <p:sp>
        <p:nvSpPr>
          <p:cNvPr id="74" name="TextBox 73"/>
          <p:cNvSpPr txBox="1"/>
          <p:nvPr/>
        </p:nvSpPr>
        <p:spPr>
          <a:xfrm>
            <a:off x="2020028" y="1305185"/>
            <a:ext cx="648000" cy="138499"/>
          </a:xfrm>
          <a:prstGeom prst="rect">
            <a:avLst/>
          </a:prstGeom>
          <a:solidFill>
            <a:srgbClr val="FFFFFF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900" dirty="0">
                <a:solidFill>
                  <a:srgbClr val="575757"/>
                </a:solidFill>
              </a:rPr>
              <a:t>5 </a:t>
            </a:r>
            <a:r>
              <a:rPr lang="ru-RU" sz="900" dirty="0">
                <a:solidFill>
                  <a:srgbClr val="575757"/>
                </a:solidFill>
              </a:rPr>
              <a:t>недель</a:t>
            </a:r>
            <a:endParaRPr lang="en-US" sz="900" dirty="0">
              <a:solidFill>
                <a:srgbClr val="575757"/>
              </a:solidFill>
            </a:endParaRPr>
          </a:p>
        </p:txBody>
      </p:sp>
      <p:cxnSp>
        <p:nvCxnSpPr>
          <p:cNvPr id="75" name="Straight Connector 74"/>
          <p:cNvCxnSpPr/>
          <p:nvPr/>
        </p:nvCxnSpPr>
        <p:spPr>
          <a:xfrm>
            <a:off x="5154996" y="1374434"/>
            <a:ext cx="3166704" cy="0"/>
          </a:xfrm>
          <a:prstGeom prst="line">
            <a:avLst/>
          </a:prstGeom>
          <a:noFill/>
          <a:ln w="19050" cap="rnd" cmpd="sng" algn="ctr">
            <a:solidFill>
              <a:srgbClr val="6E6F73"/>
            </a:solidFill>
            <a:prstDash val="solid"/>
            <a:headEnd type="oval"/>
            <a:tailEnd type="oval" w="med" len="med"/>
          </a:ln>
          <a:effectLst/>
        </p:spPr>
      </p:cxnSp>
      <p:sp>
        <p:nvSpPr>
          <p:cNvPr id="76" name="TextBox 75"/>
          <p:cNvSpPr txBox="1"/>
          <p:nvPr/>
        </p:nvSpPr>
        <p:spPr>
          <a:xfrm>
            <a:off x="6414348" y="1305185"/>
            <a:ext cx="648000" cy="138499"/>
          </a:xfrm>
          <a:prstGeom prst="rect">
            <a:avLst/>
          </a:prstGeom>
          <a:solidFill>
            <a:srgbClr val="FFFFFF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10</a:t>
            </a:r>
            <a:r>
              <a:rPr lang="en-US" sz="900" dirty="0">
                <a:solidFill>
                  <a:srgbClr val="575757"/>
                </a:solidFill>
              </a:rPr>
              <a:t> </a:t>
            </a:r>
            <a:r>
              <a:rPr lang="ru-RU" sz="900" dirty="0">
                <a:solidFill>
                  <a:srgbClr val="575757"/>
                </a:solidFill>
              </a:rPr>
              <a:t>недель</a:t>
            </a:r>
            <a:endParaRPr lang="en-US" sz="900" dirty="0">
              <a:solidFill>
                <a:srgbClr val="575757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 rot="16200000">
            <a:off x="256788" y="2832365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Задачи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 rot="16200000">
            <a:off x="256788" y="4410943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Результат</a:t>
            </a:r>
            <a:endParaRPr lang="en-US" sz="900" dirty="0" err="1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86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858218" y="483171"/>
          <a:ext cx="968" cy="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5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58218" y="483171"/>
                        <a:ext cx="968" cy="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Rectangle 71" hidden="1"/>
          <p:cNvSpPr/>
          <p:nvPr>
            <p:custDataLst>
              <p:tags r:id="rId3"/>
            </p:custDataLst>
          </p:nvPr>
        </p:nvSpPr>
        <p:spPr>
          <a:xfrm>
            <a:off x="857250" y="482204"/>
            <a:ext cx="96738" cy="9673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29750" y="339502"/>
            <a:ext cx="6485400" cy="346241"/>
          </a:xfrm>
        </p:spPr>
        <p:txBody>
          <a:bodyPr>
            <a:spAutoFit/>
          </a:bodyPr>
          <a:lstStyle/>
          <a:p>
            <a:pPr algn="l"/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3</a:t>
            </a:r>
            <a:r>
              <a:rPr lang="en-US" sz="1800" dirty="0">
                <a:solidFill>
                  <a:srgbClr val="4F81BD">
                    <a:lumMod val="75000"/>
                  </a:srgbClr>
                </a:solidFill>
                <a:ea typeface="+mn-ea"/>
                <a:cs typeface="+mn-cs"/>
              </a:rPr>
              <a:t>.</a:t>
            </a:r>
            <a:r>
              <a:rPr lang="ru-RU" sz="1800" dirty="0">
                <a:solidFill>
                  <a:srgbClr val="4F81BD">
                    <a:lumMod val="75000"/>
                  </a:srgbClr>
                </a:solidFill>
                <a:ea typeface="+mn-ea"/>
                <a:cs typeface="+mn-cs"/>
              </a:rPr>
              <a:t> Развитие инструментария сферы занятости</a:t>
            </a:r>
            <a:endParaRPr lang="en-US" sz="1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240991" y="2736568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Задачи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744879" y="1179277"/>
            <a:ext cx="3399956" cy="395175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 w="9525" cap="rnd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Текущая ситуация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" name="Chevron 4"/>
          <p:cNvSpPr/>
          <p:nvPr/>
        </p:nvSpPr>
        <p:spPr>
          <a:xfrm>
            <a:off x="5007548" y="1177858"/>
            <a:ext cx="3399956" cy="395175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rnd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</a:rPr>
              <a:t>Обновление   модели системы прогнозирования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899424" y="4009642"/>
            <a:ext cx="3090869" cy="0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5248468" y="4007691"/>
            <a:ext cx="3090869" cy="0"/>
          </a:xfrm>
          <a:prstGeom prst="line">
            <a:avLst/>
          </a:prstGeom>
          <a:ln w="2857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744879" y="1906408"/>
            <a:ext cx="0" cy="186640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744879" y="4199042"/>
            <a:ext cx="0" cy="43829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 rot="16200000">
            <a:off x="184780" y="4248884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 rot="16200000">
            <a:off x="240991" y="4315146"/>
            <a:ext cx="771616" cy="2060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14" tIns="27858" rIns="55714" bIns="27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dirty="0">
                <a:solidFill>
                  <a:srgbClr val="575757"/>
                </a:solidFill>
              </a:rPr>
              <a:t>Результат</a:t>
            </a:r>
            <a:endParaRPr lang="en-US" sz="900" dirty="0" err="1">
              <a:solidFill>
                <a:srgbClr val="575757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062515" y="4275178"/>
            <a:ext cx="4677837" cy="1604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b="1" dirty="0">
                <a:solidFill>
                  <a:schemeClr val="accent3">
                    <a:lumMod val="75000"/>
                  </a:schemeClr>
                </a:solidFill>
              </a:rPr>
              <a:t>Целостная система прогнозирования трудовых ресурсов</a:t>
            </a:r>
          </a:p>
        </p:txBody>
      </p:sp>
      <p:grpSp>
        <p:nvGrpSpPr>
          <p:cNvPr id="43" name="Group 42"/>
          <p:cNvGrpSpPr>
            <a:grpSpLocks noChangeAspect="1"/>
          </p:cNvGrpSpPr>
          <p:nvPr/>
        </p:nvGrpSpPr>
        <p:grpSpPr>
          <a:xfrm>
            <a:off x="2670729" y="4243927"/>
            <a:ext cx="216000" cy="216000"/>
            <a:chOff x="982662" y="3868738"/>
            <a:chExt cx="269875" cy="269875"/>
          </a:xfrm>
        </p:grpSpPr>
        <p:sp>
          <p:nvSpPr>
            <p:cNvPr id="44" name="Oval 16"/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17"/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3062515" y="4515966"/>
            <a:ext cx="4351644" cy="31130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</a:pPr>
            <a:r>
              <a:rPr lang="ru-RU" sz="1400" b="1" dirty="0">
                <a:solidFill>
                  <a:schemeClr val="accent3">
                    <a:lumMod val="75000"/>
                  </a:schemeClr>
                </a:solidFill>
              </a:rPr>
              <a:t>Новая информационная система прогнозирования трудовых ресурсов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9A2700BF-0B79-4BA9-B4BD-25206DD9A6F2}"/>
              </a:ext>
            </a:extLst>
          </p:cNvPr>
          <p:cNvSpPr/>
          <p:nvPr/>
        </p:nvSpPr>
        <p:spPr>
          <a:xfrm>
            <a:off x="2256850" y="699542"/>
            <a:ext cx="37759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schemeClr val="accent3">
                    <a:lumMod val="75000"/>
                  </a:schemeClr>
                </a:solidFill>
              </a:rPr>
              <a:t>3.1.</a:t>
            </a:r>
            <a:r>
              <a:rPr lang="en-US" sz="1400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ru-RU" sz="1400" dirty="0">
                <a:solidFill>
                  <a:schemeClr val="accent3">
                    <a:lumMod val="75000"/>
                  </a:schemeClr>
                </a:solidFill>
              </a:rPr>
              <a:t>Национальная система  прогнозирования 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AD001D8F-0874-47E8-AA85-47A4796344E4}"/>
              </a:ext>
            </a:extLst>
          </p:cNvPr>
          <p:cNvSpPr/>
          <p:nvPr/>
        </p:nvSpPr>
        <p:spPr>
          <a:xfrm>
            <a:off x="954059" y="1940054"/>
            <a:ext cx="3077568" cy="2016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7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/>
              <a:t>Демографический прогноз с использованием в базе пятилетнего возрастного интервала</a:t>
            </a:r>
          </a:p>
          <a:p>
            <a:pPr marL="171450" indent="-171450">
              <a:lnSpc>
                <a:spcPct val="7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500" dirty="0"/>
          </a:p>
          <a:p>
            <a:pPr marL="171450" indent="-171450">
              <a:lnSpc>
                <a:spcPct val="7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/>
              <a:t>Макроэкономический прогноз занятости в отраслевом разрезе </a:t>
            </a:r>
          </a:p>
          <a:p>
            <a:pPr marL="171450" indent="-171450">
              <a:lnSpc>
                <a:spcPct val="7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500" dirty="0"/>
          </a:p>
          <a:p>
            <a:pPr marL="171450" indent="-171450">
              <a:lnSpc>
                <a:spcPct val="7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/>
              <a:t>Среднесрочный пятилетний прогноз с использованием инструмента «Проецирование тенденций»</a:t>
            </a:r>
          </a:p>
          <a:p>
            <a:pPr marL="171450" indent="-171450">
              <a:lnSpc>
                <a:spcPct val="7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500" dirty="0"/>
          </a:p>
          <a:p>
            <a:pPr marL="171450" indent="-171450">
              <a:lnSpc>
                <a:spcPct val="7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/>
              <a:t>Ручная обработка данных и формирование прогнозов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B826A803-9D42-4622-95B9-45DDF4715173}"/>
              </a:ext>
            </a:extLst>
          </p:cNvPr>
          <p:cNvSpPr/>
          <p:nvPr/>
        </p:nvSpPr>
        <p:spPr>
          <a:xfrm>
            <a:off x="4870221" y="1606930"/>
            <a:ext cx="3674610" cy="24049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marL="171430" indent="-171430">
              <a:lnSpc>
                <a:spcPct val="7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chemeClr val="tx1"/>
                </a:solidFill>
              </a:rPr>
              <a:t>Обновленная модель  демографического прогноза </a:t>
            </a:r>
            <a:br>
              <a:rPr lang="ru-RU" sz="1200" b="1" dirty="0">
                <a:solidFill>
                  <a:schemeClr val="tx1"/>
                </a:solidFill>
              </a:rPr>
            </a:br>
            <a:r>
              <a:rPr lang="ru-RU" sz="1000" i="1" dirty="0">
                <a:solidFill>
                  <a:schemeClr val="tx1"/>
                </a:solidFill>
              </a:rPr>
              <a:t>(использование исходных данных с годичным возрастным интервалом, возможность моделирования сценария по всем исходным параметрам и </a:t>
            </a:r>
            <a:r>
              <a:rPr lang="ru-RU" sz="1000" i="1" dirty="0" err="1">
                <a:solidFill>
                  <a:schemeClr val="tx1"/>
                </a:solidFill>
              </a:rPr>
              <a:t>т.д</a:t>
            </a:r>
            <a:r>
              <a:rPr lang="ru-RU" sz="1000" i="1" dirty="0">
                <a:solidFill>
                  <a:schemeClr val="tx1"/>
                </a:solidFill>
              </a:rPr>
              <a:t>). </a:t>
            </a:r>
          </a:p>
          <a:p>
            <a:pPr marL="171430" indent="-171430">
              <a:lnSpc>
                <a:spcPct val="7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chemeClr val="tx1"/>
                </a:solidFill>
              </a:rPr>
              <a:t>Обновленная модель макроэкономического прогноза  </a:t>
            </a:r>
            <a:br>
              <a:rPr lang="ru-RU" sz="1200" b="1" dirty="0">
                <a:solidFill>
                  <a:schemeClr val="tx1"/>
                </a:solidFill>
              </a:rPr>
            </a:br>
            <a:r>
              <a:rPr lang="ru-RU" sz="1000" i="1" dirty="0">
                <a:solidFill>
                  <a:schemeClr val="tx1"/>
                </a:solidFill>
              </a:rPr>
              <a:t>(прогноз занятости в регионально-отраслевом разрезе)</a:t>
            </a:r>
          </a:p>
          <a:p>
            <a:pPr marL="171430" indent="-171430">
              <a:lnSpc>
                <a:spcPct val="7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chemeClr val="tx1"/>
                </a:solidFill>
              </a:rPr>
              <a:t>Изменение методики среднесрочного прогноза </a:t>
            </a:r>
            <a:r>
              <a:rPr lang="ru-RU" sz="1200" dirty="0">
                <a:solidFill>
                  <a:schemeClr val="tx1"/>
                </a:solidFill>
              </a:rPr>
              <a:t/>
            </a:r>
            <a:br>
              <a:rPr lang="ru-RU" sz="1200" dirty="0">
                <a:solidFill>
                  <a:schemeClr val="tx1"/>
                </a:solidFill>
              </a:rPr>
            </a:br>
            <a:r>
              <a:rPr lang="ru-RU" sz="1200" dirty="0">
                <a:solidFill>
                  <a:schemeClr val="tx1"/>
                </a:solidFill>
              </a:rPr>
              <a:t>за счет комбинирования инструментов эконометрического моделирования и проецирования тенденций</a:t>
            </a:r>
          </a:p>
          <a:p>
            <a:pPr marL="171430" indent="-171430">
              <a:lnSpc>
                <a:spcPct val="7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chemeClr val="tx1"/>
                </a:solidFill>
              </a:rPr>
              <a:t>Внедрение модели краткосрочного  прогноза </a:t>
            </a:r>
            <a:r>
              <a:rPr lang="ru-RU" sz="1200" dirty="0">
                <a:solidFill>
                  <a:schemeClr val="tx1"/>
                </a:solidFill>
              </a:rPr>
              <a:t> базирующийся на вакансиях из Биржи труда</a:t>
            </a:r>
          </a:p>
          <a:p>
            <a:pPr marL="171430" indent="-171430">
              <a:lnSpc>
                <a:spcPct val="7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chemeClr val="tx1"/>
                </a:solidFill>
              </a:rPr>
              <a:t>Автоматизированная обработка </a:t>
            </a:r>
            <a:r>
              <a:rPr lang="ru-RU" sz="1200" dirty="0">
                <a:solidFill>
                  <a:schemeClr val="tx1"/>
                </a:solidFill>
              </a:rPr>
              <a:t>данных и формирование прогнозов</a:t>
            </a:r>
          </a:p>
        </p:txBody>
      </p:sp>
      <p:grpSp>
        <p:nvGrpSpPr>
          <p:cNvPr id="54" name="Group 42">
            <a:extLst>
              <a:ext uri="{FF2B5EF4-FFF2-40B4-BE49-F238E27FC236}">
                <a16:creationId xmlns:a16="http://schemas.microsoft.com/office/drawing/2014/main" xmlns="" id="{372F9DD6-1753-4593-A453-9DC4B8E35CA7}"/>
              </a:ext>
            </a:extLst>
          </p:cNvPr>
          <p:cNvGrpSpPr>
            <a:grpSpLocks noChangeAspect="1"/>
          </p:cNvGrpSpPr>
          <p:nvPr/>
        </p:nvGrpSpPr>
        <p:grpSpPr>
          <a:xfrm>
            <a:off x="2671241" y="4515990"/>
            <a:ext cx="216000" cy="216000"/>
            <a:chOff x="982662" y="3868738"/>
            <a:chExt cx="269875" cy="269875"/>
          </a:xfrm>
        </p:grpSpPr>
        <p:sp>
          <p:nvSpPr>
            <p:cNvPr id="55" name="Oval 16">
              <a:extLst>
                <a:ext uri="{FF2B5EF4-FFF2-40B4-BE49-F238E27FC236}">
                  <a16:creationId xmlns:a16="http://schemas.microsoft.com/office/drawing/2014/main" xmlns="" id="{1C1912A7-C9A3-41D2-8663-391A64AAA7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xmlns="" id="{D85852D5-AEE2-44E4-AA76-6C4BB83B3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5721" tIns="27861" rIns="55721" bIns="27861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530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4" name="Freeform 1424"/>
          <p:cNvSpPr/>
          <p:nvPr/>
        </p:nvSpPr>
        <p:spPr>
          <a:xfrm flipV="1">
            <a:off x="1" y="448159"/>
            <a:ext cx="9143999" cy="4855436"/>
          </a:xfrm>
          <a:custGeom>
            <a:avLst/>
            <a:gdLst/>
            <a:ahLst/>
            <a:cxnLst/>
            <a:rect l="0" t="0" r="0" b="0"/>
            <a:pathLst>
              <a:path w="9143999" h="5143499">
                <a:moveTo>
                  <a:pt x="0" y="5143499"/>
                </a:moveTo>
                <a:lnTo>
                  <a:pt x="9143999" y="5143499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25" name="Freeform 1425"/>
          <p:cNvSpPr/>
          <p:nvPr/>
        </p:nvSpPr>
        <p:spPr>
          <a:xfrm flipV="1">
            <a:off x="0" y="157413"/>
            <a:ext cx="333299" cy="0"/>
          </a:xfrm>
          <a:custGeom>
            <a:avLst/>
            <a:gdLst/>
            <a:ahLst/>
            <a:cxnLst/>
            <a:rect l="0" t="0" r="0" b="0"/>
            <a:pathLst>
              <a:path w="169316400">
                <a:moveTo>
                  <a:pt x="0" y="0"/>
                </a:moveTo>
                <a:lnTo>
                  <a:pt x="1693164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26" name="Picture 1426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19313"/>
            <a:ext cx="371400" cy="76200"/>
          </a:xfrm>
          <a:prstGeom prst="rect">
            <a:avLst/>
          </a:prstGeom>
          <a:noFill/>
        </p:spPr>
      </p:pic>
      <p:sp>
        <p:nvSpPr>
          <p:cNvPr id="1427" name="Freeform 1427"/>
          <p:cNvSpPr/>
          <p:nvPr/>
        </p:nvSpPr>
        <p:spPr>
          <a:xfrm flipV="1">
            <a:off x="8810624" y="157413"/>
            <a:ext cx="333299" cy="0"/>
          </a:xfrm>
          <a:custGeom>
            <a:avLst/>
            <a:gdLst/>
            <a:ahLst/>
            <a:cxnLst/>
            <a:rect l="0" t="0" r="0" b="0"/>
            <a:pathLst>
              <a:path w="169316400">
                <a:moveTo>
                  <a:pt x="0" y="0"/>
                </a:moveTo>
                <a:lnTo>
                  <a:pt x="1693164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28" name="Picture 1428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72525" y="119313"/>
            <a:ext cx="371475" cy="76200"/>
          </a:xfrm>
          <a:prstGeom prst="rect">
            <a:avLst/>
          </a:prstGeom>
          <a:noFill/>
        </p:spPr>
      </p:pic>
      <p:sp>
        <p:nvSpPr>
          <p:cNvPr id="1429" name="Freeform 1429"/>
          <p:cNvSpPr/>
          <p:nvPr/>
        </p:nvSpPr>
        <p:spPr>
          <a:xfrm flipV="1">
            <a:off x="5486399" y="1291644"/>
            <a:ext cx="3411599" cy="2957399"/>
          </a:xfrm>
          <a:custGeom>
            <a:avLst/>
            <a:gdLst/>
            <a:ahLst/>
            <a:cxnLst/>
            <a:rect l="0" t="0" r="0" b="0"/>
            <a:pathLst>
              <a:path w="1733092800" h="1502359200">
                <a:moveTo>
                  <a:pt x="0" y="1502359200"/>
                </a:moveTo>
                <a:lnTo>
                  <a:pt x="1733092800" y="1502359200"/>
                </a:lnTo>
                <a:lnTo>
                  <a:pt x="17330928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30" name="Freeform 1430"/>
          <p:cNvSpPr/>
          <p:nvPr/>
        </p:nvSpPr>
        <p:spPr>
          <a:xfrm flipV="1">
            <a:off x="5486399" y="1291644"/>
            <a:ext cx="3411599" cy="2957399"/>
          </a:xfrm>
          <a:custGeom>
            <a:avLst/>
            <a:gdLst/>
            <a:ahLst/>
            <a:cxnLst/>
            <a:rect l="0" t="0" r="0" b="0"/>
            <a:pathLst>
              <a:path w="1733092800" h="1502359200">
                <a:moveTo>
                  <a:pt x="0" y="1502359200"/>
                </a:moveTo>
                <a:lnTo>
                  <a:pt x="1733092800" y="1502359200"/>
                </a:lnTo>
                <a:lnTo>
                  <a:pt x="17330928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0035BE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31" name="Freeform 1431"/>
          <p:cNvSpPr/>
          <p:nvPr/>
        </p:nvSpPr>
        <p:spPr>
          <a:xfrm flipV="1">
            <a:off x="304799" y="1291644"/>
            <a:ext cx="2259899" cy="2957399"/>
          </a:xfrm>
          <a:custGeom>
            <a:avLst/>
            <a:gdLst/>
            <a:ahLst/>
            <a:cxnLst/>
            <a:rect l="0" t="0" r="0" b="0"/>
            <a:pathLst>
              <a:path w="1148029200" h="1502359200">
                <a:moveTo>
                  <a:pt x="0" y="1502359200"/>
                </a:moveTo>
                <a:lnTo>
                  <a:pt x="1148029200" y="1502359200"/>
                </a:lnTo>
                <a:lnTo>
                  <a:pt x="11480292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32" name="Freeform 1432"/>
          <p:cNvSpPr/>
          <p:nvPr/>
        </p:nvSpPr>
        <p:spPr>
          <a:xfrm flipV="1">
            <a:off x="304799" y="1291644"/>
            <a:ext cx="2259899" cy="2957399"/>
          </a:xfrm>
          <a:custGeom>
            <a:avLst/>
            <a:gdLst/>
            <a:ahLst/>
            <a:cxnLst/>
            <a:rect l="0" t="0" r="0" b="0"/>
            <a:pathLst>
              <a:path w="1148029200" h="1502359200">
                <a:moveTo>
                  <a:pt x="0" y="1502359200"/>
                </a:moveTo>
                <a:lnTo>
                  <a:pt x="1148029200" y="1502359200"/>
                </a:lnTo>
                <a:lnTo>
                  <a:pt x="11480292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0035BE">
                <a:alpha val="100000"/>
              </a:srgbClr>
            </a:solidFill>
            <a:custDash>
              <a:ds d="4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35" name="Picture 1435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4462" y="1477757"/>
            <a:ext cx="1778024" cy="613425"/>
          </a:xfrm>
          <a:prstGeom prst="rect">
            <a:avLst/>
          </a:prstGeom>
          <a:noFill/>
        </p:spPr>
      </p:pic>
      <p:sp>
        <p:nvSpPr>
          <p:cNvPr id="1436" name="Freeform 1436"/>
          <p:cNvSpPr/>
          <p:nvPr/>
        </p:nvSpPr>
        <p:spPr>
          <a:xfrm flipV="1">
            <a:off x="616374" y="1520619"/>
            <a:ext cx="1654199" cy="489599"/>
          </a:xfrm>
          <a:custGeom>
            <a:avLst/>
            <a:gdLst/>
            <a:ahLst/>
            <a:cxnLst/>
            <a:rect l="0" t="0" r="0" b="0"/>
            <a:pathLst>
              <a:path w="840333600" h="248716800">
                <a:moveTo>
                  <a:pt x="0" y="207263207"/>
                </a:moveTo>
                <a:lnTo>
                  <a:pt x="0" y="207263207"/>
                </a:lnTo>
                <a:cubicBezTo>
                  <a:pt x="0" y="230157388"/>
                  <a:pt x="18559412" y="248716800"/>
                  <a:pt x="41453618" y="248716800"/>
                </a:cubicBezTo>
                <a:lnTo>
                  <a:pt x="798880006" y="248716800"/>
                </a:lnTo>
                <a:cubicBezTo>
                  <a:pt x="809874138" y="248716800"/>
                  <a:pt x="820418015" y="244349390"/>
                  <a:pt x="828192102" y="236575303"/>
                </a:cubicBezTo>
                <a:cubicBezTo>
                  <a:pt x="835966189" y="228801216"/>
                  <a:pt x="840333600" y="218257339"/>
                  <a:pt x="840333600" y="207263207"/>
                </a:cubicBezTo>
                <a:lnTo>
                  <a:pt x="840333600" y="41453594"/>
                </a:lnTo>
                <a:cubicBezTo>
                  <a:pt x="840333600" y="18559463"/>
                  <a:pt x="821774137" y="0"/>
                  <a:pt x="798880006" y="0"/>
                </a:cubicBezTo>
                <a:lnTo>
                  <a:pt x="41453618" y="0"/>
                </a:lnTo>
                <a:cubicBezTo>
                  <a:pt x="18559412" y="0"/>
                  <a:pt x="0" y="18559463"/>
                  <a:pt x="0" y="4145359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37" name="Freeform 1437"/>
          <p:cNvSpPr/>
          <p:nvPr/>
        </p:nvSpPr>
        <p:spPr>
          <a:xfrm flipV="1">
            <a:off x="616374" y="1520619"/>
            <a:ext cx="1654199" cy="489599"/>
          </a:xfrm>
          <a:custGeom>
            <a:avLst/>
            <a:gdLst/>
            <a:ahLst/>
            <a:cxnLst/>
            <a:rect l="0" t="0" r="0" b="0"/>
            <a:pathLst>
              <a:path w="840333600" h="248716800">
                <a:moveTo>
                  <a:pt x="0" y="207263207"/>
                </a:moveTo>
                <a:lnTo>
                  <a:pt x="0" y="207263207"/>
                </a:lnTo>
                <a:cubicBezTo>
                  <a:pt x="0" y="230157388"/>
                  <a:pt x="18559412" y="248716800"/>
                  <a:pt x="41453618" y="248716800"/>
                </a:cubicBezTo>
                <a:lnTo>
                  <a:pt x="798880006" y="248716800"/>
                </a:lnTo>
                <a:cubicBezTo>
                  <a:pt x="809874138" y="248716800"/>
                  <a:pt x="820418015" y="244349390"/>
                  <a:pt x="828192102" y="236575303"/>
                </a:cubicBezTo>
                <a:cubicBezTo>
                  <a:pt x="835966189" y="228801216"/>
                  <a:pt x="840333600" y="218257339"/>
                  <a:pt x="840333600" y="207263207"/>
                </a:cubicBezTo>
                <a:lnTo>
                  <a:pt x="840333600" y="41453594"/>
                </a:lnTo>
                <a:cubicBezTo>
                  <a:pt x="840333600" y="18559463"/>
                  <a:pt x="821774137" y="0"/>
                  <a:pt x="798880006" y="0"/>
                </a:cubicBezTo>
                <a:lnTo>
                  <a:pt x="41453618" y="0"/>
                </a:lnTo>
                <a:cubicBezTo>
                  <a:pt x="18559412" y="0"/>
                  <a:pt x="0" y="18559463"/>
                  <a:pt x="0" y="41453594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38" name="Picture 1438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4462" y="2691107"/>
            <a:ext cx="1778024" cy="803625"/>
          </a:xfrm>
          <a:prstGeom prst="rect">
            <a:avLst/>
          </a:prstGeom>
          <a:noFill/>
        </p:spPr>
      </p:pic>
      <p:sp>
        <p:nvSpPr>
          <p:cNvPr id="1439" name="Freeform 1439"/>
          <p:cNvSpPr/>
          <p:nvPr/>
        </p:nvSpPr>
        <p:spPr>
          <a:xfrm flipV="1">
            <a:off x="616374" y="2733969"/>
            <a:ext cx="1654199" cy="679799"/>
          </a:xfrm>
          <a:custGeom>
            <a:avLst/>
            <a:gdLst/>
            <a:ahLst/>
            <a:cxnLst/>
            <a:rect l="0" t="0" r="0" b="0"/>
            <a:pathLst>
              <a:path w="840333600" h="345338400">
                <a:moveTo>
                  <a:pt x="0" y="287780810"/>
                </a:moveTo>
                <a:lnTo>
                  <a:pt x="0" y="287780810"/>
                </a:lnTo>
                <a:cubicBezTo>
                  <a:pt x="0" y="319569009"/>
                  <a:pt x="25769391" y="345338400"/>
                  <a:pt x="57557541" y="345338400"/>
                </a:cubicBezTo>
                <a:lnTo>
                  <a:pt x="782776009" y="345338400"/>
                </a:lnTo>
                <a:cubicBezTo>
                  <a:pt x="798041210" y="345338400"/>
                  <a:pt x="812681235" y="339274349"/>
                  <a:pt x="823475342" y="328480143"/>
                </a:cubicBezTo>
                <a:cubicBezTo>
                  <a:pt x="834269548" y="317686036"/>
                  <a:pt x="840333600" y="303046011"/>
                  <a:pt x="840333600" y="287780810"/>
                </a:cubicBezTo>
                <a:lnTo>
                  <a:pt x="840333600" y="57557591"/>
                </a:lnTo>
                <a:cubicBezTo>
                  <a:pt x="840333600" y="25769491"/>
                  <a:pt x="814564208" y="0"/>
                  <a:pt x="782776009" y="0"/>
                </a:cubicBezTo>
                <a:lnTo>
                  <a:pt x="57557541" y="0"/>
                </a:lnTo>
                <a:cubicBezTo>
                  <a:pt x="25769391" y="0"/>
                  <a:pt x="0" y="25769491"/>
                  <a:pt x="0" y="5755759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40" name="Freeform 1440"/>
          <p:cNvSpPr/>
          <p:nvPr/>
        </p:nvSpPr>
        <p:spPr>
          <a:xfrm flipV="1">
            <a:off x="616374" y="2733969"/>
            <a:ext cx="1654199" cy="679799"/>
          </a:xfrm>
          <a:custGeom>
            <a:avLst/>
            <a:gdLst/>
            <a:ahLst/>
            <a:cxnLst/>
            <a:rect l="0" t="0" r="0" b="0"/>
            <a:pathLst>
              <a:path w="840333600" h="345338400">
                <a:moveTo>
                  <a:pt x="0" y="287780810"/>
                </a:moveTo>
                <a:lnTo>
                  <a:pt x="0" y="287780810"/>
                </a:lnTo>
                <a:cubicBezTo>
                  <a:pt x="0" y="319569009"/>
                  <a:pt x="25769391" y="345338400"/>
                  <a:pt x="57557541" y="345338400"/>
                </a:cubicBezTo>
                <a:lnTo>
                  <a:pt x="782776009" y="345338400"/>
                </a:lnTo>
                <a:cubicBezTo>
                  <a:pt x="798041210" y="345338400"/>
                  <a:pt x="812681235" y="339274349"/>
                  <a:pt x="823475342" y="328480143"/>
                </a:cubicBezTo>
                <a:cubicBezTo>
                  <a:pt x="834269548" y="317686036"/>
                  <a:pt x="840333600" y="303046011"/>
                  <a:pt x="840333600" y="287780810"/>
                </a:cubicBezTo>
                <a:lnTo>
                  <a:pt x="840333600" y="57557591"/>
                </a:lnTo>
                <a:cubicBezTo>
                  <a:pt x="840333600" y="25769491"/>
                  <a:pt x="814564208" y="0"/>
                  <a:pt x="782776009" y="0"/>
                </a:cubicBezTo>
                <a:lnTo>
                  <a:pt x="57557541" y="0"/>
                </a:lnTo>
                <a:cubicBezTo>
                  <a:pt x="25769391" y="0"/>
                  <a:pt x="0" y="25769491"/>
                  <a:pt x="0" y="57557591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41" name="Freeform 1441"/>
          <p:cNvSpPr/>
          <p:nvPr/>
        </p:nvSpPr>
        <p:spPr>
          <a:xfrm flipV="1">
            <a:off x="6439048" y="1291644"/>
            <a:ext cx="1467000" cy="679799"/>
          </a:xfrm>
          <a:custGeom>
            <a:avLst/>
            <a:gdLst/>
            <a:ahLst/>
            <a:cxnLst/>
            <a:rect l="0" t="0" r="0" b="0"/>
            <a:pathLst>
              <a:path w="745236199" h="345338400">
                <a:moveTo>
                  <a:pt x="0" y="345338400"/>
                </a:moveTo>
                <a:lnTo>
                  <a:pt x="745236199" y="345338400"/>
                </a:lnTo>
                <a:lnTo>
                  <a:pt x="7452361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42" name="Freeform 1442"/>
          <p:cNvSpPr/>
          <p:nvPr/>
        </p:nvSpPr>
        <p:spPr>
          <a:xfrm flipV="1">
            <a:off x="6542471" y="1444758"/>
            <a:ext cx="903516" cy="163594"/>
          </a:xfrm>
          <a:custGeom>
            <a:avLst/>
            <a:gdLst/>
            <a:ahLst/>
            <a:cxnLst/>
            <a:rect l="0" t="0" r="0" b="0"/>
            <a:pathLst>
              <a:path w="1204689" h="218126">
                <a:moveTo>
                  <a:pt x="0" y="218126"/>
                </a:moveTo>
                <a:lnTo>
                  <a:pt x="1204689" y="218126"/>
                </a:lnTo>
                <a:lnTo>
                  <a:pt x="1204689" y="0"/>
                </a:lnTo>
                <a:lnTo>
                  <a:pt x="0" y="0"/>
                </a:lnTo>
                <a:lnTo>
                  <a:pt x="0" y="218126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43" name="Freeform 1443"/>
          <p:cNvSpPr/>
          <p:nvPr/>
        </p:nvSpPr>
        <p:spPr>
          <a:xfrm flipV="1">
            <a:off x="7445988" y="1444758"/>
            <a:ext cx="34560" cy="163594"/>
          </a:xfrm>
          <a:custGeom>
            <a:avLst/>
            <a:gdLst/>
            <a:ahLst/>
            <a:cxnLst/>
            <a:rect l="0" t="0" r="0" b="0"/>
            <a:pathLst>
              <a:path w="46080" h="218126">
                <a:moveTo>
                  <a:pt x="0" y="218126"/>
                </a:moveTo>
                <a:lnTo>
                  <a:pt x="46080" y="218126"/>
                </a:lnTo>
                <a:lnTo>
                  <a:pt x="46080" y="0"/>
                </a:lnTo>
                <a:lnTo>
                  <a:pt x="0" y="0"/>
                </a:lnTo>
                <a:lnTo>
                  <a:pt x="0" y="218126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44" name="Freeform 1444"/>
          <p:cNvSpPr/>
          <p:nvPr/>
        </p:nvSpPr>
        <p:spPr>
          <a:xfrm flipV="1">
            <a:off x="7480548" y="1444758"/>
            <a:ext cx="356636" cy="163594"/>
          </a:xfrm>
          <a:custGeom>
            <a:avLst/>
            <a:gdLst/>
            <a:ahLst/>
            <a:cxnLst/>
            <a:rect l="0" t="0" r="0" b="0"/>
            <a:pathLst>
              <a:path w="475515" h="218126">
                <a:moveTo>
                  <a:pt x="0" y="218126"/>
                </a:moveTo>
                <a:lnTo>
                  <a:pt x="475515" y="218126"/>
                </a:lnTo>
                <a:lnTo>
                  <a:pt x="475515" y="0"/>
                </a:lnTo>
                <a:lnTo>
                  <a:pt x="0" y="0"/>
                </a:lnTo>
                <a:lnTo>
                  <a:pt x="0" y="218126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45" name="Freeform 1445"/>
          <p:cNvSpPr/>
          <p:nvPr/>
        </p:nvSpPr>
        <p:spPr>
          <a:xfrm flipV="1">
            <a:off x="7837184" y="1444758"/>
            <a:ext cx="0" cy="163594"/>
          </a:xfrm>
          <a:custGeom>
            <a:avLst/>
            <a:gdLst/>
            <a:ahLst/>
            <a:cxnLst/>
            <a:rect l="0" t="0" r="0" b="0"/>
            <a:pathLst>
              <a:path h="218126">
                <a:moveTo>
                  <a:pt x="0" y="218126"/>
                </a:moveTo>
                <a:lnTo>
                  <a:pt x="0" y="218126"/>
                </a:lnTo>
                <a:lnTo>
                  <a:pt x="0" y="0"/>
                </a:lnTo>
                <a:lnTo>
                  <a:pt x="0" y="218126"/>
                </a:lnTo>
                <a:close/>
              </a:path>
            </a:pathLst>
          </a:custGeom>
          <a:solidFill>
            <a:srgbClr val="01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46" name="Picture 1446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00829" y="2037407"/>
            <a:ext cx="1340625" cy="803625"/>
          </a:xfrm>
          <a:prstGeom prst="rect">
            <a:avLst/>
          </a:prstGeom>
          <a:noFill/>
        </p:spPr>
      </p:pic>
      <p:sp>
        <p:nvSpPr>
          <p:cNvPr id="1447" name="Freeform 1447"/>
          <p:cNvSpPr/>
          <p:nvPr/>
        </p:nvSpPr>
        <p:spPr>
          <a:xfrm flipV="1">
            <a:off x="5662742" y="2080269"/>
            <a:ext cx="1216799" cy="679799"/>
          </a:xfrm>
          <a:custGeom>
            <a:avLst/>
            <a:gdLst/>
            <a:ahLst/>
            <a:cxnLst/>
            <a:rect l="0" t="0" r="0" b="0"/>
            <a:pathLst>
              <a:path w="618134400" h="345338400">
                <a:moveTo>
                  <a:pt x="0" y="287780810"/>
                </a:moveTo>
                <a:lnTo>
                  <a:pt x="0" y="287780810"/>
                </a:lnTo>
                <a:cubicBezTo>
                  <a:pt x="0" y="319569009"/>
                  <a:pt x="25769490" y="345338400"/>
                  <a:pt x="57557590" y="345338400"/>
                </a:cubicBezTo>
                <a:lnTo>
                  <a:pt x="560576809" y="345338400"/>
                </a:lnTo>
                <a:cubicBezTo>
                  <a:pt x="575842209" y="345338400"/>
                  <a:pt x="590482134" y="339274349"/>
                  <a:pt x="601276340" y="328480143"/>
                </a:cubicBezTo>
                <a:cubicBezTo>
                  <a:pt x="612070150" y="317686036"/>
                  <a:pt x="618134400" y="303046011"/>
                  <a:pt x="618134400" y="287780810"/>
                </a:cubicBezTo>
                <a:lnTo>
                  <a:pt x="618134400" y="57557591"/>
                </a:lnTo>
                <a:cubicBezTo>
                  <a:pt x="618134400" y="25769392"/>
                  <a:pt x="592364909" y="0"/>
                  <a:pt x="560576809" y="0"/>
                </a:cubicBezTo>
                <a:lnTo>
                  <a:pt x="57557590" y="0"/>
                </a:lnTo>
                <a:cubicBezTo>
                  <a:pt x="25769490" y="0"/>
                  <a:pt x="0" y="25769392"/>
                  <a:pt x="0" y="5755759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48" name="Freeform 1448"/>
          <p:cNvSpPr/>
          <p:nvPr/>
        </p:nvSpPr>
        <p:spPr>
          <a:xfrm flipV="1">
            <a:off x="5662742" y="2080269"/>
            <a:ext cx="1216799" cy="679799"/>
          </a:xfrm>
          <a:custGeom>
            <a:avLst/>
            <a:gdLst/>
            <a:ahLst/>
            <a:cxnLst/>
            <a:rect l="0" t="0" r="0" b="0"/>
            <a:pathLst>
              <a:path w="618134400" h="345338400">
                <a:moveTo>
                  <a:pt x="0" y="287780810"/>
                </a:moveTo>
                <a:lnTo>
                  <a:pt x="0" y="287780810"/>
                </a:lnTo>
                <a:cubicBezTo>
                  <a:pt x="0" y="319569009"/>
                  <a:pt x="25769490" y="345338400"/>
                  <a:pt x="57557590" y="345338400"/>
                </a:cubicBezTo>
                <a:lnTo>
                  <a:pt x="560576809" y="345338400"/>
                </a:lnTo>
                <a:cubicBezTo>
                  <a:pt x="575842209" y="345338400"/>
                  <a:pt x="590482134" y="339274349"/>
                  <a:pt x="601276340" y="328480143"/>
                </a:cubicBezTo>
                <a:cubicBezTo>
                  <a:pt x="612070150" y="317686036"/>
                  <a:pt x="618134400" y="303046011"/>
                  <a:pt x="618134400" y="287780810"/>
                </a:cubicBezTo>
                <a:lnTo>
                  <a:pt x="618134400" y="57557591"/>
                </a:lnTo>
                <a:cubicBezTo>
                  <a:pt x="618134400" y="25769392"/>
                  <a:pt x="592364909" y="0"/>
                  <a:pt x="560576809" y="0"/>
                </a:cubicBezTo>
                <a:lnTo>
                  <a:pt x="57557590" y="0"/>
                </a:lnTo>
                <a:cubicBezTo>
                  <a:pt x="25769490" y="0"/>
                  <a:pt x="0" y="25769392"/>
                  <a:pt x="0" y="57557591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49" name="Picture 1449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23638" y="3268282"/>
            <a:ext cx="1537125" cy="803625"/>
          </a:xfrm>
          <a:prstGeom prst="rect">
            <a:avLst/>
          </a:prstGeom>
          <a:noFill/>
        </p:spPr>
      </p:pic>
      <p:sp>
        <p:nvSpPr>
          <p:cNvPr id="1450" name="Freeform 1450"/>
          <p:cNvSpPr/>
          <p:nvPr/>
        </p:nvSpPr>
        <p:spPr>
          <a:xfrm flipV="1">
            <a:off x="6485551" y="3311144"/>
            <a:ext cx="1413300" cy="679799"/>
          </a:xfrm>
          <a:custGeom>
            <a:avLst/>
            <a:gdLst/>
            <a:ahLst/>
            <a:cxnLst/>
            <a:rect l="0" t="0" r="0" b="0"/>
            <a:pathLst>
              <a:path w="717956598" h="345338400">
                <a:moveTo>
                  <a:pt x="0" y="287780810"/>
                </a:moveTo>
                <a:lnTo>
                  <a:pt x="0" y="287780810"/>
                </a:lnTo>
                <a:cubicBezTo>
                  <a:pt x="0" y="319568910"/>
                  <a:pt x="25769490" y="345338400"/>
                  <a:pt x="57557392" y="345338400"/>
                </a:cubicBezTo>
                <a:lnTo>
                  <a:pt x="660399008" y="345338400"/>
                </a:lnTo>
                <a:cubicBezTo>
                  <a:pt x="675664011" y="345338400"/>
                  <a:pt x="690303936" y="339274349"/>
                  <a:pt x="701098142" y="328480143"/>
                </a:cubicBezTo>
                <a:cubicBezTo>
                  <a:pt x="711892348" y="317686135"/>
                  <a:pt x="717956598" y="303046011"/>
                  <a:pt x="717956598" y="287780810"/>
                </a:cubicBezTo>
                <a:lnTo>
                  <a:pt x="717956598" y="57557591"/>
                </a:lnTo>
                <a:cubicBezTo>
                  <a:pt x="717956598" y="25769491"/>
                  <a:pt x="692187108" y="0"/>
                  <a:pt x="660399008" y="0"/>
                </a:cubicBezTo>
                <a:lnTo>
                  <a:pt x="57557392" y="0"/>
                </a:lnTo>
                <a:cubicBezTo>
                  <a:pt x="25769490" y="0"/>
                  <a:pt x="0" y="25769491"/>
                  <a:pt x="0" y="5755759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51" name="Freeform 1451"/>
          <p:cNvSpPr/>
          <p:nvPr/>
        </p:nvSpPr>
        <p:spPr>
          <a:xfrm flipV="1">
            <a:off x="6485551" y="3311144"/>
            <a:ext cx="1413300" cy="679799"/>
          </a:xfrm>
          <a:custGeom>
            <a:avLst/>
            <a:gdLst/>
            <a:ahLst/>
            <a:cxnLst/>
            <a:rect l="0" t="0" r="0" b="0"/>
            <a:pathLst>
              <a:path w="717956598" h="345338400">
                <a:moveTo>
                  <a:pt x="0" y="287780810"/>
                </a:moveTo>
                <a:lnTo>
                  <a:pt x="0" y="287780810"/>
                </a:lnTo>
                <a:cubicBezTo>
                  <a:pt x="0" y="319568910"/>
                  <a:pt x="25769490" y="345338400"/>
                  <a:pt x="57557392" y="345338400"/>
                </a:cubicBezTo>
                <a:lnTo>
                  <a:pt x="660399008" y="345338400"/>
                </a:lnTo>
                <a:cubicBezTo>
                  <a:pt x="675664011" y="345338400"/>
                  <a:pt x="690303936" y="339274349"/>
                  <a:pt x="701098142" y="328480143"/>
                </a:cubicBezTo>
                <a:cubicBezTo>
                  <a:pt x="711892348" y="317686135"/>
                  <a:pt x="717956598" y="303046011"/>
                  <a:pt x="717956598" y="287780810"/>
                </a:cubicBezTo>
                <a:lnTo>
                  <a:pt x="717956598" y="57557591"/>
                </a:lnTo>
                <a:cubicBezTo>
                  <a:pt x="717956598" y="25769491"/>
                  <a:pt x="692187108" y="0"/>
                  <a:pt x="660399008" y="0"/>
                </a:cubicBezTo>
                <a:lnTo>
                  <a:pt x="57557392" y="0"/>
                </a:lnTo>
                <a:cubicBezTo>
                  <a:pt x="25769490" y="0"/>
                  <a:pt x="0" y="25769491"/>
                  <a:pt x="0" y="57557591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52" name="Picture 1452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88549" y="2037397"/>
            <a:ext cx="1408425" cy="803625"/>
          </a:xfrm>
          <a:prstGeom prst="rect">
            <a:avLst/>
          </a:prstGeom>
          <a:noFill/>
        </p:spPr>
      </p:pic>
      <p:sp>
        <p:nvSpPr>
          <p:cNvPr id="1453" name="Freeform 1453"/>
          <p:cNvSpPr/>
          <p:nvPr/>
        </p:nvSpPr>
        <p:spPr>
          <a:xfrm flipV="1">
            <a:off x="7450460" y="2080260"/>
            <a:ext cx="1284599" cy="679799"/>
          </a:xfrm>
          <a:custGeom>
            <a:avLst/>
            <a:gdLst/>
            <a:ahLst/>
            <a:cxnLst/>
            <a:rect l="0" t="0" r="0" b="0"/>
            <a:pathLst>
              <a:path w="652576800" h="345338400">
                <a:moveTo>
                  <a:pt x="0" y="287780809"/>
                </a:moveTo>
                <a:lnTo>
                  <a:pt x="0" y="287780809"/>
                </a:lnTo>
                <a:cubicBezTo>
                  <a:pt x="0" y="319569008"/>
                  <a:pt x="25769490" y="345338400"/>
                  <a:pt x="57557590" y="345338400"/>
                </a:cubicBezTo>
                <a:lnTo>
                  <a:pt x="595019209" y="345338400"/>
                </a:lnTo>
                <a:cubicBezTo>
                  <a:pt x="610284609" y="345338400"/>
                  <a:pt x="624924534" y="339274348"/>
                  <a:pt x="635718740" y="328480142"/>
                </a:cubicBezTo>
                <a:cubicBezTo>
                  <a:pt x="646512550" y="317686035"/>
                  <a:pt x="652576800" y="303046011"/>
                  <a:pt x="652576800" y="287780809"/>
                </a:cubicBezTo>
                <a:lnTo>
                  <a:pt x="652576800" y="57557590"/>
                </a:lnTo>
                <a:cubicBezTo>
                  <a:pt x="652576800" y="25769391"/>
                  <a:pt x="626807309" y="0"/>
                  <a:pt x="595019209" y="0"/>
                </a:cubicBezTo>
                <a:lnTo>
                  <a:pt x="57557590" y="0"/>
                </a:lnTo>
                <a:cubicBezTo>
                  <a:pt x="25769490" y="0"/>
                  <a:pt x="0" y="25769391"/>
                  <a:pt x="0" y="57557590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54" name="Freeform 1454"/>
          <p:cNvSpPr/>
          <p:nvPr/>
        </p:nvSpPr>
        <p:spPr>
          <a:xfrm flipV="1">
            <a:off x="7450460" y="2080260"/>
            <a:ext cx="1284599" cy="679799"/>
          </a:xfrm>
          <a:custGeom>
            <a:avLst/>
            <a:gdLst/>
            <a:ahLst/>
            <a:cxnLst/>
            <a:rect l="0" t="0" r="0" b="0"/>
            <a:pathLst>
              <a:path w="652576800" h="345338400">
                <a:moveTo>
                  <a:pt x="0" y="287780809"/>
                </a:moveTo>
                <a:lnTo>
                  <a:pt x="0" y="287780809"/>
                </a:lnTo>
                <a:cubicBezTo>
                  <a:pt x="0" y="319569008"/>
                  <a:pt x="25769490" y="345338400"/>
                  <a:pt x="57557590" y="345338400"/>
                </a:cubicBezTo>
                <a:lnTo>
                  <a:pt x="595019209" y="345338400"/>
                </a:lnTo>
                <a:cubicBezTo>
                  <a:pt x="610284609" y="345338400"/>
                  <a:pt x="624924534" y="339274348"/>
                  <a:pt x="635718740" y="328480142"/>
                </a:cubicBezTo>
                <a:cubicBezTo>
                  <a:pt x="646512550" y="317686035"/>
                  <a:pt x="652576800" y="303046011"/>
                  <a:pt x="652576800" y="287780809"/>
                </a:cubicBezTo>
                <a:lnTo>
                  <a:pt x="652576800" y="57557590"/>
                </a:lnTo>
                <a:cubicBezTo>
                  <a:pt x="652576800" y="25769391"/>
                  <a:pt x="626807309" y="0"/>
                  <a:pt x="595019209" y="0"/>
                </a:cubicBezTo>
                <a:lnTo>
                  <a:pt x="57557590" y="0"/>
                </a:lnTo>
                <a:cubicBezTo>
                  <a:pt x="25769490" y="0"/>
                  <a:pt x="0" y="25769391"/>
                  <a:pt x="0" y="57557590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55" name="Freeform 1455"/>
          <p:cNvSpPr/>
          <p:nvPr/>
        </p:nvSpPr>
        <p:spPr>
          <a:xfrm flipV="1">
            <a:off x="2564699" y="2770344"/>
            <a:ext cx="2921699" cy="0"/>
          </a:xfrm>
          <a:custGeom>
            <a:avLst/>
            <a:gdLst/>
            <a:ahLst/>
            <a:cxnLst/>
            <a:rect l="0" t="0" r="0" b="0"/>
            <a:pathLst>
              <a:path w="1484223600">
                <a:moveTo>
                  <a:pt x="0" y="0"/>
                </a:moveTo>
                <a:lnTo>
                  <a:pt x="14842236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56" name="Freeform 1456"/>
          <p:cNvSpPr/>
          <p:nvPr/>
        </p:nvSpPr>
        <p:spPr>
          <a:xfrm flipV="1">
            <a:off x="2621849" y="2770344"/>
            <a:ext cx="2807399" cy="0"/>
          </a:xfrm>
          <a:custGeom>
            <a:avLst/>
            <a:gdLst/>
            <a:ahLst/>
            <a:cxnLst/>
            <a:rect l="0" t="0" r="0" b="0"/>
            <a:pathLst>
              <a:path w="1426159200">
                <a:moveTo>
                  <a:pt x="0" y="0"/>
                </a:moveTo>
                <a:lnTo>
                  <a:pt x="1426159200" y="0"/>
                </a:lnTo>
              </a:path>
            </a:pathLst>
          </a:custGeom>
          <a:noFill/>
          <a:ln w="9524" cap="flat" cmpd="sng">
            <a:solidFill>
              <a:srgbClr val="0035BE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57" name="Freeform 1457"/>
          <p:cNvSpPr/>
          <p:nvPr/>
        </p:nvSpPr>
        <p:spPr>
          <a:xfrm flipV="1">
            <a:off x="2578624" y="2754612"/>
            <a:ext cx="43225" cy="31465"/>
          </a:xfrm>
          <a:custGeom>
            <a:avLst/>
            <a:gdLst/>
            <a:ahLst/>
            <a:cxnLst/>
            <a:rect l="0" t="0" r="0" b="0"/>
            <a:pathLst>
              <a:path w="21958499" h="15984537">
                <a:moveTo>
                  <a:pt x="21958499" y="15984537"/>
                </a:moveTo>
                <a:lnTo>
                  <a:pt x="0" y="7992268"/>
                </a:lnTo>
                <a:lnTo>
                  <a:pt x="21958499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9524" cap="flat" cmpd="sng">
            <a:solidFill>
              <a:srgbClr val="0035BE">
                <a:alpha val="10000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58" name="Freeform 1458"/>
          <p:cNvSpPr/>
          <p:nvPr/>
        </p:nvSpPr>
        <p:spPr>
          <a:xfrm flipV="1">
            <a:off x="5429249" y="2754612"/>
            <a:ext cx="43225" cy="31465"/>
          </a:xfrm>
          <a:custGeom>
            <a:avLst/>
            <a:gdLst/>
            <a:ahLst/>
            <a:cxnLst/>
            <a:rect l="0" t="0" r="0" b="0"/>
            <a:pathLst>
              <a:path w="21958498" h="15984537">
                <a:moveTo>
                  <a:pt x="0" y="0"/>
                </a:moveTo>
                <a:lnTo>
                  <a:pt x="21958498" y="7992268"/>
                </a:lnTo>
                <a:lnTo>
                  <a:pt x="0" y="15984537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9524" cap="flat" cmpd="sng">
            <a:solidFill>
              <a:srgbClr val="0035BE">
                <a:alpha val="10000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59" name="Freeform 1459"/>
          <p:cNvSpPr/>
          <p:nvPr/>
        </p:nvSpPr>
        <p:spPr>
          <a:xfrm flipV="1">
            <a:off x="6879542" y="2420169"/>
            <a:ext cx="570899" cy="0"/>
          </a:xfrm>
          <a:custGeom>
            <a:avLst/>
            <a:gdLst/>
            <a:ahLst/>
            <a:cxnLst/>
            <a:rect l="0" t="0" r="0" b="0"/>
            <a:pathLst>
              <a:path w="290017200">
                <a:moveTo>
                  <a:pt x="0" y="0"/>
                </a:moveTo>
                <a:lnTo>
                  <a:pt x="2900172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0" name="Freeform 1460"/>
          <p:cNvSpPr/>
          <p:nvPr/>
        </p:nvSpPr>
        <p:spPr>
          <a:xfrm flipV="1">
            <a:off x="6879542" y="2420169"/>
            <a:ext cx="570899" cy="0"/>
          </a:xfrm>
          <a:custGeom>
            <a:avLst/>
            <a:gdLst/>
            <a:ahLst/>
            <a:cxnLst/>
            <a:rect l="0" t="0" r="0" b="0"/>
            <a:pathLst>
              <a:path w="290017200">
                <a:moveTo>
                  <a:pt x="0" y="0"/>
                </a:moveTo>
                <a:lnTo>
                  <a:pt x="290017200" y="0"/>
                </a:lnTo>
              </a:path>
            </a:pathLst>
          </a:custGeom>
          <a:noFill/>
          <a:ln w="9524" cap="flat" cmpd="sng">
            <a:solidFill>
              <a:srgbClr val="0035BE">
                <a:alpha val="100000"/>
              </a:srgbClr>
            </a:solidFill>
            <a:custDash>
              <a:ds d="1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1" name="Freeform 1461"/>
          <p:cNvSpPr/>
          <p:nvPr/>
        </p:nvSpPr>
        <p:spPr>
          <a:xfrm flipV="1">
            <a:off x="6271142" y="2760069"/>
            <a:ext cx="920999" cy="551099"/>
          </a:xfrm>
          <a:custGeom>
            <a:avLst/>
            <a:gdLst/>
            <a:ahLst/>
            <a:cxnLst/>
            <a:rect l="0" t="0" r="0" b="0"/>
            <a:pathLst>
              <a:path w="467868000" h="279958800">
                <a:moveTo>
                  <a:pt x="0" y="279958800"/>
                </a:moveTo>
                <a:lnTo>
                  <a:pt x="4678680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2" name="Freeform 1462"/>
          <p:cNvSpPr/>
          <p:nvPr/>
        </p:nvSpPr>
        <p:spPr>
          <a:xfrm flipV="1">
            <a:off x="6271142" y="2760069"/>
            <a:ext cx="920999" cy="551099"/>
          </a:xfrm>
          <a:custGeom>
            <a:avLst/>
            <a:gdLst/>
            <a:ahLst/>
            <a:cxnLst/>
            <a:rect l="0" t="0" r="0" b="0"/>
            <a:pathLst>
              <a:path w="467868000" h="279958800">
                <a:moveTo>
                  <a:pt x="0" y="279958800"/>
                </a:moveTo>
                <a:lnTo>
                  <a:pt x="467868000" y="0"/>
                </a:lnTo>
              </a:path>
            </a:pathLst>
          </a:custGeom>
          <a:noFill/>
          <a:ln w="9524" cap="flat" cmpd="sng">
            <a:solidFill>
              <a:srgbClr val="0035BE">
                <a:alpha val="100000"/>
              </a:srgbClr>
            </a:solidFill>
            <a:custDash>
              <a:ds d="1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3" name="Freeform 1463"/>
          <p:cNvSpPr/>
          <p:nvPr/>
        </p:nvSpPr>
        <p:spPr>
          <a:xfrm flipV="1">
            <a:off x="726945" y="3615934"/>
            <a:ext cx="1466999" cy="489599"/>
          </a:xfrm>
          <a:custGeom>
            <a:avLst/>
            <a:gdLst/>
            <a:ahLst/>
            <a:cxnLst/>
            <a:rect l="0" t="0" r="0" b="0"/>
            <a:pathLst>
              <a:path w="745235950" h="248716800">
                <a:moveTo>
                  <a:pt x="0" y="248716800"/>
                </a:moveTo>
                <a:lnTo>
                  <a:pt x="745235950" y="248716800"/>
                </a:lnTo>
                <a:lnTo>
                  <a:pt x="74523595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4" name="Freeform 1464"/>
          <p:cNvSpPr/>
          <p:nvPr/>
        </p:nvSpPr>
        <p:spPr>
          <a:xfrm flipV="1">
            <a:off x="1223201" y="3769047"/>
            <a:ext cx="474489" cy="163594"/>
          </a:xfrm>
          <a:custGeom>
            <a:avLst/>
            <a:gdLst/>
            <a:ahLst/>
            <a:cxnLst/>
            <a:rect l="0" t="0" r="0" b="0"/>
            <a:pathLst>
              <a:path w="632653" h="218126">
                <a:moveTo>
                  <a:pt x="0" y="218126"/>
                </a:moveTo>
                <a:lnTo>
                  <a:pt x="632653" y="218126"/>
                </a:lnTo>
                <a:lnTo>
                  <a:pt x="632653" y="0"/>
                </a:lnTo>
                <a:lnTo>
                  <a:pt x="0" y="0"/>
                </a:lnTo>
                <a:lnTo>
                  <a:pt x="0" y="218126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5" name="Freeform 1465"/>
          <p:cNvSpPr/>
          <p:nvPr/>
        </p:nvSpPr>
        <p:spPr>
          <a:xfrm flipV="1">
            <a:off x="1697690" y="3769047"/>
            <a:ext cx="0" cy="163594"/>
          </a:xfrm>
          <a:custGeom>
            <a:avLst/>
            <a:gdLst/>
            <a:ahLst/>
            <a:cxnLst/>
            <a:rect l="0" t="0" r="0" b="0"/>
            <a:pathLst>
              <a:path h="218126">
                <a:moveTo>
                  <a:pt x="0" y="218126"/>
                </a:moveTo>
                <a:lnTo>
                  <a:pt x="0" y="218126"/>
                </a:lnTo>
                <a:lnTo>
                  <a:pt x="0" y="0"/>
                </a:lnTo>
                <a:lnTo>
                  <a:pt x="0" y="218126"/>
                </a:lnTo>
                <a:close/>
              </a:path>
            </a:pathLst>
          </a:custGeom>
          <a:solidFill>
            <a:srgbClr val="01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6" name="Freeform 1466"/>
          <p:cNvSpPr/>
          <p:nvPr/>
        </p:nvSpPr>
        <p:spPr>
          <a:xfrm flipV="1">
            <a:off x="1771048" y="1631544"/>
            <a:ext cx="4667999" cy="2234099"/>
          </a:xfrm>
          <a:custGeom>
            <a:avLst/>
            <a:gdLst/>
            <a:ahLst/>
            <a:cxnLst/>
            <a:rect l="0" t="0" r="0" b="0"/>
            <a:pathLst>
              <a:path w="4667999" h="2234099">
                <a:moveTo>
                  <a:pt x="0" y="0"/>
                </a:moveTo>
                <a:cubicBezTo>
                  <a:pt x="1166999" y="0"/>
                  <a:pt x="1750499" y="558524"/>
                  <a:pt x="2333999" y="1117049"/>
                </a:cubicBezTo>
                <a:cubicBezTo>
                  <a:pt x="2917499" y="1675574"/>
                  <a:pt x="3500999" y="2234099"/>
                  <a:pt x="4667999" y="2234099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7" name="Freeform 1467"/>
          <p:cNvSpPr/>
          <p:nvPr/>
        </p:nvSpPr>
        <p:spPr>
          <a:xfrm flipV="1">
            <a:off x="1771048" y="1631697"/>
            <a:ext cx="4635357" cy="2233947"/>
          </a:xfrm>
          <a:custGeom>
            <a:avLst/>
            <a:gdLst/>
            <a:ahLst/>
            <a:cxnLst/>
            <a:rect l="0" t="0" r="0" b="0"/>
            <a:pathLst>
              <a:path w="4635357" h="2233947">
                <a:moveTo>
                  <a:pt x="0" y="0"/>
                </a:moveTo>
                <a:cubicBezTo>
                  <a:pt x="1166999" y="0"/>
                  <a:pt x="1750499" y="558524"/>
                  <a:pt x="2333999" y="1117049"/>
                </a:cubicBezTo>
                <a:cubicBezTo>
                  <a:pt x="2625749" y="1396312"/>
                  <a:pt x="2917499" y="1675574"/>
                  <a:pt x="3282187" y="1885021"/>
                </a:cubicBezTo>
                <a:cubicBezTo>
                  <a:pt x="3464531" y="1989745"/>
                  <a:pt x="3665109" y="2077014"/>
                  <a:pt x="3893039" y="2138103"/>
                </a:cubicBezTo>
                <a:cubicBezTo>
                  <a:pt x="4007003" y="2168647"/>
                  <a:pt x="4127806" y="2192646"/>
                  <a:pt x="4256587" y="2209009"/>
                </a:cubicBezTo>
                <a:cubicBezTo>
                  <a:pt x="4320976" y="2217191"/>
                  <a:pt x="4387361" y="2223464"/>
                  <a:pt x="4455882" y="2227691"/>
                </a:cubicBezTo>
                <a:cubicBezTo>
                  <a:pt x="4490143" y="2229804"/>
                  <a:pt x="4524938" y="2231406"/>
                  <a:pt x="4560285" y="2232480"/>
                </a:cubicBezTo>
                <a:cubicBezTo>
                  <a:pt x="4577958" y="2233017"/>
                  <a:pt x="4595770" y="2233422"/>
                  <a:pt x="4613721" y="2233692"/>
                </a:cubicBezTo>
                <a:cubicBezTo>
                  <a:pt x="4618209" y="2233760"/>
                  <a:pt x="4622706" y="2233819"/>
                  <a:pt x="4627212" y="2233870"/>
                </a:cubicBezTo>
                <a:lnTo>
                  <a:pt x="4635357" y="2233947"/>
                </a:lnTo>
              </a:path>
            </a:pathLst>
          </a:custGeom>
          <a:noFill/>
          <a:ln w="9524" cap="flat" cmpd="sng">
            <a:solidFill>
              <a:srgbClr val="0035BE">
                <a:alpha val="100000"/>
              </a:srgbClr>
            </a:solidFill>
            <a:custDash>
              <a:ds d="1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8" name="Freeform 1468"/>
          <p:cNvSpPr/>
          <p:nvPr/>
        </p:nvSpPr>
        <p:spPr>
          <a:xfrm flipV="1">
            <a:off x="6395643" y="1621036"/>
            <a:ext cx="29479" cy="21423"/>
          </a:xfrm>
          <a:custGeom>
            <a:avLst/>
            <a:gdLst/>
            <a:ahLst/>
            <a:cxnLst/>
            <a:rect l="0" t="0" r="0" b="0"/>
            <a:pathLst>
              <a:path w="14975681" h="10882907">
                <a:moveTo>
                  <a:pt x="5466953" y="5466853"/>
                </a:moveTo>
                <a:lnTo>
                  <a:pt x="50998" y="0"/>
                </a:lnTo>
                <a:lnTo>
                  <a:pt x="14975681" y="5511303"/>
                </a:lnTo>
                <a:lnTo>
                  <a:pt x="0" y="10882907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9524" cap="flat" cmpd="sng">
            <a:solidFill>
              <a:srgbClr val="0035BE">
                <a:alpha val="10000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69" name="Freeform 1469"/>
          <p:cNvSpPr/>
          <p:nvPr/>
        </p:nvSpPr>
        <p:spPr>
          <a:xfrm flipV="1">
            <a:off x="2564699" y="1200144"/>
            <a:ext cx="2292299" cy="1058699"/>
          </a:xfrm>
          <a:custGeom>
            <a:avLst/>
            <a:gdLst/>
            <a:ahLst/>
            <a:cxnLst/>
            <a:rect l="0" t="0" r="0" b="0"/>
            <a:pathLst>
              <a:path w="1164488400" h="537819600">
                <a:moveTo>
                  <a:pt x="0" y="537819600"/>
                </a:moveTo>
                <a:lnTo>
                  <a:pt x="1164488400" y="537819600"/>
                </a:lnTo>
                <a:lnTo>
                  <a:pt x="1164488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70" name="Freeform 1470"/>
          <p:cNvSpPr/>
          <p:nvPr/>
        </p:nvSpPr>
        <p:spPr>
          <a:xfrm flipV="1">
            <a:off x="2564699" y="1200144"/>
            <a:ext cx="2292299" cy="1058699"/>
          </a:xfrm>
          <a:custGeom>
            <a:avLst/>
            <a:gdLst/>
            <a:ahLst/>
            <a:cxnLst/>
            <a:rect l="0" t="0" r="0" b="0"/>
            <a:pathLst>
              <a:path w="1164488400" h="537819600">
                <a:moveTo>
                  <a:pt x="0" y="537819600"/>
                </a:moveTo>
                <a:lnTo>
                  <a:pt x="1164488400" y="537819600"/>
                </a:lnTo>
                <a:lnTo>
                  <a:pt x="1164488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71" name="Freeform 1471"/>
          <p:cNvSpPr/>
          <p:nvPr/>
        </p:nvSpPr>
        <p:spPr>
          <a:xfrm flipV="1">
            <a:off x="7192160" y="2760060"/>
            <a:ext cx="900599" cy="551100"/>
          </a:xfrm>
          <a:custGeom>
            <a:avLst/>
            <a:gdLst/>
            <a:ahLst/>
            <a:cxnLst/>
            <a:rect l="0" t="0" r="0" b="0"/>
            <a:pathLst>
              <a:path w="457504800" h="279958900">
                <a:moveTo>
                  <a:pt x="457504800" y="279958900"/>
                </a:moveTo>
                <a:lnTo>
                  <a:pt x="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72" name="Freeform 1472"/>
          <p:cNvSpPr/>
          <p:nvPr/>
        </p:nvSpPr>
        <p:spPr>
          <a:xfrm flipV="1">
            <a:off x="7192160" y="2760060"/>
            <a:ext cx="900599" cy="551100"/>
          </a:xfrm>
          <a:custGeom>
            <a:avLst/>
            <a:gdLst/>
            <a:ahLst/>
            <a:cxnLst/>
            <a:rect l="0" t="0" r="0" b="0"/>
            <a:pathLst>
              <a:path w="457504800" h="279958900">
                <a:moveTo>
                  <a:pt x="457504800" y="279958900"/>
                </a:moveTo>
                <a:lnTo>
                  <a:pt x="0" y="0"/>
                </a:lnTo>
              </a:path>
            </a:pathLst>
          </a:custGeom>
          <a:noFill/>
          <a:ln w="9524" cap="flat" cmpd="sng">
            <a:solidFill>
              <a:srgbClr val="0035BE">
                <a:alpha val="100000"/>
              </a:srgbClr>
            </a:solidFill>
            <a:custDash>
              <a:ds d="1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73" name="Freeform 1473"/>
          <p:cNvSpPr/>
          <p:nvPr/>
        </p:nvSpPr>
        <p:spPr>
          <a:xfrm flipV="1">
            <a:off x="3160974" y="3466094"/>
            <a:ext cx="2259899" cy="1170299"/>
          </a:xfrm>
          <a:custGeom>
            <a:avLst/>
            <a:gdLst/>
            <a:ahLst/>
            <a:cxnLst/>
            <a:rect l="0" t="0" r="0" b="0"/>
            <a:pathLst>
              <a:path w="1148029200" h="594512400">
                <a:moveTo>
                  <a:pt x="0" y="594512400"/>
                </a:moveTo>
                <a:lnTo>
                  <a:pt x="1148029200" y="594512400"/>
                </a:lnTo>
                <a:lnTo>
                  <a:pt x="11480292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74" name="Freeform 1474"/>
          <p:cNvSpPr/>
          <p:nvPr/>
        </p:nvSpPr>
        <p:spPr>
          <a:xfrm flipV="1">
            <a:off x="1443474" y="2010219"/>
            <a:ext cx="0" cy="723899"/>
          </a:xfrm>
          <a:custGeom>
            <a:avLst/>
            <a:gdLst/>
            <a:ahLst/>
            <a:cxnLst/>
            <a:rect l="0" t="0" r="0" b="0"/>
            <a:pathLst>
              <a:path h="367741200">
                <a:moveTo>
                  <a:pt x="0" y="367741200"/>
                </a:moveTo>
                <a:lnTo>
                  <a:pt x="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75" name="Freeform 1475"/>
          <p:cNvSpPr/>
          <p:nvPr/>
        </p:nvSpPr>
        <p:spPr>
          <a:xfrm flipV="1">
            <a:off x="1443474" y="2010219"/>
            <a:ext cx="0" cy="723899"/>
          </a:xfrm>
          <a:custGeom>
            <a:avLst/>
            <a:gdLst/>
            <a:ahLst/>
            <a:cxnLst/>
            <a:rect l="0" t="0" r="0" b="0"/>
            <a:pathLst>
              <a:path h="367741200">
                <a:moveTo>
                  <a:pt x="0" y="367741200"/>
                </a:moveTo>
                <a:lnTo>
                  <a:pt x="0" y="0"/>
                </a:lnTo>
              </a:path>
            </a:pathLst>
          </a:custGeom>
          <a:noFill/>
          <a:ln w="9524" cap="flat" cmpd="sng">
            <a:solidFill>
              <a:srgbClr val="0035BE">
                <a:alpha val="100000"/>
              </a:srgbClr>
            </a:solidFill>
            <a:custDash>
              <a:ds d="4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76" name="Freeform 1476"/>
          <p:cNvSpPr/>
          <p:nvPr/>
        </p:nvSpPr>
        <p:spPr>
          <a:xfrm flipV="1">
            <a:off x="431787" y="3551307"/>
            <a:ext cx="598904" cy="618874"/>
          </a:xfrm>
          <a:custGeom>
            <a:avLst/>
            <a:gdLst/>
            <a:ahLst/>
            <a:cxnLst/>
            <a:rect l="0" t="0" r="0" b="0"/>
            <a:pathLst>
              <a:path w="304243730" h="314388301">
                <a:moveTo>
                  <a:pt x="0" y="314388301"/>
                </a:moveTo>
                <a:lnTo>
                  <a:pt x="304243730" y="314388301"/>
                </a:lnTo>
                <a:lnTo>
                  <a:pt x="30424373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77" name="Picture 1477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1787" y="3551307"/>
            <a:ext cx="598905" cy="618874"/>
          </a:xfrm>
          <a:prstGeom prst="rect">
            <a:avLst/>
          </a:prstGeom>
          <a:noFill/>
        </p:spPr>
      </p:pic>
      <p:sp>
        <p:nvSpPr>
          <p:cNvPr id="1478" name="Freeform 1478"/>
          <p:cNvSpPr/>
          <p:nvPr/>
        </p:nvSpPr>
        <p:spPr>
          <a:xfrm flipV="1">
            <a:off x="7492774" y="1647844"/>
            <a:ext cx="1303521" cy="362378"/>
          </a:xfrm>
          <a:custGeom>
            <a:avLst/>
            <a:gdLst/>
            <a:ahLst/>
            <a:cxnLst/>
            <a:rect l="0" t="0" r="0" b="0"/>
            <a:pathLst>
              <a:path w="662189112" h="184088186">
                <a:moveTo>
                  <a:pt x="0" y="184088186"/>
                </a:moveTo>
                <a:lnTo>
                  <a:pt x="662189112" y="184088186"/>
                </a:lnTo>
                <a:lnTo>
                  <a:pt x="66218911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79" name="Picture 1479"/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80075" y="1635144"/>
            <a:ext cx="1328921" cy="387778"/>
          </a:xfrm>
          <a:prstGeom prst="rect">
            <a:avLst/>
          </a:prstGeom>
          <a:noFill/>
        </p:spPr>
      </p:pic>
      <p:sp>
        <p:nvSpPr>
          <p:cNvPr id="1480" name="Freeform 1480"/>
          <p:cNvSpPr/>
          <p:nvPr/>
        </p:nvSpPr>
        <p:spPr>
          <a:xfrm flipV="1">
            <a:off x="6796387" y="664457"/>
            <a:ext cx="1004132" cy="584024"/>
          </a:xfrm>
          <a:custGeom>
            <a:avLst/>
            <a:gdLst/>
            <a:ahLst/>
            <a:cxnLst/>
            <a:rect l="0" t="0" r="0" b="0"/>
            <a:pathLst>
              <a:path w="510099071" h="296684626">
                <a:moveTo>
                  <a:pt x="0" y="296684626"/>
                </a:moveTo>
                <a:lnTo>
                  <a:pt x="510099071" y="296684626"/>
                </a:lnTo>
                <a:lnTo>
                  <a:pt x="51009907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81" name="Picture 1481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96387" y="664457"/>
            <a:ext cx="1004132" cy="584024"/>
          </a:xfrm>
          <a:prstGeom prst="rect">
            <a:avLst/>
          </a:prstGeom>
          <a:noFill/>
        </p:spPr>
      </p:pic>
      <p:sp>
        <p:nvSpPr>
          <p:cNvPr id="1482" name="Freeform 1482"/>
          <p:cNvSpPr/>
          <p:nvPr/>
        </p:nvSpPr>
        <p:spPr>
          <a:xfrm flipV="1">
            <a:off x="4823469" y="2895472"/>
            <a:ext cx="484274" cy="849099"/>
          </a:xfrm>
          <a:custGeom>
            <a:avLst/>
            <a:gdLst/>
            <a:ahLst/>
            <a:cxnLst/>
            <a:rect l="0" t="0" r="0" b="0"/>
            <a:pathLst>
              <a:path w="246011700" h="431342800">
                <a:moveTo>
                  <a:pt x="0" y="431342800"/>
                </a:moveTo>
                <a:lnTo>
                  <a:pt x="246011700" y="431342800"/>
                </a:lnTo>
                <a:lnTo>
                  <a:pt x="2460117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83" name="Picture 1483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23470" y="2895472"/>
            <a:ext cx="484274" cy="849100"/>
          </a:xfrm>
          <a:prstGeom prst="rect">
            <a:avLst/>
          </a:prstGeom>
          <a:noFill/>
        </p:spPr>
      </p:pic>
      <p:sp>
        <p:nvSpPr>
          <p:cNvPr id="1541" name="Rectangle 1541"/>
          <p:cNvSpPr/>
          <p:nvPr/>
        </p:nvSpPr>
        <p:spPr>
          <a:xfrm>
            <a:off x="997475" y="1621147"/>
            <a:ext cx="923163" cy="361950"/>
          </a:xfrm>
          <a:prstGeom prst="rect">
            <a:avLst/>
          </a:prstGeom>
        </p:spPr>
      </p:sp>
      <p:sp>
        <p:nvSpPr>
          <p:cNvPr id="1542" name="Freeform 1542"/>
          <p:cNvSpPr/>
          <p:nvPr/>
        </p:nvSpPr>
        <p:spPr>
          <a:xfrm>
            <a:off x="1007955" y="1651500"/>
            <a:ext cx="89856" cy="90296"/>
          </a:xfrm>
          <a:custGeom>
            <a:avLst/>
            <a:gdLst/>
            <a:ahLst/>
            <a:cxnLst/>
            <a:rect l="0" t="0" r="0" b="0"/>
            <a:pathLst>
              <a:path w="8985647" h="9029700">
                <a:moveTo>
                  <a:pt x="1537891" y="0"/>
                </a:moveTo>
                <a:lnTo>
                  <a:pt x="4489648" y="7367588"/>
                </a:lnTo>
                <a:lnTo>
                  <a:pt x="7441406" y="0"/>
                </a:lnTo>
                <a:lnTo>
                  <a:pt x="8985647" y="0"/>
                </a:lnTo>
                <a:lnTo>
                  <a:pt x="8985647" y="9029700"/>
                </a:lnTo>
                <a:lnTo>
                  <a:pt x="7795022" y="9029700"/>
                </a:lnTo>
                <a:lnTo>
                  <a:pt x="7795022" y="5513388"/>
                </a:lnTo>
                <a:lnTo>
                  <a:pt x="7906544" y="1717874"/>
                </a:lnTo>
                <a:lnTo>
                  <a:pt x="4942483" y="9029700"/>
                </a:lnTo>
                <a:lnTo>
                  <a:pt x="4030861" y="9029700"/>
                </a:lnTo>
                <a:lnTo>
                  <a:pt x="1072952" y="1736527"/>
                </a:lnTo>
                <a:lnTo>
                  <a:pt x="1190625" y="55133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43" name="Freeform 1543"/>
          <p:cNvSpPr/>
          <p:nvPr/>
        </p:nvSpPr>
        <p:spPr>
          <a:xfrm>
            <a:off x="1113990" y="1673471"/>
            <a:ext cx="61081" cy="6959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44" name="Freeform 1544"/>
          <p:cNvSpPr/>
          <p:nvPr/>
        </p:nvSpPr>
        <p:spPr>
          <a:xfrm>
            <a:off x="1179145" y="1674741"/>
            <a:ext cx="69762" cy="86740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45" name="Freeform 1545"/>
          <p:cNvSpPr/>
          <p:nvPr/>
        </p:nvSpPr>
        <p:spPr>
          <a:xfrm>
            <a:off x="1258639" y="1673471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46" name="Freeform 1546"/>
          <p:cNvSpPr/>
          <p:nvPr/>
        </p:nvSpPr>
        <p:spPr>
          <a:xfrm>
            <a:off x="1328737" y="1673471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47" name="Freeform 1547"/>
          <p:cNvSpPr/>
          <p:nvPr/>
        </p:nvSpPr>
        <p:spPr>
          <a:xfrm>
            <a:off x="1400976" y="1674741"/>
            <a:ext cx="53826" cy="67055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48" name="Freeform 1548"/>
          <p:cNvSpPr/>
          <p:nvPr/>
        </p:nvSpPr>
        <p:spPr>
          <a:xfrm>
            <a:off x="1474128" y="1674741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49" name="Freeform 1549"/>
          <p:cNvSpPr/>
          <p:nvPr/>
        </p:nvSpPr>
        <p:spPr>
          <a:xfrm>
            <a:off x="1543190" y="1673471"/>
            <a:ext cx="52833" cy="69468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0" name="Freeform 1550"/>
          <p:cNvSpPr/>
          <p:nvPr/>
        </p:nvSpPr>
        <p:spPr>
          <a:xfrm>
            <a:off x="1608881" y="1673471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1" name="Freeform 1551"/>
          <p:cNvSpPr/>
          <p:nvPr/>
        </p:nvSpPr>
        <p:spPr>
          <a:xfrm>
            <a:off x="1680757" y="1674741"/>
            <a:ext cx="61888" cy="86994"/>
          </a:xfrm>
          <a:custGeom>
            <a:avLst/>
            <a:gdLst/>
            <a:ahLst/>
            <a:cxnLst/>
            <a:rect l="0" t="0" r="0" b="0"/>
            <a:pathLst>
              <a:path w="6188869" h="8699500">
                <a:moveTo>
                  <a:pt x="0" y="0"/>
                </a:moveTo>
                <a:lnTo>
                  <a:pt x="1153518" y="0"/>
                </a:lnTo>
                <a:lnTo>
                  <a:pt x="1153518" y="5769174"/>
                </a:lnTo>
                <a:lnTo>
                  <a:pt x="4241602" y="5769174"/>
                </a:lnTo>
                <a:lnTo>
                  <a:pt x="4241602" y="0"/>
                </a:lnTo>
                <a:lnTo>
                  <a:pt x="5388769" y="0"/>
                </a:lnTo>
                <a:lnTo>
                  <a:pt x="5388769" y="5769174"/>
                </a:lnTo>
                <a:lnTo>
                  <a:pt x="6188869" y="5769174"/>
                </a:lnTo>
                <a:lnTo>
                  <a:pt x="6077149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2" name="Freeform 1552"/>
          <p:cNvSpPr/>
          <p:nvPr/>
        </p:nvSpPr>
        <p:spPr>
          <a:xfrm>
            <a:off x="1755941" y="1674741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3" name="Freeform 1553"/>
          <p:cNvSpPr/>
          <p:nvPr/>
        </p:nvSpPr>
        <p:spPr>
          <a:xfrm>
            <a:off x="1822461" y="1674741"/>
            <a:ext cx="57050" cy="67055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4" name="Freeform 1554"/>
          <p:cNvSpPr/>
          <p:nvPr/>
        </p:nvSpPr>
        <p:spPr>
          <a:xfrm>
            <a:off x="1079240" y="1883021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5" name="Freeform 1555"/>
          <p:cNvSpPr/>
          <p:nvPr/>
        </p:nvSpPr>
        <p:spPr>
          <a:xfrm>
            <a:off x="1151541" y="1884291"/>
            <a:ext cx="77515" cy="67055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6" name="Freeform 1556"/>
          <p:cNvSpPr/>
          <p:nvPr/>
        </p:nvSpPr>
        <p:spPr>
          <a:xfrm>
            <a:off x="1250031" y="1884291"/>
            <a:ext cx="53826" cy="67055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7" name="Freeform 1557"/>
          <p:cNvSpPr/>
          <p:nvPr/>
        </p:nvSpPr>
        <p:spPr>
          <a:xfrm>
            <a:off x="1323183" y="1884291"/>
            <a:ext cx="57733" cy="67055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8" name="Freeform 1558"/>
          <p:cNvSpPr/>
          <p:nvPr/>
        </p:nvSpPr>
        <p:spPr>
          <a:xfrm>
            <a:off x="1388848" y="1883021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59" name="Freeform 1559"/>
          <p:cNvSpPr/>
          <p:nvPr/>
        </p:nvSpPr>
        <p:spPr>
          <a:xfrm>
            <a:off x="1484900" y="1884291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0" name="Freeform 1560"/>
          <p:cNvSpPr/>
          <p:nvPr/>
        </p:nvSpPr>
        <p:spPr>
          <a:xfrm>
            <a:off x="1552061" y="1883021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1" name="Freeform 1561"/>
          <p:cNvSpPr/>
          <p:nvPr/>
        </p:nvSpPr>
        <p:spPr>
          <a:xfrm>
            <a:off x="1615357" y="1884291"/>
            <a:ext cx="57173" cy="94106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2" name="Freeform 1562"/>
          <p:cNvSpPr/>
          <p:nvPr/>
        </p:nvSpPr>
        <p:spPr>
          <a:xfrm>
            <a:off x="1673487" y="1884291"/>
            <a:ext cx="69762" cy="86740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3" name="Freeform 1563"/>
          <p:cNvSpPr/>
          <p:nvPr/>
        </p:nvSpPr>
        <p:spPr>
          <a:xfrm>
            <a:off x="1753973" y="1883021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4" name="Rectangle 1564"/>
          <p:cNvSpPr/>
          <p:nvPr/>
        </p:nvSpPr>
        <p:spPr>
          <a:xfrm>
            <a:off x="738801" y="2901023"/>
            <a:ext cx="1440433" cy="419100"/>
          </a:xfrm>
          <a:prstGeom prst="rect">
            <a:avLst/>
          </a:prstGeom>
        </p:spPr>
      </p:sp>
      <p:sp>
        <p:nvSpPr>
          <p:cNvPr id="1565" name="Freeform 1565"/>
          <p:cNvSpPr/>
          <p:nvPr/>
        </p:nvSpPr>
        <p:spPr>
          <a:xfrm>
            <a:off x="1173833" y="2931376"/>
            <a:ext cx="64926" cy="90296"/>
          </a:xfrm>
          <a:custGeom>
            <a:avLst/>
            <a:gdLst/>
            <a:ahLst/>
            <a:cxnLst/>
            <a:rect l="0" t="0" r="0" b="0"/>
            <a:pathLst>
              <a:path w="6492677" h="9029700">
                <a:moveTo>
                  <a:pt x="1190625" y="5494735"/>
                </a:move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3330178" y="0"/>
                </a:lnTo>
                <a:cubicBezTo>
                  <a:pt x="4318132" y="0"/>
                  <a:pt x="5092171" y="252215"/>
                  <a:pt x="5652294" y="756643"/>
                </a:cubicBezTo>
                <a:cubicBezTo>
                  <a:pt x="6212549" y="1261071"/>
                  <a:pt x="6492677" y="1928813"/>
                  <a:pt x="6492677" y="2759869"/>
                </a:cubicBezTo>
                <a:cubicBezTo>
                  <a:pt x="6492677" y="3636301"/>
                  <a:pt x="6218767" y="4311254"/>
                  <a:pt x="5670947" y="4784725"/>
                </a:cubicBezTo>
                <a:cubicBezTo>
                  <a:pt x="5123259" y="5258065"/>
                  <a:pt x="4338836" y="5494735"/>
                  <a:pt x="3317677" y="5494735"/>
                </a:cubicBezTo>
                <a:close/>
                <a:moveTo>
                  <a:pt x="1190625" y="4521200"/>
                </a:moveTo>
                <a:lnTo>
                  <a:pt x="3330178" y="4521200"/>
                </a:lnTo>
                <a:cubicBezTo>
                  <a:pt x="3966766" y="4521200"/>
                  <a:pt x="4454525" y="4371314"/>
                  <a:pt x="4793456" y="4071541"/>
                </a:cubicBezTo>
                <a:cubicBezTo>
                  <a:pt x="5132520" y="3771768"/>
                  <a:pt x="5302052" y="3338645"/>
                  <a:pt x="5302052" y="2772172"/>
                </a:cubicBezTo>
                <a:cubicBezTo>
                  <a:pt x="5302052" y="2234671"/>
                  <a:pt x="5132520" y="1804724"/>
                  <a:pt x="4793456" y="1482329"/>
                </a:cubicBezTo>
                <a:cubicBezTo>
                  <a:pt x="4454525" y="1159802"/>
                  <a:pt x="3989454" y="992321"/>
                  <a:pt x="3398242" y="979885"/>
                </a:cubicBezTo>
                <a:lnTo>
                  <a:pt x="1190625" y="97988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6" name="Freeform 1566"/>
          <p:cNvSpPr/>
          <p:nvPr/>
        </p:nvSpPr>
        <p:spPr>
          <a:xfrm>
            <a:off x="1249487" y="2953347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7" name="Freeform 1567"/>
          <p:cNvSpPr/>
          <p:nvPr/>
        </p:nvSpPr>
        <p:spPr>
          <a:xfrm>
            <a:off x="1317146" y="2953347"/>
            <a:ext cx="52833" cy="69468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8" name="Freeform 1568"/>
          <p:cNvSpPr/>
          <p:nvPr/>
        </p:nvSpPr>
        <p:spPr>
          <a:xfrm>
            <a:off x="1385813" y="2954617"/>
            <a:ext cx="56306" cy="67055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69" name="Freeform 1569"/>
          <p:cNvSpPr/>
          <p:nvPr/>
        </p:nvSpPr>
        <p:spPr>
          <a:xfrm>
            <a:off x="1458269" y="2954617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0" name="Freeform 1570"/>
          <p:cNvSpPr/>
          <p:nvPr/>
        </p:nvSpPr>
        <p:spPr>
          <a:xfrm>
            <a:off x="1524355" y="2954617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1" name="Freeform 1571"/>
          <p:cNvSpPr/>
          <p:nvPr/>
        </p:nvSpPr>
        <p:spPr>
          <a:xfrm>
            <a:off x="1592508" y="2954617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2" name="Freeform 1572"/>
          <p:cNvSpPr/>
          <p:nvPr/>
        </p:nvSpPr>
        <p:spPr>
          <a:xfrm>
            <a:off x="1661880" y="2953347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3" name="Freeform 1573"/>
          <p:cNvSpPr/>
          <p:nvPr/>
        </p:nvSpPr>
        <p:spPr>
          <a:xfrm>
            <a:off x="748474" y="3087967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4" name="Freeform 1574"/>
          <p:cNvSpPr/>
          <p:nvPr/>
        </p:nvSpPr>
        <p:spPr>
          <a:xfrm>
            <a:off x="821753" y="3087967"/>
            <a:ext cx="53826" cy="67055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5" name="Freeform 1575"/>
          <p:cNvSpPr/>
          <p:nvPr/>
        </p:nvSpPr>
        <p:spPr>
          <a:xfrm>
            <a:off x="890937" y="3086697"/>
            <a:ext cx="56554" cy="6959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6" name="Freeform 1576"/>
          <p:cNvSpPr/>
          <p:nvPr/>
        </p:nvSpPr>
        <p:spPr>
          <a:xfrm>
            <a:off x="954133" y="3087967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7" name="Freeform 1577"/>
          <p:cNvSpPr/>
          <p:nvPr/>
        </p:nvSpPr>
        <p:spPr>
          <a:xfrm>
            <a:off x="1021294" y="3086697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8" name="Freeform 1578"/>
          <p:cNvSpPr/>
          <p:nvPr/>
        </p:nvSpPr>
        <p:spPr>
          <a:xfrm>
            <a:off x="1084590" y="3087967"/>
            <a:ext cx="57173" cy="94106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79" name="Freeform 1579"/>
          <p:cNvSpPr/>
          <p:nvPr/>
        </p:nvSpPr>
        <p:spPr>
          <a:xfrm>
            <a:off x="1153031" y="3087967"/>
            <a:ext cx="74725" cy="67055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0" name="Freeform 1580"/>
          <p:cNvSpPr/>
          <p:nvPr/>
        </p:nvSpPr>
        <p:spPr>
          <a:xfrm>
            <a:off x="1243169" y="3086697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1" name="Freeform 1581"/>
          <p:cNvSpPr/>
          <p:nvPr/>
        </p:nvSpPr>
        <p:spPr>
          <a:xfrm>
            <a:off x="1314259" y="3087967"/>
            <a:ext cx="53826" cy="67055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2" name="Freeform 1582"/>
          <p:cNvSpPr/>
          <p:nvPr/>
        </p:nvSpPr>
        <p:spPr>
          <a:xfrm>
            <a:off x="1380218" y="3087967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3" name="Freeform 1583"/>
          <p:cNvSpPr/>
          <p:nvPr/>
        </p:nvSpPr>
        <p:spPr>
          <a:xfrm>
            <a:off x="1444567" y="3086697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4" name="Freeform 1584"/>
          <p:cNvSpPr/>
          <p:nvPr/>
        </p:nvSpPr>
        <p:spPr>
          <a:xfrm>
            <a:off x="1515451" y="3086697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5" name="Freeform 1585"/>
          <p:cNvSpPr/>
          <p:nvPr/>
        </p:nvSpPr>
        <p:spPr>
          <a:xfrm>
            <a:off x="1587690" y="3087967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6" name="Freeform 1586"/>
          <p:cNvSpPr/>
          <p:nvPr/>
        </p:nvSpPr>
        <p:spPr>
          <a:xfrm>
            <a:off x="1654211" y="3087967"/>
            <a:ext cx="57050" cy="67055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7" name="Freeform 1587"/>
          <p:cNvSpPr/>
          <p:nvPr/>
        </p:nvSpPr>
        <p:spPr>
          <a:xfrm>
            <a:off x="1757966" y="3086697"/>
            <a:ext cx="56554" cy="6959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8" name="Freeform 1588"/>
          <p:cNvSpPr/>
          <p:nvPr/>
        </p:nvSpPr>
        <p:spPr>
          <a:xfrm>
            <a:off x="1824883" y="3059773"/>
            <a:ext cx="79684" cy="121030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89" name="Freeform 1589"/>
          <p:cNvSpPr/>
          <p:nvPr/>
        </p:nvSpPr>
        <p:spPr>
          <a:xfrm>
            <a:off x="1916523" y="3086697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0" name="Freeform 1590"/>
          <p:cNvSpPr/>
          <p:nvPr/>
        </p:nvSpPr>
        <p:spPr>
          <a:xfrm>
            <a:off x="1986621" y="3086697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1" name="Freeform 1591"/>
          <p:cNvSpPr/>
          <p:nvPr/>
        </p:nvSpPr>
        <p:spPr>
          <a:xfrm>
            <a:off x="2058922" y="3087967"/>
            <a:ext cx="77515" cy="67055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2" name="Freeform 1592"/>
          <p:cNvSpPr/>
          <p:nvPr/>
        </p:nvSpPr>
        <p:spPr>
          <a:xfrm>
            <a:off x="1144976" y="3220047"/>
            <a:ext cx="52833" cy="69468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3" name="Freeform 1593"/>
          <p:cNvSpPr/>
          <p:nvPr/>
        </p:nvSpPr>
        <p:spPr>
          <a:xfrm>
            <a:off x="1210667" y="3220047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4" name="Freeform 1594"/>
          <p:cNvSpPr/>
          <p:nvPr/>
        </p:nvSpPr>
        <p:spPr>
          <a:xfrm>
            <a:off x="1282543" y="3221317"/>
            <a:ext cx="53826" cy="67055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5" name="Freeform 1595"/>
          <p:cNvSpPr/>
          <p:nvPr/>
        </p:nvSpPr>
        <p:spPr>
          <a:xfrm>
            <a:off x="1348936" y="3221317"/>
            <a:ext cx="57050" cy="67055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6" name="Freeform 1596"/>
          <p:cNvSpPr/>
          <p:nvPr/>
        </p:nvSpPr>
        <p:spPr>
          <a:xfrm>
            <a:off x="1418098" y="3221317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7" name="Freeform 1597"/>
          <p:cNvSpPr/>
          <p:nvPr/>
        </p:nvSpPr>
        <p:spPr>
          <a:xfrm>
            <a:off x="1479681" y="3220047"/>
            <a:ext cx="61081" cy="6959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8" name="Freeform 1598"/>
          <p:cNvSpPr/>
          <p:nvPr/>
        </p:nvSpPr>
        <p:spPr>
          <a:xfrm>
            <a:off x="1552132" y="3220047"/>
            <a:ext cx="56554" cy="6959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99" name="Freeform 1599"/>
          <p:cNvSpPr/>
          <p:nvPr/>
        </p:nvSpPr>
        <p:spPr>
          <a:xfrm>
            <a:off x="1615329" y="3221317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0" name="Freeform 1600"/>
          <p:cNvSpPr/>
          <p:nvPr/>
        </p:nvSpPr>
        <p:spPr>
          <a:xfrm>
            <a:off x="1683482" y="3221317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1" name="Rectangle 1601"/>
          <p:cNvSpPr/>
          <p:nvPr/>
        </p:nvSpPr>
        <p:spPr>
          <a:xfrm>
            <a:off x="6542471" y="1441555"/>
            <a:ext cx="1294590" cy="167639"/>
          </a:xfrm>
          <a:prstGeom prst="rect">
            <a:avLst/>
          </a:prstGeom>
        </p:spPr>
      </p:sp>
      <p:sp>
        <p:nvSpPr>
          <p:cNvPr id="1602" name="Freeform 1602"/>
          <p:cNvSpPr/>
          <p:nvPr/>
        </p:nvSpPr>
        <p:spPr>
          <a:xfrm>
            <a:off x="6553999" y="1474944"/>
            <a:ext cx="67599" cy="99326"/>
          </a:xfrm>
          <a:custGeom>
            <a:avLst/>
            <a:gdLst/>
            <a:ahLst/>
            <a:cxnLst/>
            <a:rect l="0" t="0" r="0" b="0"/>
            <a:pathLst>
              <a:path w="6145411" h="9029700">
                <a:moveTo>
                  <a:pt x="0" y="9029700"/>
                </a:moveTo>
                <a:lnTo>
                  <a:pt x="0" y="0"/>
                </a:lnTo>
                <a:lnTo>
                  <a:pt x="2951758" y="0"/>
                </a:lnTo>
                <a:cubicBezTo>
                  <a:pt x="3931642" y="0"/>
                  <a:pt x="4668573" y="202473"/>
                  <a:pt x="5162550" y="607418"/>
                </a:cubicBezTo>
                <a:cubicBezTo>
                  <a:pt x="5656527" y="1012230"/>
                  <a:pt x="5903516" y="1611247"/>
                  <a:pt x="5903516" y="2404468"/>
                </a:cubicBezTo>
                <a:cubicBezTo>
                  <a:pt x="5903516" y="2825817"/>
                  <a:pt x="5783593" y="3198681"/>
                  <a:pt x="5543748" y="3523060"/>
                </a:cubicBezTo>
                <a:cubicBezTo>
                  <a:pt x="5304036" y="3847307"/>
                  <a:pt x="4977474" y="4098264"/>
                  <a:pt x="4564062" y="4275932"/>
                </a:cubicBezTo>
                <a:cubicBezTo>
                  <a:pt x="5051954" y="4412457"/>
                  <a:pt x="5437452" y="4672079"/>
                  <a:pt x="5720556" y="5054799"/>
                </a:cubicBezTo>
                <a:cubicBezTo>
                  <a:pt x="6003792" y="5437519"/>
                  <a:pt x="6145411" y="5893660"/>
                  <a:pt x="6145411" y="6423224"/>
                </a:cubicBezTo>
                <a:cubicBezTo>
                  <a:pt x="6145411" y="7234172"/>
                  <a:pt x="5882878" y="7871355"/>
                  <a:pt x="5357812" y="8334772"/>
                </a:cubicBezTo>
                <a:cubicBezTo>
                  <a:pt x="4832879" y="8798058"/>
                  <a:pt x="4090855" y="9029700"/>
                  <a:pt x="3131741" y="9029700"/>
                </a:cubicBezTo>
                <a:close/>
                <a:moveTo>
                  <a:pt x="1190625" y="4803180"/>
                </a:moveTo>
                <a:lnTo>
                  <a:pt x="1190625" y="8056166"/>
                </a:lnTo>
                <a:lnTo>
                  <a:pt x="3156545" y="8056166"/>
                </a:lnTo>
                <a:cubicBezTo>
                  <a:pt x="3710451" y="8056166"/>
                  <a:pt x="4147608" y="7912365"/>
                  <a:pt x="4468019" y="7624763"/>
                </a:cubicBezTo>
                <a:cubicBezTo>
                  <a:pt x="4788429" y="7337029"/>
                  <a:pt x="4948634" y="6940749"/>
                  <a:pt x="4948634" y="6435924"/>
                </a:cubicBezTo>
                <a:cubicBezTo>
                  <a:pt x="4948634" y="5347428"/>
                  <a:pt x="4357423" y="4803180"/>
                  <a:pt x="3175000" y="4803180"/>
                </a:cubicBezTo>
                <a:close/>
                <a:moveTo>
                  <a:pt x="1190625" y="3848100"/>
                </a:moveTo>
                <a:lnTo>
                  <a:pt x="2989064" y="3848100"/>
                </a:lnTo>
                <a:cubicBezTo>
                  <a:pt x="3509896" y="3848100"/>
                  <a:pt x="3926351" y="3718058"/>
                  <a:pt x="4238427" y="3457972"/>
                </a:cubicBezTo>
                <a:cubicBezTo>
                  <a:pt x="4550635" y="3197755"/>
                  <a:pt x="4706739" y="2844602"/>
                  <a:pt x="4706739" y="2398515"/>
                </a:cubicBezTo>
                <a:cubicBezTo>
                  <a:pt x="4706739" y="1902950"/>
                  <a:pt x="4562012" y="1542654"/>
                  <a:pt x="4272558" y="1317625"/>
                </a:cubicBezTo>
                <a:cubicBezTo>
                  <a:pt x="3983236" y="1092465"/>
                  <a:pt x="3542969" y="979885"/>
                  <a:pt x="2951758" y="979885"/>
                </a:cubicBezTo>
                <a:lnTo>
                  <a:pt x="1190625" y="979885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3" name="Freeform 1603"/>
          <p:cNvSpPr/>
          <p:nvPr/>
        </p:nvSpPr>
        <p:spPr>
          <a:xfrm>
            <a:off x="6630890" y="1474944"/>
            <a:ext cx="76808" cy="99326"/>
          </a:xfrm>
          <a:custGeom>
            <a:avLst/>
            <a:gdLst/>
            <a:ahLst/>
            <a:cxnLst/>
            <a:rect l="0" t="0" r="0" b="0"/>
            <a:pathLst>
              <a:path w="6982619" h="9029700">
                <a:moveTo>
                  <a:pt x="6982619" y="979885"/>
                </a:moveTo>
                <a:lnTo>
                  <a:pt x="4080471" y="979885"/>
                </a:lnTo>
                <a:lnTo>
                  <a:pt x="4080471" y="9029700"/>
                </a:lnTo>
                <a:lnTo>
                  <a:pt x="2895997" y="9029700"/>
                </a:lnTo>
                <a:lnTo>
                  <a:pt x="2895997" y="979885"/>
                </a:lnTo>
                <a:lnTo>
                  <a:pt x="0" y="979885"/>
                </a:lnTo>
                <a:lnTo>
                  <a:pt x="0" y="0"/>
                </a:lnTo>
                <a:lnTo>
                  <a:pt x="6982619" y="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4" name="Freeform 1604"/>
          <p:cNvSpPr/>
          <p:nvPr/>
        </p:nvSpPr>
        <p:spPr>
          <a:xfrm>
            <a:off x="6715289" y="1473547"/>
            <a:ext cx="72170" cy="102120"/>
          </a:xfrm>
          <a:custGeom>
            <a:avLst/>
            <a:gdLst/>
            <a:ahLst/>
            <a:cxnLst/>
            <a:rect l="0" t="0" r="0" b="0"/>
            <a:pathLst>
              <a:path w="6560939" h="9283700">
                <a:moveTo>
                  <a:pt x="3212307" y="5131991"/>
                </a:moveTo>
                <a:cubicBezTo>
                  <a:pt x="2191147" y="4838304"/>
                  <a:pt x="1447999" y="4477412"/>
                  <a:pt x="982861" y="4049316"/>
                </a:cubicBezTo>
                <a:cubicBezTo>
                  <a:pt x="517856" y="3621088"/>
                  <a:pt x="285353" y="3092517"/>
                  <a:pt x="285353" y="2463602"/>
                </a:cubicBezTo>
                <a:cubicBezTo>
                  <a:pt x="285353" y="1752005"/>
                  <a:pt x="569516" y="1163505"/>
                  <a:pt x="1137841" y="698104"/>
                </a:cubicBezTo>
                <a:cubicBezTo>
                  <a:pt x="1706298" y="232702"/>
                  <a:pt x="2445279" y="0"/>
                  <a:pt x="3354785" y="0"/>
                </a:cubicBezTo>
                <a:cubicBezTo>
                  <a:pt x="3974968" y="0"/>
                  <a:pt x="4527947" y="119923"/>
                  <a:pt x="5013722" y="359768"/>
                </a:cubicBezTo>
                <a:cubicBezTo>
                  <a:pt x="5499497" y="599480"/>
                  <a:pt x="5875668" y="930210"/>
                  <a:pt x="6142236" y="1351955"/>
                </a:cubicBezTo>
                <a:cubicBezTo>
                  <a:pt x="6408936" y="1773569"/>
                  <a:pt x="6542286" y="2234473"/>
                  <a:pt x="6542286" y="2734668"/>
                </a:cubicBezTo>
                <a:lnTo>
                  <a:pt x="5345510" y="2734668"/>
                </a:lnTo>
                <a:cubicBezTo>
                  <a:pt x="5345510" y="2188965"/>
                  <a:pt x="5171877" y="1760075"/>
                  <a:pt x="4824611" y="1447999"/>
                </a:cubicBezTo>
                <a:cubicBezTo>
                  <a:pt x="4477346" y="1135923"/>
                  <a:pt x="3987403" y="979885"/>
                  <a:pt x="3354785" y="979885"/>
                </a:cubicBezTo>
                <a:cubicBezTo>
                  <a:pt x="2767807" y="979885"/>
                  <a:pt x="2309945" y="1109266"/>
                  <a:pt x="1981200" y="1368029"/>
                </a:cubicBezTo>
                <a:cubicBezTo>
                  <a:pt x="1652588" y="1626659"/>
                  <a:pt x="1488282" y="1985632"/>
                  <a:pt x="1488282" y="2444949"/>
                </a:cubicBezTo>
                <a:cubicBezTo>
                  <a:pt x="1488282" y="2813381"/>
                  <a:pt x="1644319" y="3124862"/>
                  <a:pt x="1956396" y="3379391"/>
                </a:cubicBezTo>
                <a:cubicBezTo>
                  <a:pt x="2268604" y="3633920"/>
                  <a:pt x="2799887" y="3866754"/>
                  <a:pt x="3550246" y="4077891"/>
                </a:cubicBezTo>
                <a:cubicBezTo>
                  <a:pt x="4300604" y="4288896"/>
                  <a:pt x="4887648" y="4521597"/>
                  <a:pt x="5311378" y="4775994"/>
                </a:cubicBezTo>
                <a:cubicBezTo>
                  <a:pt x="5735109" y="5030391"/>
                  <a:pt x="6049302" y="5327187"/>
                  <a:pt x="6253957" y="5666383"/>
                </a:cubicBezTo>
                <a:cubicBezTo>
                  <a:pt x="6458611" y="6005579"/>
                  <a:pt x="6560939" y="6404769"/>
                  <a:pt x="6560939" y="6863954"/>
                </a:cubicBezTo>
                <a:cubicBezTo>
                  <a:pt x="6560939" y="7596056"/>
                  <a:pt x="6275652" y="8182372"/>
                  <a:pt x="5705078" y="8622904"/>
                </a:cubicBezTo>
                <a:cubicBezTo>
                  <a:pt x="5134637" y="9063435"/>
                  <a:pt x="4371909" y="9283700"/>
                  <a:pt x="3416896" y="9283700"/>
                </a:cubicBezTo>
                <a:cubicBezTo>
                  <a:pt x="2796712" y="9283700"/>
                  <a:pt x="2217870" y="9164835"/>
                  <a:pt x="1680369" y="8927108"/>
                </a:cubicBezTo>
                <a:cubicBezTo>
                  <a:pt x="1143000" y="8689380"/>
                  <a:pt x="728597" y="8363810"/>
                  <a:pt x="437158" y="7950399"/>
                </a:cubicBezTo>
                <a:cubicBezTo>
                  <a:pt x="145720" y="7536988"/>
                  <a:pt x="0" y="7067749"/>
                  <a:pt x="0" y="6542683"/>
                </a:cubicBezTo>
                <a:lnTo>
                  <a:pt x="1196777" y="6542683"/>
                </a:lnTo>
                <a:cubicBezTo>
                  <a:pt x="1196777" y="7088386"/>
                  <a:pt x="1398323" y="7519393"/>
                  <a:pt x="1801416" y="7835702"/>
                </a:cubicBezTo>
                <a:cubicBezTo>
                  <a:pt x="2204509" y="8152011"/>
                  <a:pt x="2743002" y="8310166"/>
                  <a:pt x="3416896" y="8310166"/>
                </a:cubicBezTo>
                <a:cubicBezTo>
                  <a:pt x="4045281" y="8310166"/>
                  <a:pt x="4526889" y="8181909"/>
                  <a:pt x="4861719" y="7925396"/>
                </a:cubicBezTo>
                <a:cubicBezTo>
                  <a:pt x="5196549" y="7668750"/>
                  <a:pt x="5363964" y="7319037"/>
                  <a:pt x="5363964" y="6876257"/>
                </a:cubicBezTo>
                <a:cubicBezTo>
                  <a:pt x="5363964" y="6433477"/>
                  <a:pt x="5208918" y="6091040"/>
                  <a:pt x="4898827" y="5848946"/>
                </a:cubicBezTo>
                <a:cubicBezTo>
                  <a:pt x="4588867" y="5606852"/>
                  <a:pt x="4026694" y="5367867"/>
                  <a:pt x="3212307" y="513199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5" name="Freeform 1605"/>
          <p:cNvSpPr/>
          <p:nvPr/>
        </p:nvSpPr>
        <p:spPr>
          <a:xfrm>
            <a:off x="6838707" y="1474944"/>
            <a:ext cx="63098" cy="99326"/>
          </a:xfrm>
          <a:custGeom>
            <a:avLst/>
            <a:gdLst/>
            <a:ahLst/>
            <a:cxnLst/>
            <a:rect l="0" t="0" r="0" b="0"/>
            <a:pathLst>
              <a:path w="5736233" h="9029700">
                <a:moveTo>
                  <a:pt x="5103614" y="4859735"/>
                </a:moveTo>
                <a:lnTo>
                  <a:pt x="1190625" y="4859735"/>
                </a:lnTo>
                <a:lnTo>
                  <a:pt x="1190625" y="8056166"/>
                </a:lnTo>
                <a:lnTo>
                  <a:pt x="5736233" y="8056166"/>
                </a:lnTo>
                <a:lnTo>
                  <a:pt x="5736233" y="9029700"/>
                </a:lnTo>
                <a:lnTo>
                  <a:pt x="0" y="9029700"/>
                </a:lnTo>
                <a:lnTo>
                  <a:pt x="0" y="0"/>
                </a:lnTo>
                <a:lnTo>
                  <a:pt x="5674122" y="0"/>
                </a:lnTo>
                <a:lnTo>
                  <a:pt x="5674122" y="979885"/>
                </a:lnTo>
                <a:lnTo>
                  <a:pt x="1190625" y="979885"/>
                </a:lnTo>
                <a:lnTo>
                  <a:pt x="1190625" y="3886200"/>
                </a:lnTo>
                <a:lnTo>
                  <a:pt x="5103614" y="388620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6" name="Freeform 1606"/>
          <p:cNvSpPr/>
          <p:nvPr/>
        </p:nvSpPr>
        <p:spPr>
          <a:xfrm>
            <a:off x="6911753" y="1469495"/>
            <a:ext cx="62277" cy="106172"/>
          </a:xfrm>
          <a:custGeom>
            <a:avLst/>
            <a:gdLst/>
            <a:ahLst/>
            <a:cxnLst/>
            <a:rect l="0" t="0" r="0" b="0"/>
            <a:pathLst>
              <a:path w="5661621" h="9652000">
                <a:moveTo>
                  <a:pt x="0" y="6116440"/>
                </a:moveTo>
                <a:cubicBezTo>
                  <a:pt x="0" y="5086681"/>
                  <a:pt x="243880" y="4258601"/>
                  <a:pt x="731640" y="3632200"/>
                </a:cubicBezTo>
                <a:cubicBezTo>
                  <a:pt x="1219531" y="3005667"/>
                  <a:pt x="1858302" y="2692400"/>
                  <a:pt x="2647950" y="2692400"/>
                </a:cubicBezTo>
                <a:cubicBezTo>
                  <a:pt x="3433366" y="2692400"/>
                  <a:pt x="4055534" y="2961217"/>
                  <a:pt x="4514454" y="3498850"/>
                </a:cubicBezTo>
                <a:lnTo>
                  <a:pt x="4514454" y="0"/>
                </a:lnTo>
                <a:lnTo>
                  <a:pt x="5661621" y="0"/>
                </a:lnTo>
                <a:lnTo>
                  <a:pt x="5661621" y="9525000"/>
                </a:lnTo>
                <a:lnTo>
                  <a:pt x="4607521" y="9525000"/>
                </a:lnTo>
                <a:lnTo>
                  <a:pt x="4551561" y="8808443"/>
                </a:lnTo>
                <a:cubicBezTo>
                  <a:pt x="4092774" y="9370815"/>
                  <a:pt x="3454070" y="9652000"/>
                  <a:pt x="2635449" y="9652000"/>
                </a:cubicBezTo>
                <a:cubicBezTo>
                  <a:pt x="1858235" y="9652000"/>
                  <a:pt x="1224691" y="9333574"/>
                  <a:pt x="734815" y="8696722"/>
                </a:cubicBezTo>
                <a:cubicBezTo>
                  <a:pt x="244938" y="8059870"/>
                  <a:pt x="0" y="7228682"/>
                  <a:pt x="0" y="6203157"/>
                </a:cubicBezTo>
                <a:close/>
                <a:moveTo>
                  <a:pt x="1147168" y="6246615"/>
                </a:moveTo>
                <a:cubicBezTo>
                  <a:pt x="1147168" y="7007556"/>
                  <a:pt x="1304264" y="7603133"/>
                  <a:pt x="1618457" y="8033346"/>
                </a:cubicBezTo>
                <a:cubicBezTo>
                  <a:pt x="1932649" y="8463426"/>
                  <a:pt x="2366765" y="8678466"/>
                  <a:pt x="2920802" y="8678466"/>
                </a:cubicBezTo>
                <a:cubicBezTo>
                  <a:pt x="3648406" y="8678466"/>
                  <a:pt x="4179623" y="8351772"/>
                  <a:pt x="4514454" y="7698383"/>
                </a:cubicBezTo>
                <a:lnTo>
                  <a:pt x="4514454" y="4615061"/>
                </a:lnTo>
                <a:cubicBezTo>
                  <a:pt x="4171289" y="3982311"/>
                  <a:pt x="3644173" y="3665935"/>
                  <a:pt x="2933105" y="3665935"/>
                </a:cubicBezTo>
                <a:cubicBezTo>
                  <a:pt x="2370866" y="3665935"/>
                  <a:pt x="1932649" y="3883092"/>
                  <a:pt x="1618457" y="4317405"/>
                </a:cubicBezTo>
                <a:cubicBezTo>
                  <a:pt x="1304264" y="4751586"/>
                  <a:pt x="1147168" y="5394656"/>
                  <a:pt x="1147168" y="6246615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7" name="Freeform 1607"/>
          <p:cNvSpPr/>
          <p:nvPr/>
        </p:nvSpPr>
        <p:spPr>
          <a:xfrm>
            <a:off x="6993201" y="1500509"/>
            <a:ext cx="58117" cy="75158"/>
          </a:xfrm>
          <a:custGeom>
            <a:avLst/>
            <a:gdLst/>
            <a:ahLst/>
            <a:cxnLst/>
            <a:rect l="0" t="0" r="0" b="0"/>
            <a:pathLst>
              <a:path w="5283398" h="6832600">
                <a:moveTo>
                  <a:pt x="4167187" y="6045200"/>
                </a:moveTo>
                <a:cubicBezTo>
                  <a:pt x="3720703" y="6570134"/>
                  <a:pt x="3065462" y="6832600"/>
                  <a:pt x="2201466" y="6832600"/>
                </a:cubicBezTo>
                <a:cubicBezTo>
                  <a:pt x="1486297" y="6832600"/>
                  <a:pt x="941586" y="6624903"/>
                  <a:pt x="567333" y="6209507"/>
                </a:cubicBezTo>
                <a:cubicBezTo>
                  <a:pt x="193212" y="5794111"/>
                  <a:pt x="4101" y="5179219"/>
                  <a:pt x="0" y="4364832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4333875"/>
                </a:lnTo>
                <a:cubicBezTo>
                  <a:pt x="1147167" y="5350669"/>
                  <a:pt x="1560578" y="5859066"/>
                  <a:pt x="2387401" y="5859066"/>
                </a:cubicBezTo>
                <a:cubicBezTo>
                  <a:pt x="3263834" y="5859066"/>
                  <a:pt x="3846777" y="5532504"/>
                  <a:pt x="4136231" y="4879380"/>
                </a:cubicBezTo>
                <a:lnTo>
                  <a:pt x="4136231" y="0"/>
                </a:lnTo>
                <a:lnTo>
                  <a:pt x="5283398" y="0"/>
                </a:lnTo>
                <a:lnTo>
                  <a:pt x="5283398" y="6705600"/>
                </a:lnTo>
                <a:lnTo>
                  <a:pt x="4191992" y="670560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8" name="Freeform 1608"/>
          <p:cNvSpPr/>
          <p:nvPr/>
        </p:nvSpPr>
        <p:spPr>
          <a:xfrm>
            <a:off x="7067174" y="1499112"/>
            <a:ext cx="62210" cy="7655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09" name="Freeform 1609"/>
          <p:cNvSpPr/>
          <p:nvPr/>
        </p:nvSpPr>
        <p:spPr>
          <a:xfrm>
            <a:off x="7141396" y="1499112"/>
            <a:ext cx="60915" cy="7655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0" name="Freeform 1610"/>
          <p:cNvSpPr/>
          <p:nvPr/>
        </p:nvSpPr>
        <p:spPr>
          <a:xfrm>
            <a:off x="7210432" y="1482627"/>
            <a:ext cx="40179" cy="93040"/>
          </a:xfrm>
          <a:custGeom>
            <a:avLst/>
            <a:gdLst/>
            <a:ahLst/>
            <a:cxnLst/>
            <a:rect l="0" t="0" r="0" b="0"/>
            <a:pathLst>
              <a:path w="3652640" h="8458200">
                <a:moveTo>
                  <a:pt x="2368947" y="0"/>
                </a:moveTo>
                <a:lnTo>
                  <a:pt x="2368947" y="1625600"/>
                </a:lnTo>
                <a:lnTo>
                  <a:pt x="3621485" y="1625600"/>
                </a:lnTo>
                <a:lnTo>
                  <a:pt x="3621485" y="2512418"/>
                </a:lnTo>
                <a:lnTo>
                  <a:pt x="2368947" y="2512418"/>
                </a:lnTo>
                <a:lnTo>
                  <a:pt x="2368947" y="6672461"/>
                </a:lnTo>
                <a:cubicBezTo>
                  <a:pt x="2368947" y="6941014"/>
                  <a:pt x="2424708" y="7142494"/>
                  <a:pt x="2536230" y="7276902"/>
                </a:cubicBezTo>
                <a:cubicBezTo>
                  <a:pt x="2647884" y="7411178"/>
                  <a:pt x="2838120" y="7478316"/>
                  <a:pt x="3106936" y="7478316"/>
                </a:cubicBezTo>
                <a:cubicBezTo>
                  <a:pt x="3239228" y="7478316"/>
                  <a:pt x="3421129" y="7453511"/>
                  <a:pt x="3652640" y="7403902"/>
                </a:cubicBezTo>
                <a:lnTo>
                  <a:pt x="3652640" y="8334176"/>
                </a:lnTo>
                <a:cubicBezTo>
                  <a:pt x="3350750" y="8416858"/>
                  <a:pt x="3057195" y="8458200"/>
                  <a:pt x="2771974" y="8458200"/>
                </a:cubicBezTo>
                <a:cubicBezTo>
                  <a:pt x="2259344" y="8458200"/>
                  <a:pt x="1872787" y="8303221"/>
                  <a:pt x="1612305" y="7993261"/>
                </a:cubicBezTo>
                <a:cubicBezTo>
                  <a:pt x="1351955" y="7683170"/>
                  <a:pt x="1221780" y="7242969"/>
                  <a:pt x="1221780" y="6672660"/>
                </a:cubicBezTo>
                <a:lnTo>
                  <a:pt x="1221780" y="2512418"/>
                </a:lnTo>
                <a:lnTo>
                  <a:pt x="0" y="2512418"/>
                </a:lnTo>
                <a:lnTo>
                  <a:pt x="0" y="1625600"/>
                </a:lnTo>
                <a:lnTo>
                  <a:pt x="1221780" y="1625600"/>
                </a:lnTo>
                <a:lnTo>
                  <a:pt x="1221780" y="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1" name="Freeform 1611"/>
          <p:cNvSpPr/>
          <p:nvPr/>
        </p:nvSpPr>
        <p:spPr>
          <a:xfrm>
            <a:off x="7264978" y="1473614"/>
            <a:ext cx="14939" cy="100656"/>
          </a:xfrm>
          <a:custGeom>
            <a:avLst/>
            <a:gdLst/>
            <a:ahLst/>
            <a:cxnLst/>
            <a:rect l="0" t="0" r="0" b="0"/>
            <a:pathLst>
              <a:path w="1358106" h="9150548">
                <a:moveTo>
                  <a:pt x="1240235" y="9150548"/>
                </a:moveTo>
                <a:lnTo>
                  <a:pt x="93067" y="9150548"/>
                </a:lnTo>
                <a:lnTo>
                  <a:pt x="93067" y="2444948"/>
                </a:lnTo>
                <a:lnTo>
                  <a:pt x="1240235" y="2444948"/>
                </a:lnTo>
                <a:close/>
                <a:moveTo>
                  <a:pt x="0" y="663575"/>
                </a:moveTo>
                <a:cubicBezTo>
                  <a:pt x="0" y="477441"/>
                  <a:pt x="56819" y="320344"/>
                  <a:pt x="170458" y="192286"/>
                </a:cubicBezTo>
                <a:cubicBezTo>
                  <a:pt x="284229" y="64095"/>
                  <a:pt x="452702" y="0"/>
                  <a:pt x="675878" y="0"/>
                </a:cubicBezTo>
                <a:cubicBezTo>
                  <a:pt x="899187" y="0"/>
                  <a:pt x="1068718" y="64095"/>
                  <a:pt x="1184474" y="192286"/>
                </a:cubicBezTo>
                <a:cubicBezTo>
                  <a:pt x="1300229" y="320344"/>
                  <a:pt x="1358106" y="477441"/>
                  <a:pt x="1358106" y="663575"/>
                </a:cubicBezTo>
                <a:cubicBezTo>
                  <a:pt x="1358106" y="849577"/>
                  <a:pt x="1300229" y="1004623"/>
                  <a:pt x="1184474" y="1128713"/>
                </a:cubicBezTo>
                <a:cubicBezTo>
                  <a:pt x="1068718" y="1252670"/>
                  <a:pt x="899187" y="1314648"/>
                  <a:pt x="675878" y="1314648"/>
                </a:cubicBezTo>
                <a:cubicBezTo>
                  <a:pt x="452702" y="1314648"/>
                  <a:pt x="284229" y="1252670"/>
                  <a:pt x="170458" y="1128713"/>
                </a:cubicBezTo>
                <a:cubicBezTo>
                  <a:pt x="56819" y="1004623"/>
                  <a:pt x="0" y="849577"/>
                  <a:pt x="0" y="663575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2" name="Freeform 1612"/>
          <p:cNvSpPr/>
          <p:nvPr/>
        </p:nvSpPr>
        <p:spPr>
          <a:xfrm>
            <a:off x="7295376" y="1499112"/>
            <a:ext cx="67189" cy="7655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3" name="Freeform 1613"/>
          <p:cNvSpPr/>
          <p:nvPr/>
        </p:nvSpPr>
        <p:spPr>
          <a:xfrm>
            <a:off x="7378347" y="1499112"/>
            <a:ext cx="58049" cy="75158"/>
          </a:xfrm>
          <a:custGeom>
            <a:avLst/>
            <a:gdLst/>
            <a:ahLst/>
            <a:cxnLst/>
            <a:rect l="0" t="0" r="0" b="0"/>
            <a:pathLst>
              <a:path w="5277246" h="6832600">
                <a:moveTo>
                  <a:pt x="1085254" y="127000"/>
                </a:moveTo>
                <a:lnTo>
                  <a:pt x="1122362" y="967185"/>
                </a:lnTo>
                <a:cubicBezTo>
                  <a:pt x="1634992" y="322396"/>
                  <a:pt x="2304719" y="0"/>
                  <a:pt x="3131542" y="0"/>
                </a:cubicBezTo>
                <a:cubicBezTo>
                  <a:pt x="4549576" y="0"/>
                  <a:pt x="5264811" y="799836"/>
                  <a:pt x="5277246" y="2399507"/>
                </a:cubicBezTo>
                <a:lnTo>
                  <a:pt x="5277246" y="6832600"/>
                </a:lnTo>
                <a:lnTo>
                  <a:pt x="4130079" y="6832600"/>
                </a:lnTo>
                <a:lnTo>
                  <a:pt x="4130079" y="2393355"/>
                </a:lnTo>
                <a:cubicBezTo>
                  <a:pt x="4125846" y="1909697"/>
                  <a:pt x="4015184" y="1552179"/>
                  <a:pt x="3798093" y="1320800"/>
                </a:cubicBezTo>
                <a:cubicBezTo>
                  <a:pt x="3581135" y="1089290"/>
                  <a:pt x="3243196" y="973535"/>
                  <a:pt x="2784276" y="973535"/>
                </a:cubicBezTo>
                <a:cubicBezTo>
                  <a:pt x="2412272" y="973535"/>
                  <a:pt x="2085710" y="1072754"/>
                  <a:pt x="1804590" y="1271191"/>
                </a:cubicBezTo>
                <a:cubicBezTo>
                  <a:pt x="1523470" y="1469496"/>
                  <a:pt x="1304329" y="1729912"/>
                  <a:pt x="1147167" y="2052440"/>
                </a:cubicBezTo>
                <a:lnTo>
                  <a:pt x="1147167" y="6832600"/>
                </a:lnTo>
                <a:lnTo>
                  <a:pt x="0" y="6832600"/>
                </a:lnTo>
                <a:lnTo>
                  <a:pt x="0" y="12700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4" name="Freeform 1614"/>
          <p:cNvSpPr/>
          <p:nvPr/>
        </p:nvSpPr>
        <p:spPr>
          <a:xfrm>
            <a:off x="7489619" y="1462231"/>
            <a:ext cx="36016" cy="144170"/>
          </a:xfrm>
          <a:custGeom>
            <a:avLst/>
            <a:gdLst/>
            <a:ahLst/>
            <a:cxnLst/>
            <a:rect l="0" t="0" r="0" b="0"/>
            <a:pathLst>
              <a:path w="3274219" h="13106400">
                <a:moveTo>
                  <a:pt x="0" y="6525221"/>
                </a:moveTo>
                <a:cubicBezTo>
                  <a:pt x="0" y="5590712"/>
                  <a:pt x="125082" y="4693444"/>
                  <a:pt x="375245" y="3833416"/>
                </a:cubicBezTo>
                <a:cubicBezTo>
                  <a:pt x="625409" y="2973255"/>
                  <a:pt x="998537" y="2191677"/>
                  <a:pt x="1494631" y="1488679"/>
                </a:cubicBezTo>
                <a:cubicBezTo>
                  <a:pt x="1990725" y="785680"/>
                  <a:pt x="2505405" y="289455"/>
                  <a:pt x="3038673" y="0"/>
                </a:cubicBezTo>
                <a:lnTo>
                  <a:pt x="3274219" y="756643"/>
                </a:lnTo>
                <a:cubicBezTo>
                  <a:pt x="2670704" y="1219796"/>
                  <a:pt x="2175669" y="1926961"/>
                  <a:pt x="1789112" y="2878138"/>
                </a:cubicBezTo>
                <a:cubicBezTo>
                  <a:pt x="1402556" y="3829183"/>
                  <a:pt x="1190691" y="4893998"/>
                  <a:pt x="1153517" y="6072585"/>
                </a:cubicBezTo>
                <a:lnTo>
                  <a:pt x="1147365" y="6599635"/>
                </a:lnTo>
                <a:cubicBezTo>
                  <a:pt x="1147365" y="8195866"/>
                  <a:pt x="1438804" y="9581158"/>
                  <a:pt x="2021681" y="10755510"/>
                </a:cubicBezTo>
                <a:cubicBezTo>
                  <a:pt x="2373048" y="11458508"/>
                  <a:pt x="2790560" y="12008511"/>
                  <a:pt x="3274219" y="12405518"/>
                </a:cubicBezTo>
                <a:lnTo>
                  <a:pt x="3038673" y="13106400"/>
                </a:lnTo>
                <a:cubicBezTo>
                  <a:pt x="2488869" y="12800409"/>
                  <a:pt x="1963803" y="12287646"/>
                  <a:pt x="1463476" y="11568112"/>
                </a:cubicBezTo>
                <a:cubicBezTo>
                  <a:pt x="487825" y="10162117"/>
                  <a:pt x="0" y="8481153"/>
                  <a:pt x="0" y="652522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5" name="Freeform 1615"/>
          <p:cNvSpPr/>
          <p:nvPr/>
        </p:nvSpPr>
        <p:spPr>
          <a:xfrm>
            <a:off x="7539712" y="1474944"/>
            <a:ext cx="63098" cy="99326"/>
          </a:xfrm>
          <a:custGeom>
            <a:avLst/>
            <a:gdLst/>
            <a:ahLst/>
            <a:cxnLst/>
            <a:rect l="0" t="0" r="0" b="0"/>
            <a:pathLst>
              <a:path w="5736233" h="9029700">
                <a:moveTo>
                  <a:pt x="5103614" y="4859735"/>
                </a:moveTo>
                <a:lnTo>
                  <a:pt x="1190625" y="4859735"/>
                </a:lnTo>
                <a:lnTo>
                  <a:pt x="1190625" y="8056166"/>
                </a:lnTo>
                <a:lnTo>
                  <a:pt x="5736233" y="8056166"/>
                </a:lnTo>
                <a:lnTo>
                  <a:pt x="5736233" y="9029700"/>
                </a:lnTo>
                <a:lnTo>
                  <a:pt x="0" y="9029700"/>
                </a:lnTo>
                <a:lnTo>
                  <a:pt x="0" y="0"/>
                </a:lnTo>
                <a:lnTo>
                  <a:pt x="5674122" y="0"/>
                </a:lnTo>
                <a:lnTo>
                  <a:pt x="5674122" y="979885"/>
                </a:lnTo>
                <a:lnTo>
                  <a:pt x="1190625" y="979885"/>
                </a:lnTo>
                <a:lnTo>
                  <a:pt x="1190625" y="3886200"/>
                </a:lnTo>
                <a:lnTo>
                  <a:pt x="5103614" y="388620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6" name="Freeform 1616"/>
          <p:cNvSpPr/>
          <p:nvPr/>
        </p:nvSpPr>
        <p:spPr>
          <a:xfrm>
            <a:off x="7618995" y="1474944"/>
            <a:ext cx="72100" cy="99326"/>
          </a:xfrm>
          <a:custGeom>
            <a:avLst/>
            <a:gdLst/>
            <a:ahLst/>
            <a:cxnLst/>
            <a:rect l="0" t="0" r="0" b="0"/>
            <a:pathLst>
              <a:path w="6554589" h="9029700">
                <a:moveTo>
                  <a:pt x="3317677" y="5380435"/>
                </a:moveTo>
                <a:lnTo>
                  <a:pt x="1196777" y="5380435"/>
                </a:lnTo>
                <a:lnTo>
                  <a:pt x="1196777" y="9029700"/>
                </a:lnTo>
                <a:lnTo>
                  <a:pt x="0" y="9029700"/>
                </a:lnTo>
                <a:lnTo>
                  <a:pt x="0" y="0"/>
                </a:lnTo>
                <a:lnTo>
                  <a:pt x="2989064" y="0"/>
                </a:lnTo>
                <a:cubicBezTo>
                  <a:pt x="4005990" y="0"/>
                  <a:pt x="4788297" y="231710"/>
                  <a:pt x="5335985" y="695127"/>
                </a:cubicBezTo>
                <a:cubicBezTo>
                  <a:pt x="5883805" y="1158413"/>
                  <a:pt x="6157714" y="1832769"/>
                  <a:pt x="6157714" y="2718197"/>
                </a:cubicBezTo>
                <a:cubicBezTo>
                  <a:pt x="6157714" y="3280834"/>
                  <a:pt x="6005777" y="3771107"/>
                  <a:pt x="5701904" y="4189016"/>
                </a:cubicBezTo>
                <a:cubicBezTo>
                  <a:pt x="5398162" y="4606793"/>
                  <a:pt x="4975490" y="4919134"/>
                  <a:pt x="4433888" y="5126038"/>
                </a:cubicBezTo>
                <a:lnTo>
                  <a:pt x="6554589" y="8955286"/>
                </a:lnTo>
                <a:lnTo>
                  <a:pt x="6554589" y="9029700"/>
                </a:lnTo>
                <a:lnTo>
                  <a:pt x="5277247" y="9029700"/>
                </a:lnTo>
                <a:close/>
                <a:moveTo>
                  <a:pt x="1196777" y="4406900"/>
                </a:moveTo>
                <a:lnTo>
                  <a:pt x="3026172" y="4406900"/>
                </a:lnTo>
                <a:cubicBezTo>
                  <a:pt x="3617384" y="4406900"/>
                  <a:pt x="4087614" y="4253773"/>
                  <a:pt x="4436864" y="3947518"/>
                </a:cubicBezTo>
                <a:cubicBezTo>
                  <a:pt x="4786247" y="3641262"/>
                  <a:pt x="4960938" y="3231489"/>
                  <a:pt x="4960938" y="2718197"/>
                </a:cubicBezTo>
                <a:cubicBezTo>
                  <a:pt x="4960938" y="2159530"/>
                  <a:pt x="4794515" y="1731169"/>
                  <a:pt x="4461669" y="1433116"/>
                </a:cubicBezTo>
                <a:cubicBezTo>
                  <a:pt x="4128956" y="1135063"/>
                  <a:pt x="3648406" y="983986"/>
                  <a:pt x="3020021" y="979885"/>
                </a:cubicBezTo>
                <a:lnTo>
                  <a:pt x="1196777" y="979885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7" name="Freeform 1617"/>
          <p:cNvSpPr/>
          <p:nvPr/>
        </p:nvSpPr>
        <p:spPr>
          <a:xfrm>
            <a:off x="7701773" y="1473547"/>
            <a:ext cx="76533" cy="102120"/>
          </a:xfrm>
          <a:custGeom>
            <a:avLst/>
            <a:gdLst/>
            <a:ahLst/>
            <a:cxnLst/>
            <a:rect l="0" t="0" r="0" b="0"/>
            <a:pathLst>
              <a:path w="6957615" h="9283700">
                <a:moveTo>
                  <a:pt x="6957615" y="7974410"/>
                </a:moveTo>
                <a:cubicBezTo>
                  <a:pt x="6651757" y="8412957"/>
                  <a:pt x="6224918" y="8740842"/>
                  <a:pt x="5677098" y="8958065"/>
                </a:cubicBezTo>
                <a:cubicBezTo>
                  <a:pt x="5129278" y="9175154"/>
                  <a:pt x="4491566" y="9283700"/>
                  <a:pt x="3763962" y="9283700"/>
                </a:cubicBezTo>
                <a:cubicBezTo>
                  <a:pt x="3028156" y="9283700"/>
                  <a:pt x="2374966" y="9110994"/>
                  <a:pt x="1804392" y="8765580"/>
                </a:cubicBezTo>
                <a:cubicBezTo>
                  <a:pt x="1233950" y="8420034"/>
                  <a:pt x="792625" y="7928703"/>
                  <a:pt x="480417" y="7291586"/>
                </a:cubicBezTo>
                <a:cubicBezTo>
                  <a:pt x="168341" y="6654470"/>
                  <a:pt x="8202" y="5916018"/>
                  <a:pt x="0" y="5076230"/>
                </a:cubicBezTo>
                <a:lnTo>
                  <a:pt x="0" y="4288036"/>
                </a:lnTo>
                <a:cubicBezTo>
                  <a:pt x="0" y="2927020"/>
                  <a:pt x="317235" y="1872126"/>
                  <a:pt x="951706" y="1123355"/>
                </a:cubicBezTo>
                <a:cubicBezTo>
                  <a:pt x="1586309" y="374452"/>
                  <a:pt x="2478286" y="0"/>
                  <a:pt x="3627636" y="0"/>
                </a:cubicBezTo>
                <a:cubicBezTo>
                  <a:pt x="4570214" y="0"/>
                  <a:pt x="5328774" y="240838"/>
                  <a:pt x="5903317" y="722511"/>
                </a:cubicBezTo>
                <a:cubicBezTo>
                  <a:pt x="6477992" y="1204053"/>
                  <a:pt x="6829425" y="1887207"/>
                  <a:pt x="6957615" y="2771974"/>
                </a:cubicBezTo>
                <a:lnTo>
                  <a:pt x="5766990" y="2771974"/>
                </a:lnTo>
                <a:cubicBezTo>
                  <a:pt x="5543814" y="1577248"/>
                  <a:pt x="4832747" y="979885"/>
                  <a:pt x="3633787" y="979885"/>
                </a:cubicBezTo>
                <a:cubicBezTo>
                  <a:pt x="2835936" y="979885"/>
                  <a:pt x="2231297" y="1260211"/>
                  <a:pt x="1819870" y="1820863"/>
                </a:cubicBezTo>
                <a:cubicBezTo>
                  <a:pt x="1408575" y="2381515"/>
                  <a:pt x="1200877" y="3193587"/>
                  <a:pt x="1196776" y="4257080"/>
                </a:cubicBezTo>
                <a:lnTo>
                  <a:pt x="1196776" y="4995665"/>
                </a:lnTo>
                <a:cubicBezTo>
                  <a:pt x="1196776" y="6009415"/>
                  <a:pt x="1428287" y="6815270"/>
                  <a:pt x="1891308" y="7413229"/>
                </a:cubicBezTo>
                <a:cubicBezTo>
                  <a:pt x="2354328" y="8011187"/>
                  <a:pt x="2980663" y="8310166"/>
                  <a:pt x="3770312" y="8310166"/>
                </a:cubicBezTo>
                <a:cubicBezTo>
                  <a:pt x="4216797" y="8310166"/>
                  <a:pt x="4607454" y="8260491"/>
                  <a:pt x="4942284" y="8161140"/>
                </a:cubicBezTo>
                <a:cubicBezTo>
                  <a:pt x="5277114" y="8061789"/>
                  <a:pt x="5554067" y="7894175"/>
                  <a:pt x="5773142" y="7658299"/>
                </a:cubicBezTo>
                <a:lnTo>
                  <a:pt x="5773142" y="5628283"/>
                </a:lnTo>
                <a:lnTo>
                  <a:pt x="3683397" y="5628283"/>
                </a:lnTo>
                <a:lnTo>
                  <a:pt x="3683397" y="4660900"/>
                </a:lnTo>
                <a:lnTo>
                  <a:pt x="6957615" y="466090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8" name="Freeform 1618"/>
          <p:cNvSpPr/>
          <p:nvPr/>
        </p:nvSpPr>
        <p:spPr>
          <a:xfrm>
            <a:off x="7791179" y="1462231"/>
            <a:ext cx="36084" cy="144170"/>
          </a:xfrm>
          <a:custGeom>
            <a:avLst/>
            <a:gdLst/>
            <a:ahLst/>
            <a:cxnLst/>
            <a:rect l="0" t="0" r="0" b="0"/>
            <a:pathLst>
              <a:path w="3280371" h="13106400">
                <a:moveTo>
                  <a:pt x="3280371" y="6587332"/>
                </a:moveTo>
                <a:cubicBezTo>
                  <a:pt x="3280371" y="7509405"/>
                  <a:pt x="3159456" y="8393311"/>
                  <a:pt x="2917627" y="9239052"/>
                </a:cubicBezTo>
                <a:cubicBezTo>
                  <a:pt x="2675798" y="10084660"/>
                  <a:pt x="2305778" y="10865114"/>
                  <a:pt x="1807567" y="11580415"/>
                </a:cubicBezTo>
                <a:cubicBezTo>
                  <a:pt x="1309357" y="12295848"/>
                  <a:pt x="787400" y="12804510"/>
                  <a:pt x="241697" y="13106400"/>
                </a:cubicBezTo>
                <a:lnTo>
                  <a:pt x="0" y="12405518"/>
                </a:lnTo>
                <a:cubicBezTo>
                  <a:pt x="636588" y="11917494"/>
                  <a:pt x="1148160" y="11159728"/>
                  <a:pt x="1534716" y="10132219"/>
                </a:cubicBezTo>
                <a:cubicBezTo>
                  <a:pt x="1921272" y="9104578"/>
                  <a:pt x="2118651" y="7964290"/>
                  <a:pt x="2126853" y="6711355"/>
                </a:cubicBezTo>
                <a:lnTo>
                  <a:pt x="2126853" y="6512918"/>
                </a:lnTo>
                <a:cubicBezTo>
                  <a:pt x="2126853" y="5644555"/>
                  <a:pt x="2035903" y="4837179"/>
                  <a:pt x="1854002" y="4090790"/>
                </a:cubicBezTo>
                <a:cubicBezTo>
                  <a:pt x="1672101" y="3344400"/>
                  <a:pt x="1418894" y="2675533"/>
                  <a:pt x="1094383" y="2084190"/>
                </a:cubicBezTo>
                <a:cubicBezTo>
                  <a:pt x="769872" y="1492846"/>
                  <a:pt x="405077" y="1031743"/>
                  <a:pt x="0" y="700882"/>
                </a:cubicBezTo>
                <a:lnTo>
                  <a:pt x="241697" y="0"/>
                </a:lnTo>
                <a:cubicBezTo>
                  <a:pt x="787400" y="301890"/>
                  <a:pt x="1307240" y="806385"/>
                  <a:pt x="1801217" y="1513483"/>
                </a:cubicBezTo>
                <a:cubicBezTo>
                  <a:pt x="2295327" y="2220582"/>
                  <a:pt x="2665347" y="3000045"/>
                  <a:pt x="2911277" y="3851871"/>
                </a:cubicBezTo>
                <a:cubicBezTo>
                  <a:pt x="3157339" y="4703697"/>
                  <a:pt x="3280371" y="5615517"/>
                  <a:pt x="3280371" y="6587332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9" name="Rectangle 1619"/>
          <p:cNvSpPr/>
          <p:nvPr/>
        </p:nvSpPr>
        <p:spPr>
          <a:xfrm>
            <a:off x="5931088" y="2287963"/>
            <a:ext cx="707974" cy="270510"/>
          </a:xfrm>
          <a:prstGeom prst="rect">
            <a:avLst/>
          </a:prstGeom>
        </p:spPr>
      </p:sp>
      <p:sp>
        <p:nvSpPr>
          <p:cNvPr id="1620" name="Freeform 1620"/>
          <p:cNvSpPr/>
          <p:nvPr/>
        </p:nvSpPr>
        <p:spPr>
          <a:xfrm>
            <a:off x="5932651" y="2315280"/>
            <a:ext cx="71492" cy="81267"/>
          </a:xfrm>
          <a:custGeom>
            <a:avLst/>
            <a:gdLst/>
            <a:ahLst/>
            <a:cxnLst/>
            <a:rect l="0" t="0" r="0" b="0"/>
            <a:pathLst>
              <a:path w="7943652" h="9029700">
                <a:moveTo>
                  <a:pt x="5860058" y="6669485"/>
                </a:moveTo>
                <a:lnTo>
                  <a:pt x="2077443" y="6669485"/>
                </a:lnTo>
                <a:lnTo>
                  <a:pt x="1227932" y="9029700"/>
                </a:lnTo>
                <a:lnTo>
                  <a:pt x="0" y="9029700"/>
                </a:lnTo>
                <a:lnTo>
                  <a:pt x="3447852" y="0"/>
                </a:lnTo>
                <a:lnTo>
                  <a:pt x="4489649" y="0"/>
                </a:lnTo>
                <a:lnTo>
                  <a:pt x="7943652" y="9029700"/>
                </a:lnTo>
                <a:lnTo>
                  <a:pt x="6722071" y="9029700"/>
                </a:lnTo>
                <a:close/>
                <a:moveTo>
                  <a:pt x="2437011" y="5689600"/>
                </a:moveTo>
                <a:lnTo>
                  <a:pt x="5506641" y="5689600"/>
                </a:lnTo>
                <a:lnTo>
                  <a:pt x="3968750" y="1469827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1" name="Freeform 1621"/>
          <p:cNvSpPr/>
          <p:nvPr/>
        </p:nvSpPr>
        <p:spPr>
          <a:xfrm>
            <a:off x="6004872" y="2336197"/>
            <a:ext cx="50452" cy="60350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2" name="Freeform 1622"/>
          <p:cNvSpPr/>
          <p:nvPr/>
        </p:nvSpPr>
        <p:spPr>
          <a:xfrm>
            <a:off x="6055502" y="2336197"/>
            <a:ext cx="54862" cy="60350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3" name="Freeform 1623"/>
          <p:cNvSpPr/>
          <p:nvPr/>
        </p:nvSpPr>
        <p:spPr>
          <a:xfrm>
            <a:off x="6125194" y="2335054"/>
            <a:ext cx="49840" cy="6263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4" name="Freeform 1624"/>
          <p:cNvSpPr/>
          <p:nvPr/>
        </p:nvSpPr>
        <p:spPr>
          <a:xfrm>
            <a:off x="6186311" y="2335054"/>
            <a:ext cx="50899" cy="6263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5" name="Freeform 1625"/>
          <p:cNvSpPr/>
          <p:nvPr/>
        </p:nvSpPr>
        <p:spPr>
          <a:xfrm>
            <a:off x="6277894" y="2336197"/>
            <a:ext cx="48443" cy="60350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6" name="Freeform 1626"/>
          <p:cNvSpPr/>
          <p:nvPr/>
        </p:nvSpPr>
        <p:spPr>
          <a:xfrm>
            <a:off x="6340103" y="2335054"/>
            <a:ext cx="54972" cy="6263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7" name="Freeform 1627"/>
          <p:cNvSpPr/>
          <p:nvPr/>
        </p:nvSpPr>
        <p:spPr>
          <a:xfrm>
            <a:off x="6408937" y="2336197"/>
            <a:ext cx="50675" cy="60350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8" name="Freeform 1628"/>
          <p:cNvSpPr/>
          <p:nvPr/>
        </p:nvSpPr>
        <p:spPr>
          <a:xfrm>
            <a:off x="6474202" y="2336197"/>
            <a:ext cx="69764" cy="60350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29" name="Freeform 1629"/>
          <p:cNvSpPr/>
          <p:nvPr/>
        </p:nvSpPr>
        <p:spPr>
          <a:xfrm>
            <a:off x="6556425" y="2336197"/>
            <a:ext cx="51849" cy="60350"/>
          </a:xfrm>
          <a:custGeom>
            <a:avLst/>
            <a:gdLst/>
            <a:ahLst/>
            <a:cxnLst/>
            <a:rect l="0" t="0" r="0" b="0"/>
            <a:pathLst>
              <a:path w="5761037" h="6705600">
                <a:moveTo>
                  <a:pt x="2865041" y="2447925"/>
                </a:moveTo>
                <a:lnTo>
                  <a:pt x="4353322" y="0"/>
                </a:lnTo>
                <a:lnTo>
                  <a:pt x="5692775" y="0"/>
                </a:lnTo>
                <a:lnTo>
                  <a:pt x="3497461" y="3315494"/>
                </a:lnTo>
                <a:lnTo>
                  <a:pt x="5761037" y="6705600"/>
                </a:lnTo>
                <a:lnTo>
                  <a:pt x="4433887" y="6705600"/>
                </a:lnTo>
                <a:lnTo>
                  <a:pt x="2883694" y="4195565"/>
                </a:lnTo>
                <a:lnTo>
                  <a:pt x="1333302" y="6705600"/>
                </a:lnTo>
                <a:lnTo>
                  <a:pt x="0" y="6705600"/>
                </a:lnTo>
                <a:lnTo>
                  <a:pt x="2263577" y="3315494"/>
                </a:lnTo>
                <a:lnTo>
                  <a:pt x="68262" y="0"/>
                </a:lnTo>
                <a:lnTo>
                  <a:pt x="1395412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0" name="Freeform 1630"/>
          <p:cNvSpPr/>
          <p:nvPr/>
        </p:nvSpPr>
        <p:spPr>
          <a:xfrm>
            <a:off x="5984694" y="2469547"/>
            <a:ext cx="48498" cy="60350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1" name="Freeform 1631"/>
          <p:cNvSpPr/>
          <p:nvPr/>
        </p:nvSpPr>
        <p:spPr>
          <a:xfrm>
            <a:off x="6049752" y="2468404"/>
            <a:ext cx="51011" cy="8469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2" name="Freeform 1632"/>
          <p:cNvSpPr/>
          <p:nvPr/>
        </p:nvSpPr>
        <p:spPr>
          <a:xfrm>
            <a:off x="6111140" y="2468404"/>
            <a:ext cx="54972" cy="6263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3" name="Freeform 1633"/>
          <p:cNvSpPr/>
          <p:nvPr/>
        </p:nvSpPr>
        <p:spPr>
          <a:xfrm>
            <a:off x="6176793" y="2444173"/>
            <a:ext cx="71716" cy="108927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4" name="Freeform 1634"/>
          <p:cNvSpPr/>
          <p:nvPr/>
        </p:nvSpPr>
        <p:spPr>
          <a:xfrm>
            <a:off x="6259269" y="2468404"/>
            <a:ext cx="51234" cy="6263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5" name="Freeform 1635"/>
          <p:cNvSpPr/>
          <p:nvPr/>
        </p:nvSpPr>
        <p:spPr>
          <a:xfrm>
            <a:off x="6319678" y="2468404"/>
            <a:ext cx="50899" cy="6263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6" name="Freeform 1636"/>
          <p:cNvSpPr/>
          <p:nvPr/>
        </p:nvSpPr>
        <p:spPr>
          <a:xfrm>
            <a:off x="6379457" y="2468404"/>
            <a:ext cx="50899" cy="6263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7" name="Freeform 1637"/>
          <p:cNvSpPr/>
          <p:nvPr/>
        </p:nvSpPr>
        <p:spPr>
          <a:xfrm>
            <a:off x="6442808" y="2469547"/>
            <a:ext cx="48498" cy="60350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8" name="Freeform 1638"/>
          <p:cNvSpPr/>
          <p:nvPr/>
        </p:nvSpPr>
        <p:spPr>
          <a:xfrm>
            <a:off x="6508760" y="2447487"/>
            <a:ext cx="48498" cy="82410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39" name="Rectangle 1639"/>
          <p:cNvSpPr/>
          <p:nvPr/>
        </p:nvSpPr>
        <p:spPr>
          <a:xfrm>
            <a:off x="6751103" y="3452163"/>
            <a:ext cx="907770" cy="403860"/>
          </a:xfrm>
          <a:prstGeom prst="rect">
            <a:avLst/>
          </a:prstGeom>
        </p:spPr>
      </p:sp>
      <p:sp>
        <p:nvSpPr>
          <p:cNvPr id="1640" name="Freeform 1640"/>
          <p:cNvSpPr/>
          <p:nvPr/>
        </p:nvSpPr>
        <p:spPr>
          <a:xfrm>
            <a:off x="6946216" y="3479480"/>
            <a:ext cx="95547" cy="81267"/>
          </a:xfrm>
          <a:custGeom>
            <a:avLst/>
            <a:gdLst/>
            <a:ahLst/>
            <a:cxnLst/>
            <a:rect l="0" t="0" r="0" b="0"/>
            <a:pathLst>
              <a:path w="10616407" h="9029700">
                <a:moveTo>
                  <a:pt x="2616994" y="6183115"/>
                </a:moveTo>
                <a:lnTo>
                  <a:pt x="2790627" y="7373938"/>
                </a:lnTo>
                <a:lnTo>
                  <a:pt x="3044825" y="6300986"/>
                </a:lnTo>
                <a:lnTo>
                  <a:pt x="4830763" y="0"/>
                </a:lnTo>
                <a:lnTo>
                  <a:pt x="5835452" y="0"/>
                </a:lnTo>
                <a:lnTo>
                  <a:pt x="7577932" y="6300986"/>
                </a:lnTo>
                <a:lnTo>
                  <a:pt x="7825979" y="7392393"/>
                </a:lnTo>
                <a:lnTo>
                  <a:pt x="8018264" y="6176963"/>
                </a:lnTo>
                <a:lnTo>
                  <a:pt x="9419630" y="0"/>
                </a:lnTo>
                <a:lnTo>
                  <a:pt x="10616407" y="0"/>
                </a:lnTo>
                <a:lnTo>
                  <a:pt x="8427443" y="9029700"/>
                </a:lnTo>
                <a:lnTo>
                  <a:pt x="7342188" y="9029700"/>
                </a:lnTo>
                <a:lnTo>
                  <a:pt x="5481836" y="2449711"/>
                </a:lnTo>
                <a:lnTo>
                  <a:pt x="5339358" y="1761332"/>
                </a:lnTo>
                <a:lnTo>
                  <a:pt x="5196682" y="2449711"/>
                </a:lnTo>
                <a:lnTo>
                  <a:pt x="3268068" y="9029700"/>
                </a:lnTo>
                <a:lnTo>
                  <a:pt x="2182813" y="9029700"/>
                </a:lnTo>
                <a:lnTo>
                  <a:pt x="0" y="0"/>
                </a:lnTo>
                <a:lnTo>
                  <a:pt x="119062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1" name="Freeform 1641"/>
          <p:cNvSpPr/>
          <p:nvPr/>
        </p:nvSpPr>
        <p:spPr>
          <a:xfrm>
            <a:off x="7047672" y="3499254"/>
            <a:ext cx="51234" cy="6263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2" name="Freeform 1642"/>
          <p:cNvSpPr/>
          <p:nvPr/>
        </p:nvSpPr>
        <p:spPr>
          <a:xfrm>
            <a:off x="7110760" y="3475023"/>
            <a:ext cx="51122" cy="86867"/>
          </a:xfrm>
          <a:custGeom>
            <a:avLst/>
            <a:gdLst/>
            <a:ahLst/>
            <a:cxnLst/>
            <a:rect l="0" t="0" r="0" b="0"/>
            <a:pathLst>
              <a:path w="5680273" h="9652000">
                <a:moveTo>
                  <a:pt x="5680273" y="6246615"/>
                </a:moveTo>
                <a:cubicBezTo>
                  <a:pt x="5680273" y="7272140"/>
                  <a:pt x="5444596" y="8096118"/>
                  <a:pt x="4973240" y="8718550"/>
                </a:cubicBezTo>
                <a:cubicBezTo>
                  <a:pt x="4502017" y="9340850"/>
                  <a:pt x="3869531" y="9652000"/>
                  <a:pt x="3075781" y="9652000"/>
                </a:cubicBezTo>
                <a:cubicBezTo>
                  <a:pt x="2228321" y="9652000"/>
                  <a:pt x="1573080" y="9352161"/>
                  <a:pt x="1110059" y="8752483"/>
                </a:cubicBezTo>
                <a:lnTo>
                  <a:pt x="1054298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167" y="0"/>
                </a:lnTo>
                <a:lnTo>
                  <a:pt x="1147167" y="3554611"/>
                </a:lnTo>
                <a:cubicBezTo>
                  <a:pt x="1610188" y="2979804"/>
                  <a:pt x="2248892" y="2692400"/>
                  <a:pt x="3063279" y="2692400"/>
                </a:cubicBezTo>
                <a:cubicBezTo>
                  <a:pt x="3877799" y="2692400"/>
                  <a:pt x="4517561" y="3000508"/>
                  <a:pt x="4982567" y="3616722"/>
                </a:cubicBezTo>
                <a:cubicBezTo>
                  <a:pt x="5447704" y="4232805"/>
                  <a:pt x="5680273" y="5076362"/>
                  <a:pt x="5680273" y="6147396"/>
                </a:cubicBezTo>
                <a:close/>
                <a:moveTo>
                  <a:pt x="4533106" y="6116440"/>
                </a:moveTo>
                <a:cubicBezTo>
                  <a:pt x="4533106" y="5334728"/>
                  <a:pt x="4382161" y="4730883"/>
                  <a:pt x="4080271" y="4304904"/>
                </a:cubicBezTo>
                <a:cubicBezTo>
                  <a:pt x="3778514" y="3878925"/>
                  <a:pt x="3344465" y="3665935"/>
                  <a:pt x="2778125" y="3665935"/>
                </a:cubicBezTo>
                <a:cubicBezTo>
                  <a:pt x="2021548" y="3665935"/>
                  <a:pt x="1477896" y="4017500"/>
                  <a:pt x="1147167" y="4720630"/>
                </a:cubicBezTo>
                <a:lnTo>
                  <a:pt x="1147167" y="7623771"/>
                </a:lnTo>
                <a:cubicBezTo>
                  <a:pt x="1498666" y="8326901"/>
                  <a:pt x="2046486" y="8678466"/>
                  <a:pt x="2790626" y="8678466"/>
                </a:cubicBezTo>
                <a:cubicBezTo>
                  <a:pt x="3340430" y="8678466"/>
                  <a:pt x="3768261" y="8465477"/>
                  <a:pt x="4074120" y="8039497"/>
                </a:cubicBezTo>
                <a:cubicBezTo>
                  <a:pt x="4380111" y="7613518"/>
                  <a:pt x="4533106" y="6972499"/>
                  <a:pt x="4533106" y="611644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3" name="Freeform 1643"/>
          <p:cNvSpPr/>
          <p:nvPr/>
        </p:nvSpPr>
        <p:spPr>
          <a:xfrm>
            <a:off x="7169134" y="3522000"/>
            <a:ext cx="27235" cy="8427"/>
          </a:xfrm>
          <a:custGeom>
            <a:avLst/>
            <a:gdLst/>
            <a:ahLst/>
            <a:cxnLst/>
            <a:rect l="0" t="0" r="0" b="0"/>
            <a:pathLst>
              <a:path w="3026172" h="936427">
                <a:moveTo>
                  <a:pt x="3026172" y="936427"/>
                </a:moveTo>
                <a:lnTo>
                  <a:pt x="0" y="936427"/>
                </a:lnTo>
                <a:lnTo>
                  <a:pt x="0" y="0"/>
                </a:lnTo>
                <a:lnTo>
                  <a:pt x="3026172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4" name="Freeform 1644"/>
          <p:cNvSpPr/>
          <p:nvPr/>
        </p:nvSpPr>
        <p:spPr>
          <a:xfrm>
            <a:off x="7203636" y="3499254"/>
            <a:ext cx="50899" cy="6263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5" name="Freeform 1645"/>
          <p:cNvSpPr/>
          <p:nvPr/>
        </p:nvSpPr>
        <p:spPr>
          <a:xfrm>
            <a:off x="7264363" y="3499254"/>
            <a:ext cx="49840" cy="6263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6" name="Freeform 1646"/>
          <p:cNvSpPr/>
          <p:nvPr/>
        </p:nvSpPr>
        <p:spPr>
          <a:xfrm>
            <a:off x="7329051" y="3478337"/>
            <a:ext cx="48498" cy="82410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7" name="Freeform 1647"/>
          <p:cNvSpPr/>
          <p:nvPr/>
        </p:nvSpPr>
        <p:spPr>
          <a:xfrm>
            <a:off x="7388528" y="3500397"/>
            <a:ext cx="50452" cy="60350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8" name="Freeform 1648"/>
          <p:cNvSpPr/>
          <p:nvPr/>
        </p:nvSpPr>
        <p:spPr>
          <a:xfrm>
            <a:off x="6759809" y="3633747"/>
            <a:ext cx="48498" cy="60350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49" name="Freeform 1649"/>
          <p:cNvSpPr/>
          <p:nvPr/>
        </p:nvSpPr>
        <p:spPr>
          <a:xfrm>
            <a:off x="6822133" y="3632604"/>
            <a:ext cx="54972" cy="6263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0" name="Freeform 1650"/>
          <p:cNvSpPr/>
          <p:nvPr/>
        </p:nvSpPr>
        <p:spPr>
          <a:xfrm>
            <a:off x="6880773" y="3633747"/>
            <a:ext cx="62786" cy="78066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1" name="Freeform 1651"/>
          <p:cNvSpPr/>
          <p:nvPr/>
        </p:nvSpPr>
        <p:spPr>
          <a:xfrm>
            <a:off x="6948133" y="3612830"/>
            <a:ext cx="42749" cy="88239"/>
          </a:xfrm>
          <a:custGeom>
            <a:avLst/>
            <a:gdLst/>
            <a:ahLst/>
            <a:cxnLst/>
            <a:rect l="0" t="0" r="0" b="0"/>
            <a:pathLst>
              <a:path w="4749998" h="9804400">
                <a:moveTo>
                  <a:pt x="985837" y="9804400"/>
                </a:moveTo>
                <a:lnTo>
                  <a:pt x="0" y="9804400"/>
                </a:lnTo>
                <a:lnTo>
                  <a:pt x="3770312" y="0"/>
                </a:lnTo>
                <a:lnTo>
                  <a:pt x="474999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2" name="Freeform 1652"/>
          <p:cNvSpPr/>
          <p:nvPr/>
        </p:nvSpPr>
        <p:spPr>
          <a:xfrm>
            <a:off x="7002981" y="3633747"/>
            <a:ext cx="67253" cy="60350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3" name="Freeform 1653"/>
          <p:cNvSpPr/>
          <p:nvPr/>
        </p:nvSpPr>
        <p:spPr>
          <a:xfrm>
            <a:off x="7083995" y="3632604"/>
            <a:ext cx="54972" cy="6263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4" name="Freeform 1654"/>
          <p:cNvSpPr/>
          <p:nvPr/>
        </p:nvSpPr>
        <p:spPr>
          <a:xfrm>
            <a:off x="7142634" y="3633747"/>
            <a:ext cx="62786" cy="78066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5" name="Freeform 1655"/>
          <p:cNvSpPr/>
          <p:nvPr/>
        </p:nvSpPr>
        <p:spPr>
          <a:xfrm>
            <a:off x="7210218" y="3633747"/>
            <a:ext cx="51456" cy="84696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6" name="Freeform 1656"/>
          <p:cNvSpPr/>
          <p:nvPr/>
        </p:nvSpPr>
        <p:spPr>
          <a:xfrm>
            <a:off x="7263222" y="3633747"/>
            <a:ext cx="54862" cy="60350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7" name="Freeform 1657"/>
          <p:cNvSpPr/>
          <p:nvPr/>
        </p:nvSpPr>
        <p:spPr>
          <a:xfrm>
            <a:off x="7335594" y="3633747"/>
            <a:ext cx="48220" cy="60350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8" name="Freeform 1658"/>
          <p:cNvSpPr/>
          <p:nvPr/>
        </p:nvSpPr>
        <p:spPr>
          <a:xfrm>
            <a:off x="7425220" y="3611687"/>
            <a:ext cx="62563" cy="83553"/>
          </a:xfrm>
          <a:custGeom>
            <a:avLst/>
            <a:gdLst/>
            <a:ahLst/>
            <a:cxnLst/>
            <a:rect l="0" t="0" r="0" b="0"/>
            <a:pathLst>
              <a:path w="6951464" h="9283700">
                <a:moveTo>
                  <a:pt x="1196777" y="6294636"/>
                </a:moveTo>
                <a:cubicBezTo>
                  <a:pt x="1312532" y="7038777"/>
                  <a:pt x="1547151" y="7560734"/>
                  <a:pt x="1900635" y="7860507"/>
                </a:cubicBezTo>
                <a:cubicBezTo>
                  <a:pt x="2254118" y="8160280"/>
                  <a:pt x="2761589" y="8310166"/>
                  <a:pt x="3423047" y="8310166"/>
                </a:cubicBezTo>
                <a:cubicBezTo>
                  <a:pt x="4138216" y="8310166"/>
                  <a:pt x="4703498" y="8030965"/>
                  <a:pt x="5118894" y="7472561"/>
                </a:cubicBezTo>
                <a:cubicBezTo>
                  <a:pt x="5534422" y="6914026"/>
                  <a:pt x="5746354" y="6138334"/>
                  <a:pt x="5754688" y="5145485"/>
                </a:cubicBezTo>
                <a:lnTo>
                  <a:pt x="2201466" y="5145485"/>
                </a:lnTo>
                <a:lnTo>
                  <a:pt x="2201466" y="4165600"/>
                </a:lnTo>
                <a:lnTo>
                  <a:pt x="5754688" y="4165600"/>
                </a:lnTo>
                <a:cubicBezTo>
                  <a:pt x="5754688" y="3184393"/>
                  <a:pt x="5540706" y="2408172"/>
                  <a:pt x="5112743" y="1836936"/>
                </a:cubicBezTo>
                <a:cubicBezTo>
                  <a:pt x="4684911" y="1265569"/>
                  <a:pt x="4086556" y="979885"/>
                  <a:pt x="3317677" y="979885"/>
                </a:cubicBezTo>
                <a:cubicBezTo>
                  <a:pt x="2697493" y="979885"/>
                  <a:pt x="2214761" y="1141149"/>
                  <a:pt x="1869480" y="1463675"/>
                </a:cubicBezTo>
                <a:cubicBezTo>
                  <a:pt x="1524331" y="1786071"/>
                  <a:pt x="1300097" y="2306902"/>
                  <a:pt x="1196777" y="3026172"/>
                </a:cubicBezTo>
                <a:lnTo>
                  <a:pt x="0" y="3026172"/>
                </a:lnTo>
                <a:cubicBezTo>
                  <a:pt x="95118" y="2079493"/>
                  <a:pt x="432065" y="1338461"/>
                  <a:pt x="1010841" y="803077"/>
                </a:cubicBezTo>
                <a:cubicBezTo>
                  <a:pt x="1589617" y="267693"/>
                  <a:pt x="2358562" y="0"/>
                  <a:pt x="3317677" y="0"/>
                </a:cubicBezTo>
                <a:cubicBezTo>
                  <a:pt x="4045281" y="0"/>
                  <a:pt x="4684978" y="172774"/>
                  <a:pt x="5236766" y="518319"/>
                </a:cubicBezTo>
                <a:cubicBezTo>
                  <a:pt x="5788687" y="863733"/>
                  <a:pt x="6212417" y="1356056"/>
                  <a:pt x="6507957" y="1995290"/>
                </a:cubicBezTo>
                <a:cubicBezTo>
                  <a:pt x="6803629" y="2634391"/>
                  <a:pt x="6951464" y="3369734"/>
                  <a:pt x="6951464" y="4201319"/>
                </a:cubicBezTo>
                <a:lnTo>
                  <a:pt x="6951464" y="5101035"/>
                </a:lnTo>
                <a:cubicBezTo>
                  <a:pt x="6951464" y="5932620"/>
                  <a:pt x="6804687" y="6666971"/>
                  <a:pt x="6511132" y="7304088"/>
                </a:cubicBezTo>
                <a:cubicBezTo>
                  <a:pt x="6217708" y="7941205"/>
                  <a:pt x="5803305" y="8430419"/>
                  <a:pt x="5267921" y="8771732"/>
                </a:cubicBezTo>
                <a:cubicBezTo>
                  <a:pt x="4732536" y="9113044"/>
                  <a:pt x="4117579" y="9283700"/>
                  <a:pt x="3423047" y="9283700"/>
                </a:cubicBezTo>
                <a:cubicBezTo>
                  <a:pt x="2439062" y="9283700"/>
                  <a:pt x="1650471" y="9024277"/>
                  <a:pt x="1057275" y="8505429"/>
                </a:cubicBezTo>
                <a:cubicBezTo>
                  <a:pt x="464080" y="7986581"/>
                  <a:pt x="111655" y="7249650"/>
                  <a:pt x="0" y="6294636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59" name="Freeform 1659"/>
          <p:cNvSpPr/>
          <p:nvPr/>
        </p:nvSpPr>
        <p:spPr>
          <a:xfrm>
            <a:off x="7502981" y="3612830"/>
            <a:ext cx="57985" cy="81267"/>
          </a:xfrm>
          <a:custGeom>
            <a:avLst/>
            <a:gdLst/>
            <a:ahLst/>
            <a:cxnLst/>
            <a:rect l="0" t="0" r="0" b="0"/>
            <a:pathLst>
              <a:path w="6442868" h="9029700">
                <a:moveTo>
                  <a:pt x="5549900" y="979885"/>
                </a:moveTo>
                <a:lnTo>
                  <a:pt x="1196776" y="979885"/>
                </a:lnTo>
                <a:lnTo>
                  <a:pt x="1196776" y="3683000"/>
                </a:lnTo>
                <a:lnTo>
                  <a:pt x="3441501" y="3683000"/>
                </a:lnTo>
                <a:cubicBezTo>
                  <a:pt x="4384079" y="3695436"/>
                  <a:pt x="5119952" y="3937331"/>
                  <a:pt x="5649118" y="4408686"/>
                </a:cubicBezTo>
                <a:cubicBezTo>
                  <a:pt x="6178285" y="4880042"/>
                  <a:pt x="6442868" y="5520995"/>
                  <a:pt x="6442868" y="6331546"/>
                </a:cubicBezTo>
                <a:cubicBezTo>
                  <a:pt x="6442868" y="7146198"/>
                  <a:pt x="6176234" y="7795419"/>
                  <a:pt x="5642967" y="8279210"/>
                </a:cubicBezTo>
                <a:cubicBezTo>
                  <a:pt x="5109699" y="8763000"/>
                  <a:pt x="4382095" y="9013164"/>
                  <a:pt x="3460154" y="9029700"/>
                </a:cubicBezTo>
                <a:lnTo>
                  <a:pt x="0" y="9029700"/>
                </a:lnTo>
                <a:lnTo>
                  <a:pt x="0" y="0"/>
                </a:lnTo>
                <a:lnTo>
                  <a:pt x="5549900" y="0"/>
                </a:lnTo>
                <a:close/>
                <a:moveTo>
                  <a:pt x="1196776" y="4662885"/>
                </a:moveTo>
                <a:lnTo>
                  <a:pt x="1196776" y="8056166"/>
                </a:lnTo>
                <a:lnTo>
                  <a:pt x="3373437" y="8056166"/>
                </a:lnTo>
                <a:cubicBezTo>
                  <a:pt x="3964516" y="8056166"/>
                  <a:pt x="4424362" y="7899004"/>
                  <a:pt x="4752975" y="7584679"/>
                </a:cubicBezTo>
                <a:cubicBezTo>
                  <a:pt x="5081719" y="7270354"/>
                  <a:pt x="5246092" y="6848542"/>
                  <a:pt x="5246092" y="6319243"/>
                </a:cubicBezTo>
                <a:cubicBezTo>
                  <a:pt x="5246092" y="5810581"/>
                  <a:pt x="5087937" y="5409473"/>
                  <a:pt x="4771628" y="5115918"/>
                </a:cubicBezTo>
                <a:cubicBezTo>
                  <a:pt x="4455450" y="4822230"/>
                  <a:pt x="4005924" y="4671219"/>
                  <a:pt x="3423046" y="466288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0" name="Freeform 1660"/>
          <p:cNvSpPr/>
          <p:nvPr/>
        </p:nvSpPr>
        <p:spPr>
          <a:xfrm>
            <a:off x="7567310" y="3612830"/>
            <a:ext cx="62843" cy="81267"/>
          </a:xfrm>
          <a:custGeom>
            <a:avLst/>
            <a:gdLst/>
            <a:ahLst/>
            <a:cxnLst/>
            <a:rect l="0" t="0" r="0" b="0"/>
            <a:pathLst>
              <a:path w="6982619" h="9029700">
                <a:moveTo>
                  <a:pt x="6982619" y="979885"/>
                </a:moveTo>
                <a:lnTo>
                  <a:pt x="4080471" y="979885"/>
                </a:lnTo>
                <a:lnTo>
                  <a:pt x="4080471" y="9029700"/>
                </a:lnTo>
                <a:lnTo>
                  <a:pt x="2895997" y="9029700"/>
                </a:lnTo>
                <a:lnTo>
                  <a:pt x="2895997" y="979885"/>
                </a:lnTo>
                <a:lnTo>
                  <a:pt x="0" y="979885"/>
                </a:lnTo>
                <a:lnTo>
                  <a:pt x="0" y="0"/>
                </a:lnTo>
                <a:lnTo>
                  <a:pt x="698261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1" name="Freeform 1661"/>
          <p:cNvSpPr/>
          <p:nvPr/>
        </p:nvSpPr>
        <p:spPr>
          <a:xfrm>
            <a:off x="6971945" y="3765954"/>
            <a:ext cx="51234" cy="6263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2" name="Freeform 1662"/>
          <p:cNvSpPr/>
          <p:nvPr/>
        </p:nvSpPr>
        <p:spPr>
          <a:xfrm>
            <a:off x="7035033" y="3765954"/>
            <a:ext cx="47495" cy="61493"/>
          </a:xfrm>
          <a:custGeom>
            <a:avLst/>
            <a:gdLst/>
            <a:ahLst/>
            <a:cxnLst/>
            <a:rect l="0" t="0" r="0" b="0"/>
            <a:pathLst>
              <a:path w="5277246" h="6832600">
                <a:moveTo>
                  <a:pt x="1085254" y="127000"/>
                </a:moveTo>
                <a:lnTo>
                  <a:pt x="1122362" y="967185"/>
                </a:lnTo>
                <a:cubicBezTo>
                  <a:pt x="1634992" y="322396"/>
                  <a:pt x="2304719" y="0"/>
                  <a:pt x="3131542" y="0"/>
                </a:cubicBezTo>
                <a:cubicBezTo>
                  <a:pt x="4549576" y="0"/>
                  <a:pt x="5264811" y="799836"/>
                  <a:pt x="5277246" y="2399507"/>
                </a:cubicBezTo>
                <a:lnTo>
                  <a:pt x="5277246" y="6832600"/>
                </a:lnTo>
                <a:lnTo>
                  <a:pt x="4130079" y="6832600"/>
                </a:lnTo>
                <a:lnTo>
                  <a:pt x="4130079" y="2393355"/>
                </a:lnTo>
                <a:cubicBezTo>
                  <a:pt x="4125846" y="1909697"/>
                  <a:pt x="4015184" y="1552179"/>
                  <a:pt x="3798093" y="1320800"/>
                </a:cubicBezTo>
                <a:cubicBezTo>
                  <a:pt x="3581135" y="1089290"/>
                  <a:pt x="3243196" y="973535"/>
                  <a:pt x="2784276" y="973535"/>
                </a:cubicBezTo>
                <a:cubicBezTo>
                  <a:pt x="2412272" y="973535"/>
                  <a:pt x="2085710" y="1072754"/>
                  <a:pt x="1804590" y="1271191"/>
                </a:cubicBezTo>
                <a:cubicBezTo>
                  <a:pt x="1523470" y="1469496"/>
                  <a:pt x="1304329" y="1729912"/>
                  <a:pt x="1147167" y="2052440"/>
                </a:cubicBezTo>
                <a:lnTo>
                  <a:pt x="1147167" y="6832600"/>
                </a:lnTo>
                <a:lnTo>
                  <a:pt x="0" y="6832600"/>
                </a:lnTo>
                <a:lnTo>
                  <a:pt x="0" y="127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3" name="Freeform 1663"/>
          <p:cNvSpPr/>
          <p:nvPr/>
        </p:nvSpPr>
        <p:spPr>
          <a:xfrm>
            <a:off x="7098012" y="3741723"/>
            <a:ext cx="51122" cy="86867"/>
          </a:xfrm>
          <a:custGeom>
            <a:avLst/>
            <a:gdLst/>
            <a:ahLst/>
            <a:cxnLst/>
            <a:rect l="0" t="0" r="0" b="0"/>
            <a:pathLst>
              <a:path w="5680273" h="9652000">
                <a:moveTo>
                  <a:pt x="5680273" y="6246615"/>
                </a:moveTo>
                <a:cubicBezTo>
                  <a:pt x="5680273" y="7272140"/>
                  <a:pt x="5444596" y="8096118"/>
                  <a:pt x="4973240" y="8718550"/>
                </a:cubicBezTo>
                <a:cubicBezTo>
                  <a:pt x="4502017" y="9340850"/>
                  <a:pt x="3869531" y="9652000"/>
                  <a:pt x="3075781" y="9652000"/>
                </a:cubicBezTo>
                <a:cubicBezTo>
                  <a:pt x="2228321" y="9652000"/>
                  <a:pt x="1573080" y="9352161"/>
                  <a:pt x="1110059" y="8752483"/>
                </a:cubicBezTo>
                <a:lnTo>
                  <a:pt x="1054298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167" y="0"/>
                </a:lnTo>
                <a:lnTo>
                  <a:pt x="1147167" y="3554611"/>
                </a:lnTo>
                <a:cubicBezTo>
                  <a:pt x="1610188" y="2979804"/>
                  <a:pt x="2248892" y="2692400"/>
                  <a:pt x="3063279" y="2692400"/>
                </a:cubicBezTo>
                <a:cubicBezTo>
                  <a:pt x="3877799" y="2692400"/>
                  <a:pt x="4517561" y="3000508"/>
                  <a:pt x="4982567" y="3616722"/>
                </a:cubicBezTo>
                <a:cubicBezTo>
                  <a:pt x="5447704" y="4232805"/>
                  <a:pt x="5680273" y="5076362"/>
                  <a:pt x="5680273" y="6147396"/>
                </a:cubicBezTo>
                <a:close/>
                <a:moveTo>
                  <a:pt x="4533106" y="6116440"/>
                </a:moveTo>
                <a:cubicBezTo>
                  <a:pt x="4533106" y="5334728"/>
                  <a:pt x="4382161" y="4730883"/>
                  <a:pt x="4080271" y="4304904"/>
                </a:cubicBezTo>
                <a:cubicBezTo>
                  <a:pt x="3778514" y="3878925"/>
                  <a:pt x="3344465" y="3665935"/>
                  <a:pt x="2778125" y="3665935"/>
                </a:cubicBezTo>
                <a:cubicBezTo>
                  <a:pt x="2021548" y="3665935"/>
                  <a:pt x="1477896" y="4017500"/>
                  <a:pt x="1147167" y="4720630"/>
                </a:cubicBezTo>
                <a:lnTo>
                  <a:pt x="1147167" y="7623771"/>
                </a:lnTo>
                <a:cubicBezTo>
                  <a:pt x="1498666" y="8326901"/>
                  <a:pt x="2046486" y="8678466"/>
                  <a:pt x="2790626" y="8678466"/>
                </a:cubicBezTo>
                <a:cubicBezTo>
                  <a:pt x="3340430" y="8678466"/>
                  <a:pt x="3768261" y="8465477"/>
                  <a:pt x="4074120" y="8039497"/>
                </a:cubicBezTo>
                <a:cubicBezTo>
                  <a:pt x="4380111" y="7613518"/>
                  <a:pt x="4533106" y="6972499"/>
                  <a:pt x="4533106" y="611644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4" name="Freeform 1664"/>
          <p:cNvSpPr/>
          <p:nvPr/>
        </p:nvSpPr>
        <p:spPr>
          <a:xfrm>
            <a:off x="7159511" y="3765954"/>
            <a:ext cx="51234" cy="6263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5" name="Freeform 1665"/>
          <p:cNvSpPr/>
          <p:nvPr/>
        </p:nvSpPr>
        <p:spPr>
          <a:xfrm>
            <a:off x="7222655" y="3741723"/>
            <a:ext cx="49950" cy="85724"/>
          </a:xfrm>
          <a:custGeom>
            <a:avLst/>
            <a:gdLst/>
            <a:ahLst/>
            <a:cxnLst/>
            <a:rect l="0" t="0" r="0" b="0"/>
            <a:pathLst>
              <a:path w="5550099" h="9525000">
                <a:moveTo>
                  <a:pt x="1866702" y="6420049"/>
                </a:moveTo>
                <a:lnTo>
                  <a:pt x="1147366" y="7169944"/>
                </a:lnTo>
                <a:lnTo>
                  <a:pt x="1147366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366" y="0"/>
                </a:lnTo>
                <a:lnTo>
                  <a:pt x="1147366" y="5763221"/>
                </a:lnTo>
                <a:lnTo>
                  <a:pt x="1761133" y="5025629"/>
                </a:lnTo>
                <a:lnTo>
                  <a:pt x="3851077" y="2819400"/>
                </a:lnTo>
                <a:lnTo>
                  <a:pt x="5246291" y="2819400"/>
                </a:lnTo>
                <a:lnTo>
                  <a:pt x="2635647" y="5620544"/>
                </a:lnTo>
                <a:lnTo>
                  <a:pt x="5550099" y="9525000"/>
                </a:lnTo>
                <a:lnTo>
                  <a:pt x="4204494" y="9525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6" name="Freeform 1666"/>
          <p:cNvSpPr/>
          <p:nvPr/>
        </p:nvSpPr>
        <p:spPr>
          <a:xfrm>
            <a:off x="7280658" y="3815741"/>
            <a:ext cx="12837" cy="12278"/>
          </a:xfrm>
          <a:custGeom>
            <a:avLst/>
            <a:gdLst/>
            <a:ahLst/>
            <a:cxnLst/>
            <a:rect l="0" t="0" r="0" b="0"/>
            <a:pathLst>
              <a:path w="1426369" h="1364257">
                <a:moveTo>
                  <a:pt x="0" y="694531"/>
                </a:moveTo>
                <a:cubicBezTo>
                  <a:pt x="0" y="496093"/>
                  <a:pt x="58870" y="330729"/>
                  <a:pt x="176610" y="198437"/>
                </a:cubicBezTo>
                <a:cubicBezTo>
                  <a:pt x="294482" y="66146"/>
                  <a:pt x="471223" y="0"/>
                  <a:pt x="706835" y="0"/>
                </a:cubicBezTo>
                <a:cubicBezTo>
                  <a:pt x="942578" y="0"/>
                  <a:pt x="1121437" y="66146"/>
                  <a:pt x="1243410" y="198437"/>
                </a:cubicBezTo>
                <a:cubicBezTo>
                  <a:pt x="1365383" y="330729"/>
                  <a:pt x="1426369" y="496093"/>
                  <a:pt x="1426369" y="694531"/>
                </a:cubicBezTo>
                <a:cubicBezTo>
                  <a:pt x="1426369" y="884634"/>
                  <a:pt x="1365383" y="1043781"/>
                  <a:pt x="1243410" y="1171972"/>
                </a:cubicBezTo>
                <a:cubicBezTo>
                  <a:pt x="1121437" y="1300162"/>
                  <a:pt x="942578" y="1364257"/>
                  <a:pt x="706835" y="1364257"/>
                </a:cubicBezTo>
                <a:cubicBezTo>
                  <a:pt x="471223" y="1364257"/>
                  <a:pt x="294482" y="1300162"/>
                  <a:pt x="176610" y="1171972"/>
                </a:cubicBezTo>
                <a:cubicBezTo>
                  <a:pt x="58870" y="1043781"/>
                  <a:pt x="0" y="884634"/>
                  <a:pt x="0" y="69453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7" name="Freeform 1667"/>
          <p:cNvSpPr/>
          <p:nvPr/>
        </p:nvSpPr>
        <p:spPr>
          <a:xfrm>
            <a:off x="7310551" y="3741723"/>
            <a:ext cx="49950" cy="85724"/>
          </a:xfrm>
          <a:custGeom>
            <a:avLst/>
            <a:gdLst/>
            <a:ahLst/>
            <a:cxnLst/>
            <a:rect l="0" t="0" r="0" b="0"/>
            <a:pathLst>
              <a:path w="5550099" h="9525000">
                <a:moveTo>
                  <a:pt x="1866702" y="6420049"/>
                </a:moveTo>
                <a:lnTo>
                  <a:pt x="1147366" y="7169944"/>
                </a:lnTo>
                <a:lnTo>
                  <a:pt x="1147366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366" y="0"/>
                </a:lnTo>
                <a:lnTo>
                  <a:pt x="1147366" y="5763221"/>
                </a:lnTo>
                <a:lnTo>
                  <a:pt x="1761133" y="5025629"/>
                </a:lnTo>
                <a:lnTo>
                  <a:pt x="3851077" y="2819400"/>
                </a:lnTo>
                <a:lnTo>
                  <a:pt x="5246291" y="2819400"/>
                </a:lnTo>
                <a:lnTo>
                  <a:pt x="2635647" y="5620544"/>
                </a:lnTo>
                <a:lnTo>
                  <a:pt x="5550099" y="9525000"/>
                </a:lnTo>
                <a:lnTo>
                  <a:pt x="4204494" y="9525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8" name="Freeform 1668"/>
          <p:cNvSpPr/>
          <p:nvPr/>
        </p:nvSpPr>
        <p:spPr>
          <a:xfrm>
            <a:off x="7365430" y="3767097"/>
            <a:ext cx="47941" cy="60350"/>
          </a:xfrm>
          <a:custGeom>
            <a:avLst/>
            <a:gdLst/>
            <a:ahLst/>
            <a:cxnLst/>
            <a:rect l="0" t="0" r="0" b="0"/>
            <a:pathLst>
              <a:path w="5326856" h="6705600">
                <a:moveTo>
                  <a:pt x="1401564" y="5769174"/>
                </a:moveTo>
                <a:lnTo>
                  <a:pt x="5326856" y="5769174"/>
                </a:lnTo>
                <a:lnTo>
                  <a:pt x="5326856" y="6705600"/>
                </a:lnTo>
                <a:lnTo>
                  <a:pt x="0" y="6705600"/>
                </a:lnTo>
                <a:lnTo>
                  <a:pt x="0" y="5862241"/>
                </a:lnTo>
                <a:lnTo>
                  <a:pt x="3702050" y="948730"/>
                </a:lnTo>
                <a:lnTo>
                  <a:pt x="55761" y="948730"/>
                </a:lnTo>
                <a:lnTo>
                  <a:pt x="55761" y="0"/>
                </a:lnTo>
                <a:lnTo>
                  <a:pt x="5140722" y="0"/>
                </a:lnTo>
                <a:lnTo>
                  <a:pt x="5140722" y="812404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69" name="Rectangle 1669"/>
          <p:cNvSpPr/>
          <p:nvPr/>
        </p:nvSpPr>
        <p:spPr>
          <a:xfrm>
            <a:off x="7614931" y="2269030"/>
            <a:ext cx="986916" cy="304800"/>
          </a:xfrm>
          <a:prstGeom prst="rect">
            <a:avLst/>
          </a:prstGeom>
        </p:spPr>
      </p:sp>
      <p:sp>
        <p:nvSpPr>
          <p:cNvPr id="1670" name="Freeform 1670"/>
          <p:cNvSpPr/>
          <p:nvPr/>
        </p:nvSpPr>
        <p:spPr>
          <a:xfrm>
            <a:off x="7621132" y="2298113"/>
            <a:ext cx="56802" cy="91566"/>
          </a:xfrm>
          <a:custGeom>
            <a:avLst/>
            <a:gdLst/>
            <a:ahLst/>
            <a:cxnLst/>
            <a:rect l="0" t="0" r="0" b="0"/>
            <a:pathLst>
              <a:path w="5680273" h="9156700">
                <a:moveTo>
                  <a:pt x="4526954" y="5185172"/>
                </a:moveTo>
                <a:cubicBezTo>
                  <a:pt x="4287110" y="5470525"/>
                  <a:pt x="4000764" y="5700051"/>
                  <a:pt x="3667918" y="5873750"/>
                </a:cubicBezTo>
                <a:cubicBezTo>
                  <a:pt x="3335205" y="6047317"/>
                  <a:pt x="2970411" y="6134100"/>
                  <a:pt x="2573536" y="6134100"/>
                </a:cubicBezTo>
                <a:cubicBezTo>
                  <a:pt x="2052571" y="6134100"/>
                  <a:pt x="1598811" y="6005910"/>
                  <a:pt x="1212254" y="5749529"/>
                </a:cubicBezTo>
                <a:cubicBezTo>
                  <a:pt x="825830" y="5493147"/>
                  <a:pt x="527182" y="5132388"/>
                  <a:pt x="316309" y="4667250"/>
                </a:cubicBezTo>
                <a:cubicBezTo>
                  <a:pt x="105436" y="4202113"/>
                  <a:pt x="0" y="3688358"/>
                  <a:pt x="0" y="3125986"/>
                </a:cubicBezTo>
                <a:cubicBezTo>
                  <a:pt x="0" y="2522340"/>
                  <a:pt x="114697" y="1978621"/>
                  <a:pt x="344090" y="1494830"/>
                </a:cubicBezTo>
                <a:cubicBezTo>
                  <a:pt x="573616" y="1011040"/>
                  <a:pt x="899186" y="640954"/>
                  <a:pt x="1320800" y="384572"/>
                </a:cubicBezTo>
                <a:cubicBezTo>
                  <a:pt x="1742545" y="128191"/>
                  <a:pt x="2234538" y="0"/>
                  <a:pt x="2796778" y="0"/>
                </a:cubicBezTo>
                <a:cubicBezTo>
                  <a:pt x="3689747" y="0"/>
                  <a:pt x="4393538" y="333772"/>
                  <a:pt x="4908153" y="1001316"/>
                </a:cubicBezTo>
                <a:cubicBezTo>
                  <a:pt x="5422900" y="1668727"/>
                  <a:pt x="5680273" y="2579027"/>
                  <a:pt x="5680273" y="3732213"/>
                </a:cubicBezTo>
                <a:lnTo>
                  <a:pt x="5680273" y="4066977"/>
                </a:lnTo>
                <a:cubicBezTo>
                  <a:pt x="5680273" y="5823413"/>
                  <a:pt x="5333008" y="7105650"/>
                  <a:pt x="4638476" y="7913688"/>
                </a:cubicBezTo>
                <a:cubicBezTo>
                  <a:pt x="3943945" y="8721725"/>
                  <a:pt x="2895930" y="9136063"/>
                  <a:pt x="1494433" y="9156700"/>
                </a:cubicBezTo>
                <a:lnTo>
                  <a:pt x="1271190" y="9156700"/>
                </a:lnTo>
                <a:lnTo>
                  <a:pt x="1271190" y="8189318"/>
                </a:lnTo>
                <a:lnTo>
                  <a:pt x="1513086" y="8189318"/>
                </a:lnTo>
                <a:cubicBezTo>
                  <a:pt x="2459765" y="8172781"/>
                  <a:pt x="3187369" y="7926057"/>
                  <a:pt x="3695898" y="7449146"/>
                </a:cubicBezTo>
                <a:cubicBezTo>
                  <a:pt x="4204427" y="6972234"/>
                  <a:pt x="4481446" y="6217577"/>
                  <a:pt x="4526954" y="5185172"/>
                </a:cubicBezTo>
                <a:close/>
                <a:moveTo>
                  <a:pt x="2759472" y="5185371"/>
                </a:moveTo>
                <a:cubicBezTo>
                  <a:pt x="3144043" y="5185371"/>
                  <a:pt x="3498585" y="5067565"/>
                  <a:pt x="3823097" y="4831954"/>
                </a:cubicBezTo>
                <a:cubicBezTo>
                  <a:pt x="4147608" y="4596210"/>
                  <a:pt x="4384278" y="4304639"/>
                  <a:pt x="4533106" y="3957241"/>
                </a:cubicBezTo>
                <a:lnTo>
                  <a:pt x="4533106" y="3498255"/>
                </a:lnTo>
                <a:cubicBezTo>
                  <a:pt x="4533106" y="2745648"/>
                  <a:pt x="4369792" y="2133666"/>
                  <a:pt x="4043164" y="1662311"/>
                </a:cubicBezTo>
                <a:cubicBezTo>
                  <a:pt x="3716536" y="1190824"/>
                  <a:pt x="3303124" y="955080"/>
                  <a:pt x="2802929" y="955080"/>
                </a:cubicBezTo>
                <a:cubicBezTo>
                  <a:pt x="2298634" y="955080"/>
                  <a:pt x="1893490" y="1148424"/>
                  <a:pt x="1587500" y="1535113"/>
                </a:cubicBezTo>
                <a:cubicBezTo>
                  <a:pt x="1281641" y="1921669"/>
                  <a:pt x="1128712" y="2431323"/>
                  <a:pt x="1128712" y="3064074"/>
                </a:cubicBezTo>
                <a:cubicBezTo>
                  <a:pt x="1128712" y="3680156"/>
                  <a:pt x="1276482" y="4187759"/>
                  <a:pt x="1572022" y="4586883"/>
                </a:cubicBezTo>
                <a:cubicBezTo>
                  <a:pt x="1867561" y="4985875"/>
                  <a:pt x="2263378" y="5185371"/>
                  <a:pt x="2759472" y="518537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1" name="Freeform 1671"/>
          <p:cNvSpPr/>
          <p:nvPr/>
        </p:nvSpPr>
        <p:spPr>
          <a:xfrm>
            <a:off x="7727221" y="2322624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2" name="Freeform 1672"/>
          <p:cNvSpPr/>
          <p:nvPr/>
        </p:nvSpPr>
        <p:spPr>
          <a:xfrm>
            <a:off x="7799507" y="2321354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3" name="Freeform 1673"/>
          <p:cNvSpPr/>
          <p:nvPr/>
        </p:nvSpPr>
        <p:spPr>
          <a:xfrm>
            <a:off x="7871747" y="2322624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4" name="Freeform 1674"/>
          <p:cNvSpPr/>
          <p:nvPr/>
        </p:nvSpPr>
        <p:spPr>
          <a:xfrm>
            <a:off x="7940995" y="2321354"/>
            <a:ext cx="61081" cy="6959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5" name="Freeform 1675"/>
          <p:cNvSpPr/>
          <p:nvPr/>
        </p:nvSpPr>
        <p:spPr>
          <a:xfrm>
            <a:off x="8016423" y="2321354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6" name="Freeform 1676"/>
          <p:cNvSpPr/>
          <p:nvPr/>
        </p:nvSpPr>
        <p:spPr>
          <a:xfrm>
            <a:off x="8088662" y="2322624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7" name="Freeform 1677"/>
          <p:cNvSpPr/>
          <p:nvPr/>
        </p:nvSpPr>
        <p:spPr>
          <a:xfrm>
            <a:off x="8154748" y="2322624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8" name="Freeform 1678"/>
          <p:cNvSpPr/>
          <p:nvPr/>
        </p:nvSpPr>
        <p:spPr>
          <a:xfrm>
            <a:off x="8214041" y="2321354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79" name="Freeform 1679"/>
          <p:cNvSpPr/>
          <p:nvPr/>
        </p:nvSpPr>
        <p:spPr>
          <a:xfrm>
            <a:off x="8277304" y="2322624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0" name="Freeform 1680"/>
          <p:cNvSpPr/>
          <p:nvPr/>
        </p:nvSpPr>
        <p:spPr>
          <a:xfrm>
            <a:off x="8345457" y="2322624"/>
            <a:ext cx="53826" cy="67055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1" name="Freeform 1681"/>
          <p:cNvSpPr/>
          <p:nvPr/>
        </p:nvSpPr>
        <p:spPr>
          <a:xfrm>
            <a:off x="8418670" y="2322624"/>
            <a:ext cx="77515" cy="67055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2" name="Freeform 1682"/>
          <p:cNvSpPr/>
          <p:nvPr/>
        </p:nvSpPr>
        <p:spPr>
          <a:xfrm>
            <a:off x="8510028" y="2322624"/>
            <a:ext cx="57610" cy="67055"/>
          </a:xfrm>
          <a:custGeom>
            <a:avLst/>
            <a:gdLst/>
            <a:ahLst/>
            <a:cxnLst/>
            <a:rect l="0" t="0" r="0" b="0"/>
            <a:pathLst>
              <a:path w="5761037" h="6705600">
                <a:moveTo>
                  <a:pt x="2865041" y="2447925"/>
                </a:moveTo>
                <a:lnTo>
                  <a:pt x="4353322" y="0"/>
                </a:lnTo>
                <a:lnTo>
                  <a:pt x="5692775" y="0"/>
                </a:lnTo>
                <a:lnTo>
                  <a:pt x="3497461" y="3315494"/>
                </a:lnTo>
                <a:lnTo>
                  <a:pt x="5761037" y="6705600"/>
                </a:lnTo>
                <a:lnTo>
                  <a:pt x="4433887" y="6705600"/>
                </a:lnTo>
                <a:lnTo>
                  <a:pt x="2883694" y="4195565"/>
                </a:lnTo>
                <a:lnTo>
                  <a:pt x="1333302" y="6705600"/>
                </a:lnTo>
                <a:lnTo>
                  <a:pt x="0" y="6705600"/>
                </a:lnTo>
                <a:lnTo>
                  <a:pt x="2263577" y="3315494"/>
                </a:lnTo>
                <a:lnTo>
                  <a:pt x="68262" y="0"/>
                </a:lnTo>
                <a:lnTo>
                  <a:pt x="1395412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3" name="Freeform 1683"/>
          <p:cNvSpPr/>
          <p:nvPr/>
        </p:nvSpPr>
        <p:spPr>
          <a:xfrm>
            <a:off x="7822064" y="2473754"/>
            <a:ext cx="61081" cy="6959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4" name="Freeform 1684"/>
          <p:cNvSpPr/>
          <p:nvPr/>
        </p:nvSpPr>
        <p:spPr>
          <a:xfrm>
            <a:off x="7890021" y="2475024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5" name="Freeform 1685"/>
          <p:cNvSpPr/>
          <p:nvPr/>
        </p:nvSpPr>
        <p:spPr>
          <a:xfrm>
            <a:off x="7957183" y="2473754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6" name="Freeform 1686"/>
          <p:cNvSpPr/>
          <p:nvPr/>
        </p:nvSpPr>
        <p:spPr>
          <a:xfrm>
            <a:off x="8026507" y="2473754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7" name="Freeform 1687"/>
          <p:cNvSpPr/>
          <p:nvPr/>
        </p:nvSpPr>
        <p:spPr>
          <a:xfrm>
            <a:off x="8094414" y="2473754"/>
            <a:ext cx="56554" cy="6959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8" name="Freeform 1688"/>
          <p:cNvSpPr/>
          <p:nvPr/>
        </p:nvSpPr>
        <p:spPr>
          <a:xfrm>
            <a:off x="8157858" y="2475024"/>
            <a:ext cx="60958" cy="67055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89" name="Freeform 1689"/>
          <p:cNvSpPr/>
          <p:nvPr/>
        </p:nvSpPr>
        <p:spPr>
          <a:xfrm>
            <a:off x="8234303" y="2473754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0" name="Freeform 1690"/>
          <p:cNvSpPr/>
          <p:nvPr/>
        </p:nvSpPr>
        <p:spPr>
          <a:xfrm>
            <a:off x="8305393" y="2450513"/>
            <a:ext cx="53887" cy="91566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1" name="Rectangle 1691"/>
          <p:cNvSpPr/>
          <p:nvPr/>
        </p:nvSpPr>
        <p:spPr>
          <a:xfrm>
            <a:off x="1223201" y="3765844"/>
            <a:ext cx="474560" cy="167639"/>
          </a:xfrm>
          <a:prstGeom prst="rect">
            <a:avLst/>
          </a:prstGeom>
        </p:spPr>
      </p:sp>
      <p:sp>
        <p:nvSpPr>
          <p:cNvPr id="1692" name="Freeform 1692"/>
          <p:cNvSpPr/>
          <p:nvPr/>
        </p:nvSpPr>
        <p:spPr>
          <a:xfrm>
            <a:off x="1234728" y="3799233"/>
            <a:ext cx="98842" cy="99326"/>
          </a:xfrm>
          <a:custGeom>
            <a:avLst/>
            <a:gdLst/>
            <a:ahLst/>
            <a:cxnLst/>
            <a:rect l="0" t="0" r="0" b="0"/>
            <a:pathLst>
              <a:path w="8985647" h="9029700">
                <a:moveTo>
                  <a:pt x="1537891" y="0"/>
                </a:moveTo>
                <a:lnTo>
                  <a:pt x="4489648" y="7367588"/>
                </a:lnTo>
                <a:lnTo>
                  <a:pt x="7441406" y="0"/>
                </a:lnTo>
                <a:lnTo>
                  <a:pt x="8985647" y="0"/>
                </a:lnTo>
                <a:lnTo>
                  <a:pt x="8985647" y="9029700"/>
                </a:lnTo>
                <a:lnTo>
                  <a:pt x="7795022" y="9029700"/>
                </a:lnTo>
                <a:lnTo>
                  <a:pt x="7795022" y="5513388"/>
                </a:lnTo>
                <a:lnTo>
                  <a:pt x="7906544" y="1717874"/>
                </a:lnTo>
                <a:lnTo>
                  <a:pt x="4942483" y="9029700"/>
                </a:lnTo>
                <a:lnTo>
                  <a:pt x="4030861" y="9029700"/>
                </a:lnTo>
                <a:lnTo>
                  <a:pt x="1072952" y="1736527"/>
                </a:lnTo>
                <a:lnTo>
                  <a:pt x="1190625" y="55133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3" name="Freeform 1693"/>
          <p:cNvSpPr/>
          <p:nvPr/>
        </p:nvSpPr>
        <p:spPr>
          <a:xfrm>
            <a:off x="1346545" y="3799233"/>
            <a:ext cx="76808" cy="99326"/>
          </a:xfrm>
          <a:custGeom>
            <a:avLst/>
            <a:gdLst/>
            <a:ahLst/>
            <a:cxnLst/>
            <a:rect l="0" t="0" r="0" b="0"/>
            <a:pathLst>
              <a:path w="6982619" h="9029700">
                <a:moveTo>
                  <a:pt x="6982619" y="979885"/>
                </a:moveTo>
                <a:lnTo>
                  <a:pt x="4080471" y="979885"/>
                </a:lnTo>
                <a:lnTo>
                  <a:pt x="4080471" y="9029700"/>
                </a:lnTo>
                <a:lnTo>
                  <a:pt x="2895997" y="9029700"/>
                </a:lnTo>
                <a:lnTo>
                  <a:pt x="2895997" y="979885"/>
                </a:lnTo>
                <a:lnTo>
                  <a:pt x="0" y="979885"/>
                </a:lnTo>
                <a:lnTo>
                  <a:pt x="0" y="0"/>
                </a:lnTo>
                <a:lnTo>
                  <a:pt x="6982619" y="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4" name="Freeform 1694"/>
          <p:cNvSpPr/>
          <p:nvPr/>
        </p:nvSpPr>
        <p:spPr>
          <a:xfrm>
            <a:off x="1432766" y="3797836"/>
            <a:ext cx="76466" cy="102120"/>
          </a:xfrm>
          <a:custGeom>
            <a:avLst/>
            <a:gdLst/>
            <a:ahLst/>
            <a:cxnLst/>
            <a:rect l="0" t="0" r="0" b="0"/>
            <a:pathLst>
              <a:path w="6951464" h="9283700">
                <a:moveTo>
                  <a:pt x="6951464" y="6294636"/>
                </a:moveTo>
                <a:cubicBezTo>
                  <a:pt x="6839809" y="7249650"/>
                  <a:pt x="6487384" y="7986581"/>
                  <a:pt x="5894189" y="8505429"/>
                </a:cubicBezTo>
                <a:cubicBezTo>
                  <a:pt x="5300993" y="9024277"/>
                  <a:pt x="4512402" y="9283700"/>
                  <a:pt x="3528417" y="9283700"/>
                </a:cubicBezTo>
                <a:cubicBezTo>
                  <a:pt x="2461881" y="9283700"/>
                  <a:pt x="1607145" y="8901047"/>
                  <a:pt x="964207" y="8135740"/>
                </a:cubicBezTo>
                <a:cubicBezTo>
                  <a:pt x="321402" y="7370300"/>
                  <a:pt x="0" y="6346363"/>
                  <a:pt x="0" y="5063927"/>
                </a:cubicBezTo>
                <a:lnTo>
                  <a:pt x="0" y="4194969"/>
                </a:lnTo>
                <a:cubicBezTo>
                  <a:pt x="0" y="3355182"/>
                  <a:pt x="149820" y="2616730"/>
                  <a:pt x="449461" y="1979613"/>
                </a:cubicBezTo>
                <a:cubicBezTo>
                  <a:pt x="749233" y="1342496"/>
                  <a:pt x="1174022" y="853282"/>
                  <a:pt x="1723826" y="511969"/>
                </a:cubicBezTo>
                <a:cubicBezTo>
                  <a:pt x="2273763" y="170657"/>
                  <a:pt x="2910416" y="0"/>
                  <a:pt x="3633787" y="0"/>
                </a:cubicBezTo>
                <a:cubicBezTo>
                  <a:pt x="4592902" y="0"/>
                  <a:pt x="5361847" y="267693"/>
                  <a:pt x="5940623" y="803077"/>
                </a:cubicBezTo>
                <a:cubicBezTo>
                  <a:pt x="6519399" y="1338461"/>
                  <a:pt x="6856346" y="2079493"/>
                  <a:pt x="6951464" y="3026172"/>
                </a:cubicBezTo>
                <a:lnTo>
                  <a:pt x="5754687" y="3026172"/>
                </a:lnTo>
                <a:cubicBezTo>
                  <a:pt x="5651367" y="2306902"/>
                  <a:pt x="5427067" y="1786071"/>
                  <a:pt x="5081786" y="1463675"/>
                </a:cubicBezTo>
                <a:cubicBezTo>
                  <a:pt x="4736636" y="1141149"/>
                  <a:pt x="4253971" y="979885"/>
                  <a:pt x="3633787" y="979885"/>
                </a:cubicBezTo>
                <a:cubicBezTo>
                  <a:pt x="2873110" y="979885"/>
                  <a:pt x="2276739" y="1261269"/>
                  <a:pt x="1844675" y="1824038"/>
                </a:cubicBezTo>
                <a:cubicBezTo>
                  <a:pt x="1412742" y="2386807"/>
                  <a:pt x="1196776" y="3187502"/>
                  <a:pt x="1196776" y="4226124"/>
                </a:cubicBezTo>
                <a:lnTo>
                  <a:pt x="1196776" y="5101233"/>
                </a:lnTo>
                <a:cubicBezTo>
                  <a:pt x="1196776" y="6081911"/>
                  <a:pt x="1401431" y="6861903"/>
                  <a:pt x="1810742" y="7441208"/>
                </a:cubicBezTo>
                <a:cubicBezTo>
                  <a:pt x="2220052" y="8020513"/>
                  <a:pt x="2792611" y="8310166"/>
                  <a:pt x="3528417" y="8310166"/>
                </a:cubicBezTo>
                <a:cubicBezTo>
                  <a:pt x="4189875" y="8310166"/>
                  <a:pt x="4697346" y="8160280"/>
                  <a:pt x="5050829" y="7860507"/>
                </a:cubicBezTo>
                <a:cubicBezTo>
                  <a:pt x="5404313" y="7560734"/>
                  <a:pt x="5638932" y="7038777"/>
                  <a:pt x="5754687" y="6294636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5" name="Freeform 1695"/>
          <p:cNvSpPr/>
          <p:nvPr/>
        </p:nvSpPr>
        <p:spPr>
          <a:xfrm>
            <a:off x="1520910" y="3797836"/>
            <a:ext cx="71624" cy="102120"/>
          </a:xfrm>
          <a:custGeom>
            <a:avLst/>
            <a:gdLst/>
            <a:ahLst/>
            <a:cxnLst/>
            <a:rect l="0" t="0" r="0" b="0"/>
            <a:pathLst>
              <a:path w="6511330" h="9283700">
                <a:moveTo>
                  <a:pt x="5184180" y="2549922"/>
                </a:moveTo>
                <a:cubicBezTo>
                  <a:pt x="5184180" y="2069968"/>
                  <a:pt x="5009489" y="1688307"/>
                  <a:pt x="4660107" y="1404938"/>
                </a:cubicBezTo>
                <a:cubicBezTo>
                  <a:pt x="4310857" y="1121569"/>
                  <a:pt x="3819988" y="979885"/>
                  <a:pt x="3187502" y="979885"/>
                </a:cubicBezTo>
                <a:cubicBezTo>
                  <a:pt x="2658335" y="979885"/>
                  <a:pt x="2214894" y="1125604"/>
                  <a:pt x="1857177" y="1417043"/>
                </a:cubicBezTo>
                <a:cubicBezTo>
                  <a:pt x="1499592" y="1708481"/>
                  <a:pt x="1320800" y="2069174"/>
                  <a:pt x="1320800" y="2499122"/>
                </a:cubicBezTo>
                <a:lnTo>
                  <a:pt x="130175" y="2499122"/>
                </a:lnTo>
                <a:cubicBezTo>
                  <a:pt x="130175" y="2019565"/>
                  <a:pt x="261409" y="1589617"/>
                  <a:pt x="523875" y="1209279"/>
                </a:cubicBezTo>
                <a:cubicBezTo>
                  <a:pt x="786474" y="828940"/>
                  <a:pt x="1153385" y="532342"/>
                  <a:pt x="1624608" y="319485"/>
                </a:cubicBezTo>
                <a:cubicBezTo>
                  <a:pt x="2095963" y="106496"/>
                  <a:pt x="2616928" y="0"/>
                  <a:pt x="3187502" y="0"/>
                </a:cubicBezTo>
                <a:cubicBezTo>
                  <a:pt x="4196226" y="0"/>
                  <a:pt x="4979591" y="226484"/>
                  <a:pt x="5537597" y="679450"/>
                </a:cubicBezTo>
                <a:cubicBezTo>
                  <a:pt x="6095736" y="1132285"/>
                  <a:pt x="6374805" y="1761993"/>
                  <a:pt x="6374805" y="2568575"/>
                </a:cubicBezTo>
                <a:cubicBezTo>
                  <a:pt x="6374805" y="2986353"/>
                  <a:pt x="6246614" y="3366890"/>
                  <a:pt x="5990233" y="3710186"/>
                </a:cubicBezTo>
                <a:cubicBezTo>
                  <a:pt x="5733984" y="4053483"/>
                  <a:pt x="5376400" y="4324417"/>
                  <a:pt x="4917480" y="4522986"/>
                </a:cubicBezTo>
                <a:cubicBezTo>
                  <a:pt x="5980046" y="4878851"/>
                  <a:pt x="6511330" y="5584362"/>
                  <a:pt x="6511330" y="6639521"/>
                </a:cubicBezTo>
                <a:cubicBezTo>
                  <a:pt x="6511330" y="7450601"/>
                  <a:pt x="6209507" y="8094068"/>
                  <a:pt x="5605860" y="8569921"/>
                </a:cubicBezTo>
                <a:cubicBezTo>
                  <a:pt x="5002345" y="9045774"/>
                  <a:pt x="4196226" y="9283700"/>
                  <a:pt x="3187502" y="9283700"/>
                </a:cubicBezTo>
                <a:cubicBezTo>
                  <a:pt x="2587956" y="9283700"/>
                  <a:pt x="2043245" y="9177271"/>
                  <a:pt x="1553369" y="8964415"/>
                </a:cubicBezTo>
                <a:cubicBezTo>
                  <a:pt x="1063493" y="8751425"/>
                  <a:pt x="682096" y="8448609"/>
                  <a:pt x="409178" y="8055968"/>
                </a:cubicBezTo>
                <a:cubicBezTo>
                  <a:pt x="136393" y="7663194"/>
                  <a:pt x="0" y="7196006"/>
                  <a:pt x="0" y="6654404"/>
                </a:cubicBezTo>
                <a:lnTo>
                  <a:pt x="1190625" y="6654404"/>
                </a:lnTo>
                <a:cubicBezTo>
                  <a:pt x="1190625" y="7129860"/>
                  <a:pt x="1378744" y="7525743"/>
                  <a:pt x="1754982" y="7842052"/>
                </a:cubicBezTo>
                <a:cubicBezTo>
                  <a:pt x="2131219" y="8158229"/>
                  <a:pt x="2608726" y="8316318"/>
                  <a:pt x="3187502" y="8316318"/>
                </a:cubicBezTo>
                <a:cubicBezTo>
                  <a:pt x="3836525" y="8316318"/>
                  <a:pt x="4354314" y="8165241"/>
                  <a:pt x="4740871" y="7863086"/>
                </a:cubicBezTo>
                <a:cubicBezTo>
                  <a:pt x="5127427" y="7560800"/>
                  <a:pt x="5320705" y="7161279"/>
                  <a:pt x="5320705" y="6664524"/>
                </a:cubicBezTo>
                <a:cubicBezTo>
                  <a:pt x="5320705" y="5604736"/>
                  <a:pt x="4665398" y="5064522"/>
                  <a:pt x="3354785" y="5043885"/>
                </a:cubicBezTo>
                <a:lnTo>
                  <a:pt x="2238574" y="5043885"/>
                </a:lnTo>
                <a:lnTo>
                  <a:pt x="2238574" y="4064000"/>
                </a:lnTo>
                <a:lnTo>
                  <a:pt x="3348633" y="4064000"/>
                </a:lnTo>
                <a:cubicBezTo>
                  <a:pt x="3952280" y="4051565"/>
                  <a:pt x="4409083" y="3915040"/>
                  <a:pt x="4719042" y="3654425"/>
                </a:cubicBezTo>
                <a:cubicBezTo>
                  <a:pt x="5029134" y="3393811"/>
                  <a:pt x="5184180" y="3025643"/>
                  <a:pt x="5184180" y="2549922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6" name="Freeform 1696"/>
          <p:cNvSpPr/>
          <p:nvPr/>
        </p:nvSpPr>
        <p:spPr>
          <a:xfrm>
            <a:off x="1609822" y="3799233"/>
            <a:ext cx="76330" cy="99326"/>
          </a:xfrm>
          <a:custGeom>
            <a:avLst/>
            <a:gdLst/>
            <a:ahLst/>
            <a:cxnLst/>
            <a:rect l="0" t="0" r="0" b="0"/>
            <a:pathLst>
              <a:path w="6939161" h="9029700">
                <a:moveTo>
                  <a:pt x="6939161" y="9029700"/>
                </a:moveTo>
                <a:lnTo>
                  <a:pt x="5742384" y="9029700"/>
                </a:lnTo>
                <a:lnTo>
                  <a:pt x="5742384" y="4859735"/>
                </a:lnTo>
                <a:lnTo>
                  <a:pt x="1190625" y="485973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886200"/>
                </a:lnTo>
                <a:lnTo>
                  <a:pt x="5742384" y="3886200"/>
                </a:lnTo>
                <a:lnTo>
                  <a:pt x="5742384" y="0"/>
                </a:lnTo>
                <a:lnTo>
                  <a:pt x="6939161" y="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7" name="Rectangle 1697"/>
          <p:cNvSpPr/>
          <p:nvPr/>
        </p:nvSpPr>
        <p:spPr>
          <a:xfrm>
            <a:off x="2736150" y="1272067"/>
            <a:ext cx="1832597" cy="354289"/>
          </a:xfrm>
          <a:prstGeom prst="rect">
            <a:avLst/>
          </a:prstGeom>
        </p:spPr>
      </p:sp>
      <p:sp>
        <p:nvSpPr>
          <p:cNvPr id="1698" name="Freeform 1698"/>
          <p:cNvSpPr/>
          <p:nvPr/>
        </p:nvSpPr>
        <p:spPr>
          <a:xfrm>
            <a:off x="2750338" y="1331578"/>
            <a:ext cx="119509" cy="76398"/>
          </a:xfrm>
          <a:custGeom>
            <a:avLst/>
            <a:gdLst/>
            <a:ahLst/>
            <a:cxnLst/>
            <a:rect l="0" t="0" r="0" b="0"/>
            <a:pathLst>
              <a:path w="10864453" h="6945312">
                <a:moveTo>
                  <a:pt x="4316016" y="3472656"/>
                </a:moveTo>
                <a:lnTo>
                  <a:pt x="9624219" y="3472656"/>
                </a:lnTo>
                <a:lnTo>
                  <a:pt x="1587500" y="942578"/>
                </a:lnTo>
                <a:close/>
                <a:moveTo>
                  <a:pt x="0" y="0"/>
                </a:moveTo>
                <a:lnTo>
                  <a:pt x="10864453" y="3472656"/>
                </a:lnTo>
                <a:lnTo>
                  <a:pt x="0" y="6945312"/>
                </a:lnTo>
                <a:lnTo>
                  <a:pt x="3671094" y="3472656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9" name="Freeform 1699"/>
          <p:cNvSpPr/>
          <p:nvPr/>
        </p:nvSpPr>
        <p:spPr>
          <a:xfrm>
            <a:off x="3116561" y="1319258"/>
            <a:ext cx="73942" cy="102120"/>
          </a:xfrm>
          <a:custGeom>
            <a:avLst/>
            <a:gdLst/>
            <a:ahLst/>
            <a:cxnLst/>
            <a:rect l="0" t="0" r="0" b="0"/>
            <a:pathLst>
              <a:path w="6722070" h="9283700">
                <a:moveTo>
                  <a:pt x="6722070" y="6344246"/>
                </a:moveTo>
                <a:cubicBezTo>
                  <a:pt x="6618750" y="7295158"/>
                  <a:pt x="6278695" y="8022829"/>
                  <a:pt x="5701903" y="8527257"/>
                </a:cubicBezTo>
                <a:cubicBezTo>
                  <a:pt x="5125243" y="9031553"/>
                  <a:pt x="4357357" y="9283700"/>
                  <a:pt x="3398242" y="9283700"/>
                </a:cubicBezTo>
                <a:cubicBezTo>
                  <a:pt x="2728449" y="9283700"/>
                  <a:pt x="2136179" y="9116153"/>
                  <a:pt x="1621432" y="8781058"/>
                </a:cubicBezTo>
                <a:cubicBezTo>
                  <a:pt x="1106818" y="8445964"/>
                  <a:pt x="708951" y="7971235"/>
                  <a:pt x="427831" y="7356872"/>
                </a:cubicBezTo>
                <a:cubicBezTo>
                  <a:pt x="146711" y="6742510"/>
                  <a:pt x="4101" y="6040240"/>
                  <a:pt x="0" y="5250061"/>
                </a:cubicBezTo>
                <a:lnTo>
                  <a:pt x="0" y="4077097"/>
                </a:lnTo>
                <a:cubicBezTo>
                  <a:pt x="0" y="3274484"/>
                  <a:pt x="140560" y="2562887"/>
                  <a:pt x="421679" y="1942307"/>
                </a:cubicBezTo>
                <a:cubicBezTo>
                  <a:pt x="702799" y="1321727"/>
                  <a:pt x="1106884" y="842897"/>
                  <a:pt x="1633934" y="505818"/>
                </a:cubicBezTo>
                <a:cubicBezTo>
                  <a:pt x="2161116" y="168606"/>
                  <a:pt x="2767806" y="0"/>
                  <a:pt x="3454003" y="0"/>
                </a:cubicBezTo>
                <a:cubicBezTo>
                  <a:pt x="4421452" y="0"/>
                  <a:pt x="5185238" y="261475"/>
                  <a:pt x="5745361" y="784424"/>
                </a:cubicBezTo>
                <a:cubicBezTo>
                  <a:pt x="6305484" y="1307373"/>
                  <a:pt x="6631053" y="2029818"/>
                  <a:pt x="6722070" y="2951758"/>
                </a:cubicBezTo>
                <a:lnTo>
                  <a:pt x="5953125" y="2951758"/>
                </a:lnTo>
                <a:cubicBezTo>
                  <a:pt x="5762889" y="1417969"/>
                  <a:pt x="4929849" y="651074"/>
                  <a:pt x="3454003" y="651074"/>
                </a:cubicBezTo>
                <a:cubicBezTo>
                  <a:pt x="2635514" y="651074"/>
                  <a:pt x="1983382" y="957263"/>
                  <a:pt x="1497607" y="1569641"/>
                </a:cubicBezTo>
                <a:cubicBezTo>
                  <a:pt x="1011832" y="2182019"/>
                  <a:pt x="768945" y="3028157"/>
                  <a:pt x="768945" y="4108054"/>
                </a:cubicBezTo>
                <a:lnTo>
                  <a:pt x="768945" y="5212755"/>
                </a:lnTo>
                <a:cubicBezTo>
                  <a:pt x="768945" y="6255478"/>
                  <a:pt x="1005615" y="7087196"/>
                  <a:pt x="1478954" y="7707908"/>
                </a:cubicBezTo>
                <a:cubicBezTo>
                  <a:pt x="1952294" y="8328488"/>
                  <a:pt x="2592057" y="8638779"/>
                  <a:pt x="3398242" y="8638779"/>
                </a:cubicBezTo>
                <a:cubicBezTo>
                  <a:pt x="4196093" y="8638779"/>
                  <a:pt x="4797557" y="8447617"/>
                  <a:pt x="5202634" y="8065294"/>
                </a:cubicBezTo>
                <a:cubicBezTo>
                  <a:pt x="5607843" y="7682839"/>
                  <a:pt x="5858007" y="7109156"/>
                  <a:pt x="5953125" y="634424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0" name="Freeform 1700"/>
          <p:cNvSpPr/>
          <p:nvPr/>
        </p:nvSpPr>
        <p:spPr>
          <a:xfrm>
            <a:off x="3204430" y="13448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1" name="Freeform 1701"/>
          <p:cNvSpPr/>
          <p:nvPr/>
        </p:nvSpPr>
        <p:spPr>
          <a:xfrm>
            <a:off x="3288049" y="134622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2" name="Freeform 1702"/>
          <p:cNvSpPr/>
          <p:nvPr/>
        </p:nvSpPr>
        <p:spPr>
          <a:xfrm>
            <a:off x="3360755" y="134482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3" name="Freeform 1703"/>
          <p:cNvSpPr/>
          <p:nvPr/>
        </p:nvSpPr>
        <p:spPr>
          <a:xfrm>
            <a:off x="3437273" y="134482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4" name="Freeform 1704"/>
          <p:cNvSpPr/>
          <p:nvPr/>
        </p:nvSpPr>
        <p:spPr>
          <a:xfrm>
            <a:off x="3515280" y="1346220"/>
            <a:ext cx="89905" cy="73761"/>
          </a:xfrm>
          <a:custGeom>
            <a:avLst/>
            <a:gdLst/>
            <a:ahLst/>
            <a:cxnLst/>
            <a:rect l="0" t="0" r="0" b="0"/>
            <a:pathLst>
              <a:path w="8173243" h="6705600">
                <a:moveTo>
                  <a:pt x="744140" y="0"/>
                </a:moveTo>
                <a:lnTo>
                  <a:pt x="744140" y="6079332"/>
                </a:lnTo>
                <a:lnTo>
                  <a:pt x="3726854" y="6079332"/>
                </a:lnTo>
                <a:lnTo>
                  <a:pt x="3726854" y="0"/>
                </a:lnTo>
                <a:lnTo>
                  <a:pt x="4470995" y="0"/>
                </a:lnTo>
                <a:lnTo>
                  <a:pt x="4470995" y="6079332"/>
                </a:lnTo>
                <a:lnTo>
                  <a:pt x="7429103" y="6079332"/>
                </a:lnTo>
                <a:lnTo>
                  <a:pt x="7429103" y="0"/>
                </a:lnTo>
                <a:lnTo>
                  <a:pt x="8173243" y="0"/>
                </a:lnTo>
                <a:lnTo>
                  <a:pt x="8173243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5" name="Freeform 1705"/>
          <p:cNvSpPr/>
          <p:nvPr/>
        </p:nvSpPr>
        <p:spPr>
          <a:xfrm>
            <a:off x="3621016" y="134482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6" name="Freeform 1706"/>
          <p:cNvSpPr/>
          <p:nvPr/>
        </p:nvSpPr>
        <p:spPr>
          <a:xfrm>
            <a:off x="3698147" y="13462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7" name="Freeform 1707"/>
          <p:cNvSpPr/>
          <p:nvPr/>
        </p:nvSpPr>
        <p:spPr>
          <a:xfrm>
            <a:off x="3771885" y="134482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8" name="Freeform 1708"/>
          <p:cNvSpPr/>
          <p:nvPr/>
        </p:nvSpPr>
        <p:spPr>
          <a:xfrm>
            <a:off x="3840146" y="134622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09" name="Freeform 1709"/>
          <p:cNvSpPr/>
          <p:nvPr/>
        </p:nvSpPr>
        <p:spPr>
          <a:xfrm>
            <a:off x="3915303" y="134622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0" name="Freeform 1710"/>
          <p:cNvSpPr/>
          <p:nvPr/>
        </p:nvSpPr>
        <p:spPr>
          <a:xfrm>
            <a:off x="3988008" y="13448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1" name="Freeform 1711"/>
          <p:cNvSpPr/>
          <p:nvPr/>
        </p:nvSpPr>
        <p:spPr>
          <a:xfrm>
            <a:off x="4071627" y="134622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2" name="Freeform 1712"/>
          <p:cNvSpPr/>
          <p:nvPr/>
        </p:nvSpPr>
        <p:spPr>
          <a:xfrm>
            <a:off x="4145013" y="134482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3" name="Freeform 1713"/>
          <p:cNvSpPr/>
          <p:nvPr/>
        </p:nvSpPr>
        <p:spPr>
          <a:xfrm>
            <a:off x="4224118" y="13462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4" name="Freeform 1714"/>
          <p:cNvSpPr/>
          <p:nvPr/>
        </p:nvSpPr>
        <p:spPr>
          <a:xfrm>
            <a:off x="4302630" y="13462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5" name="Freeform 1715"/>
          <p:cNvSpPr/>
          <p:nvPr/>
        </p:nvSpPr>
        <p:spPr>
          <a:xfrm>
            <a:off x="4376094" y="134482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6" name="Freeform 1716"/>
          <p:cNvSpPr/>
          <p:nvPr/>
        </p:nvSpPr>
        <p:spPr>
          <a:xfrm>
            <a:off x="3118812" y="15176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7" name="Freeform 1717"/>
          <p:cNvSpPr/>
          <p:nvPr/>
        </p:nvSpPr>
        <p:spPr>
          <a:xfrm>
            <a:off x="3197323" y="15176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8" name="Freeform 1718"/>
          <p:cNvSpPr/>
          <p:nvPr/>
        </p:nvSpPr>
        <p:spPr>
          <a:xfrm>
            <a:off x="3271061" y="151627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19" name="Freeform 1719"/>
          <p:cNvSpPr/>
          <p:nvPr/>
        </p:nvSpPr>
        <p:spPr>
          <a:xfrm>
            <a:off x="3339322" y="151767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0" name="Freeform 1720"/>
          <p:cNvSpPr/>
          <p:nvPr/>
        </p:nvSpPr>
        <p:spPr>
          <a:xfrm>
            <a:off x="3413524" y="151627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1" name="Freeform 1721"/>
          <p:cNvSpPr/>
          <p:nvPr/>
        </p:nvSpPr>
        <p:spPr>
          <a:xfrm>
            <a:off x="3481829" y="1517670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2" name="Freeform 1722"/>
          <p:cNvSpPr/>
          <p:nvPr/>
        </p:nvSpPr>
        <p:spPr>
          <a:xfrm>
            <a:off x="3557531" y="1517670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3" name="Freeform 1723"/>
          <p:cNvSpPr/>
          <p:nvPr/>
        </p:nvSpPr>
        <p:spPr>
          <a:xfrm>
            <a:off x="3654124" y="151627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4" name="Freeform 1724"/>
          <p:cNvSpPr/>
          <p:nvPr/>
        </p:nvSpPr>
        <p:spPr>
          <a:xfrm>
            <a:off x="3731256" y="15176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5" name="Freeform 1725"/>
          <p:cNvSpPr/>
          <p:nvPr/>
        </p:nvSpPr>
        <p:spPr>
          <a:xfrm>
            <a:off x="3801309" y="151767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6" name="Freeform 1726"/>
          <p:cNvSpPr/>
          <p:nvPr/>
        </p:nvSpPr>
        <p:spPr>
          <a:xfrm>
            <a:off x="3870782" y="151627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7" name="Freeform 1727"/>
          <p:cNvSpPr/>
          <p:nvPr/>
        </p:nvSpPr>
        <p:spPr>
          <a:xfrm>
            <a:off x="3979060" y="151627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8" name="Freeform 1728"/>
          <p:cNvSpPr/>
          <p:nvPr/>
        </p:nvSpPr>
        <p:spPr>
          <a:xfrm>
            <a:off x="4055780" y="15176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29" name="Freeform 1729"/>
          <p:cNvSpPr/>
          <p:nvPr/>
        </p:nvSpPr>
        <p:spPr>
          <a:xfrm>
            <a:off x="4129517" y="151627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0" name="Freeform 1730"/>
          <p:cNvSpPr/>
          <p:nvPr/>
        </p:nvSpPr>
        <p:spPr>
          <a:xfrm>
            <a:off x="4197778" y="151767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1" name="Freeform 1731"/>
          <p:cNvSpPr/>
          <p:nvPr/>
        </p:nvSpPr>
        <p:spPr>
          <a:xfrm>
            <a:off x="4262099" y="151627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2" name="Freeform 1732"/>
          <p:cNvSpPr/>
          <p:nvPr/>
        </p:nvSpPr>
        <p:spPr>
          <a:xfrm>
            <a:off x="4339571" y="1517670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3" name="Freeform 1733"/>
          <p:cNvSpPr/>
          <p:nvPr/>
        </p:nvSpPr>
        <p:spPr>
          <a:xfrm>
            <a:off x="4441553" y="1517670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4" name="Rectangle 1734"/>
          <p:cNvSpPr/>
          <p:nvPr/>
        </p:nvSpPr>
        <p:spPr>
          <a:xfrm>
            <a:off x="3107625" y="1630167"/>
            <a:ext cx="1286497" cy="1024889"/>
          </a:xfrm>
          <a:prstGeom prst="rect">
            <a:avLst/>
          </a:prstGeom>
        </p:spPr>
      </p:sp>
      <p:sp>
        <p:nvSpPr>
          <p:cNvPr id="1735" name="Freeform 1735"/>
          <p:cNvSpPr/>
          <p:nvPr/>
        </p:nvSpPr>
        <p:spPr>
          <a:xfrm>
            <a:off x="3118812" y="16891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6" name="Freeform 1736"/>
          <p:cNvSpPr/>
          <p:nvPr/>
        </p:nvSpPr>
        <p:spPr>
          <a:xfrm>
            <a:off x="3196710" y="168772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7" name="Freeform 1737"/>
          <p:cNvSpPr/>
          <p:nvPr/>
        </p:nvSpPr>
        <p:spPr>
          <a:xfrm>
            <a:off x="3269670" y="16877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8" name="Freeform 1738"/>
          <p:cNvSpPr/>
          <p:nvPr/>
        </p:nvSpPr>
        <p:spPr>
          <a:xfrm>
            <a:off x="3352881" y="1689120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39" name="Freeform 1739"/>
          <p:cNvSpPr/>
          <p:nvPr/>
        </p:nvSpPr>
        <p:spPr>
          <a:xfrm>
            <a:off x="3411763" y="16891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0" name="Freeform 1740"/>
          <p:cNvSpPr/>
          <p:nvPr/>
        </p:nvSpPr>
        <p:spPr>
          <a:xfrm>
            <a:off x="3485227" y="16877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1" name="Freeform 1741"/>
          <p:cNvSpPr/>
          <p:nvPr/>
        </p:nvSpPr>
        <p:spPr>
          <a:xfrm>
            <a:off x="3564005" y="1687723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2" name="Freeform 1742"/>
          <p:cNvSpPr/>
          <p:nvPr/>
        </p:nvSpPr>
        <p:spPr>
          <a:xfrm>
            <a:off x="3639194" y="16891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3" name="Freeform 1743"/>
          <p:cNvSpPr/>
          <p:nvPr/>
        </p:nvSpPr>
        <p:spPr>
          <a:xfrm>
            <a:off x="3717092" y="168772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4" name="Freeform 1744"/>
          <p:cNvSpPr/>
          <p:nvPr/>
        </p:nvSpPr>
        <p:spPr>
          <a:xfrm>
            <a:off x="3790053" y="16877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5" name="Freeform 1745"/>
          <p:cNvSpPr/>
          <p:nvPr/>
        </p:nvSpPr>
        <p:spPr>
          <a:xfrm>
            <a:off x="3873672" y="168912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6" name="Freeform 1746"/>
          <p:cNvSpPr/>
          <p:nvPr/>
        </p:nvSpPr>
        <p:spPr>
          <a:xfrm>
            <a:off x="3947058" y="168772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7" name="Freeform 1747"/>
          <p:cNvSpPr/>
          <p:nvPr/>
        </p:nvSpPr>
        <p:spPr>
          <a:xfrm>
            <a:off x="4026163" y="16891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8" name="Freeform 1748"/>
          <p:cNvSpPr/>
          <p:nvPr/>
        </p:nvSpPr>
        <p:spPr>
          <a:xfrm>
            <a:off x="4104675" y="16891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49" name="Freeform 1749"/>
          <p:cNvSpPr/>
          <p:nvPr/>
        </p:nvSpPr>
        <p:spPr>
          <a:xfrm>
            <a:off x="4178342" y="1689120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0" name="Freeform 1750"/>
          <p:cNvSpPr/>
          <p:nvPr/>
        </p:nvSpPr>
        <p:spPr>
          <a:xfrm>
            <a:off x="4292851" y="16891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1" name="Freeform 1751"/>
          <p:cNvSpPr/>
          <p:nvPr/>
        </p:nvSpPr>
        <p:spPr>
          <a:xfrm>
            <a:off x="3119152" y="186057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2" name="Freeform 1752"/>
          <p:cNvSpPr/>
          <p:nvPr/>
        </p:nvSpPr>
        <p:spPr>
          <a:xfrm>
            <a:off x="3196904" y="18605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3" name="Freeform 1753"/>
          <p:cNvSpPr/>
          <p:nvPr/>
        </p:nvSpPr>
        <p:spPr>
          <a:xfrm>
            <a:off x="3270369" y="185917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4" name="Freeform 1754"/>
          <p:cNvSpPr/>
          <p:nvPr/>
        </p:nvSpPr>
        <p:spPr>
          <a:xfrm>
            <a:off x="3339861" y="1860570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5" name="Freeform 1755"/>
          <p:cNvSpPr/>
          <p:nvPr/>
        </p:nvSpPr>
        <p:spPr>
          <a:xfrm>
            <a:off x="3426935" y="185917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6" name="Freeform 1756"/>
          <p:cNvSpPr/>
          <p:nvPr/>
        </p:nvSpPr>
        <p:spPr>
          <a:xfrm>
            <a:off x="3499896" y="185917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7" name="Freeform 1757"/>
          <p:cNvSpPr/>
          <p:nvPr/>
        </p:nvSpPr>
        <p:spPr>
          <a:xfrm>
            <a:off x="3577028" y="18605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8" name="Freeform 1758"/>
          <p:cNvSpPr/>
          <p:nvPr/>
        </p:nvSpPr>
        <p:spPr>
          <a:xfrm>
            <a:off x="3655539" y="18605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59" name="Freeform 1759"/>
          <p:cNvSpPr/>
          <p:nvPr/>
        </p:nvSpPr>
        <p:spPr>
          <a:xfrm>
            <a:off x="3729004" y="185917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0" name="Freeform 1760"/>
          <p:cNvSpPr/>
          <p:nvPr/>
        </p:nvSpPr>
        <p:spPr>
          <a:xfrm>
            <a:off x="3840083" y="18605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1" name="Freeform 1761"/>
          <p:cNvSpPr/>
          <p:nvPr/>
        </p:nvSpPr>
        <p:spPr>
          <a:xfrm>
            <a:off x="3913547" y="185917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2" name="Freeform 1762"/>
          <p:cNvSpPr/>
          <p:nvPr/>
        </p:nvSpPr>
        <p:spPr>
          <a:xfrm>
            <a:off x="3997167" y="186057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3" name="Freeform 1763"/>
          <p:cNvSpPr/>
          <p:nvPr/>
        </p:nvSpPr>
        <p:spPr>
          <a:xfrm>
            <a:off x="4075259" y="1860570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4" name="Freeform 1764"/>
          <p:cNvSpPr/>
          <p:nvPr/>
        </p:nvSpPr>
        <p:spPr>
          <a:xfrm>
            <a:off x="4171781" y="1860570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5" name="Freeform 1765"/>
          <p:cNvSpPr/>
          <p:nvPr/>
        </p:nvSpPr>
        <p:spPr>
          <a:xfrm>
            <a:off x="3118812" y="20320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6" name="Freeform 1766"/>
          <p:cNvSpPr/>
          <p:nvPr/>
        </p:nvSpPr>
        <p:spPr>
          <a:xfrm>
            <a:off x="3192276" y="20306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7" name="Freeform 1767"/>
          <p:cNvSpPr/>
          <p:nvPr/>
        </p:nvSpPr>
        <p:spPr>
          <a:xfrm>
            <a:off x="3263026" y="2032020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8" name="Freeform 1768"/>
          <p:cNvSpPr/>
          <p:nvPr/>
        </p:nvSpPr>
        <p:spPr>
          <a:xfrm>
            <a:off x="3342801" y="2032020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69" name="Freeform 1769"/>
          <p:cNvSpPr/>
          <p:nvPr/>
        </p:nvSpPr>
        <p:spPr>
          <a:xfrm>
            <a:off x="3412304" y="20306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0" name="Freeform 1770"/>
          <p:cNvSpPr/>
          <p:nvPr/>
        </p:nvSpPr>
        <p:spPr>
          <a:xfrm>
            <a:off x="3483053" y="2032020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1" name="Freeform 1771"/>
          <p:cNvSpPr/>
          <p:nvPr/>
        </p:nvSpPr>
        <p:spPr>
          <a:xfrm>
            <a:off x="3565695" y="20306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2" name="Freeform 1772"/>
          <p:cNvSpPr/>
          <p:nvPr/>
        </p:nvSpPr>
        <p:spPr>
          <a:xfrm>
            <a:off x="3649314" y="203202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3" name="Freeform 1773"/>
          <p:cNvSpPr/>
          <p:nvPr/>
        </p:nvSpPr>
        <p:spPr>
          <a:xfrm>
            <a:off x="3761013" y="20320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4" name="Freeform 1774"/>
          <p:cNvSpPr/>
          <p:nvPr/>
        </p:nvSpPr>
        <p:spPr>
          <a:xfrm>
            <a:off x="3834477" y="20306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5" name="Freeform 1775"/>
          <p:cNvSpPr/>
          <p:nvPr/>
        </p:nvSpPr>
        <p:spPr>
          <a:xfrm>
            <a:off x="3113765" y="220207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6" name="Freeform 1776"/>
          <p:cNvSpPr/>
          <p:nvPr/>
        </p:nvSpPr>
        <p:spPr>
          <a:xfrm>
            <a:off x="3197044" y="22034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7" name="Freeform 1777"/>
          <p:cNvSpPr/>
          <p:nvPr/>
        </p:nvSpPr>
        <p:spPr>
          <a:xfrm>
            <a:off x="3274942" y="220207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8" name="Freeform 1778"/>
          <p:cNvSpPr/>
          <p:nvPr/>
        </p:nvSpPr>
        <p:spPr>
          <a:xfrm>
            <a:off x="3347902" y="220207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79" name="Freeform 1779"/>
          <p:cNvSpPr/>
          <p:nvPr/>
        </p:nvSpPr>
        <p:spPr>
          <a:xfrm>
            <a:off x="3417394" y="2203470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0" name="Freeform 1780"/>
          <p:cNvSpPr/>
          <p:nvPr/>
        </p:nvSpPr>
        <p:spPr>
          <a:xfrm>
            <a:off x="3500035" y="220207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1" name="Freeform 1781"/>
          <p:cNvSpPr/>
          <p:nvPr/>
        </p:nvSpPr>
        <p:spPr>
          <a:xfrm>
            <a:off x="3568982" y="220347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2" name="Freeform 1782"/>
          <p:cNvSpPr/>
          <p:nvPr/>
        </p:nvSpPr>
        <p:spPr>
          <a:xfrm>
            <a:off x="3650632" y="220207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3" name="Freeform 1783"/>
          <p:cNvSpPr/>
          <p:nvPr/>
        </p:nvSpPr>
        <p:spPr>
          <a:xfrm>
            <a:off x="3727764" y="22034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4" name="Freeform 1784"/>
          <p:cNvSpPr/>
          <p:nvPr/>
        </p:nvSpPr>
        <p:spPr>
          <a:xfrm>
            <a:off x="3806275" y="22034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5" name="Freeform 1785"/>
          <p:cNvSpPr/>
          <p:nvPr/>
        </p:nvSpPr>
        <p:spPr>
          <a:xfrm>
            <a:off x="3885127" y="2202073"/>
            <a:ext cx="95022" cy="76555"/>
          </a:xfrm>
          <a:custGeom>
            <a:avLst/>
            <a:gdLst/>
            <a:ahLst/>
            <a:cxnLst/>
            <a:rect l="0" t="0" r="0" b="0"/>
            <a:pathLst>
              <a:path w="8638381" h="6959600">
                <a:moveTo>
                  <a:pt x="737989" y="3187700"/>
                </a:moveTo>
                <a:lnTo>
                  <a:pt x="2654102" y="3187700"/>
                </a:lnTo>
                <a:cubicBezTo>
                  <a:pt x="2674871" y="2574661"/>
                  <a:pt x="2815431" y="2022674"/>
                  <a:pt x="3075781" y="1531740"/>
                </a:cubicBezTo>
                <a:cubicBezTo>
                  <a:pt x="3336263" y="1040805"/>
                  <a:pt x="3689747" y="662782"/>
                  <a:pt x="4136231" y="397669"/>
                </a:cubicBezTo>
                <a:cubicBezTo>
                  <a:pt x="4582716" y="132557"/>
                  <a:pt x="5082977" y="0"/>
                  <a:pt x="5637014" y="0"/>
                </a:cubicBezTo>
                <a:cubicBezTo>
                  <a:pt x="6525750" y="0"/>
                  <a:pt x="7248128" y="314325"/>
                  <a:pt x="7804150" y="942975"/>
                </a:cubicBezTo>
                <a:cubicBezTo>
                  <a:pt x="8360304" y="1571493"/>
                  <a:pt x="8638381" y="2402615"/>
                  <a:pt x="8638381" y="3436343"/>
                </a:cubicBezTo>
                <a:lnTo>
                  <a:pt x="8638381" y="3585171"/>
                </a:lnTo>
                <a:cubicBezTo>
                  <a:pt x="8638381" y="4230357"/>
                  <a:pt x="8512241" y="4813499"/>
                  <a:pt x="8259961" y="5334596"/>
                </a:cubicBezTo>
                <a:cubicBezTo>
                  <a:pt x="8007813" y="5855560"/>
                  <a:pt x="7654330" y="6256669"/>
                  <a:pt x="7199511" y="6537921"/>
                </a:cubicBezTo>
                <a:cubicBezTo>
                  <a:pt x="6744825" y="6819041"/>
                  <a:pt x="6228093" y="6959600"/>
                  <a:pt x="5649317" y="6959600"/>
                </a:cubicBezTo>
                <a:cubicBezTo>
                  <a:pt x="4793522" y="6959600"/>
                  <a:pt x="4090723" y="6669617"/>
                  <a:pt x="3540919" y="6089650"/>
                </a:cubicBezTo>
                <a:cubicBezTo>
                  <a:pt x="2991115" y="5509684"/>
                  <a:pt x="2695509" y="4753240"/>
                  <a:pt x="2654102" y="3820319"/>
                </a:cubicBezTo>
                <a:lnTo>
                  <a:pt x="737989" y="3820319"/>
                </a:lnTo>
                <a:lnTo>
                  <a:pt x="737989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737989" y="127000"/>
                </a:lnTo>
                <a:close/>
                <a:moveTo>
                  <a:pt x="3385939" y="3585369"/>
                </a:moveTo>
                <a:cubicBezTo>
                  <a:pt x="3385939" y="4387586"/>
                  <a:pt x="3593637" y="5046134"/>
                  <a:pt x="4009033" y="5561013"/>
                </a:cubicBezTo>
                <a:cubicBezTo>
                  <a:pt x="4424561" y="6075892"/>
                  <a:pt x="4971322" y="6333332"/>
                  <a:pt x="5649317" y="6333332"/>
                </a:cubicBezTo>
                <a:cubicBezTo>
                  <a:pt x="6314877" y="6333332"/>
                  <a:pt x="6855420" y="6075892"/>
                  <a:pt x="7270948" y="5561013"/>
                </a:cubicBezTo>
                <a:cubicBezTo>
                  <a:pt x="7686477" y="5046134"/>
                  <a:pt x="7894241" y="4366882"/>
                  <a:pt x="7894241" y="3523258"/>
                </a:cubicBezTo>
                <a:lnTo>
                  <a:pt x="7894241" y="3380582"/>
                </a:lnTo>
                <a:cubicBezTo>
                  <a:pt x="7894241" y="2586567"/>
                  <a:pt x="7685418" y="1930070"/>
                  <a:pt x="7267773" y="1411090"/>
                </a:cubicBezTo>
                <a:cubicBezTo>
                  <a:pt x="6850261" y="892109"/>
                  <a:pt x="6306675" y="632619"/>
                  <a:pt x="5637014" y="632619"/>
                </a:cubicBezTo>
                <a:cubicBezTo>
                  <a:pt x="4971322" y="632619"/>
                  <a:pt x="4429720" y="892109"/>
                  <a:pt x="4012208" y="1411090"/>
                </a:cubicBezTo>
                <a:cubicBezTo>
                  <a:pt x="3594695" y="1930070"/>
                  <a:pt x="3385939" y="2609321"/>
                  <a:pt x="3385939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6" name="Freeform 1786"/>
          <p:cNvSpPr/>
          <p:nvPr/>
        </p:nvSpPr>
        <p:spPr>
          <a:xfrm>
            <a:off x="3119152" y="237492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7" name="Freeform 1787"/>
          <p:cNvSpPr/>
          <p:nvPr/>
        </p:nvSpPr>
        <p:spPr>
          <a:xfrm>
            <a:off x="3191857" y="23735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8" name="Freeform 1788"/>
          <p:cNvSpPr/>
          <p:nvPr/>
        </p:nvSpPr>
        <p:spPr>
          <a:xfrm>
            <a:off x="3270362" y="237352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89" name="Freeform 1789"/>
          <p:cNvSpPr/>
          <p:nvPr/>
        </p:nvSpPr>
        <p:spPr>
          <a:xfrm>
            <a:off x="3338623" y="237492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0" name="Freeform 1790"/>
          <p:cNvSpPr/>
          <p:nvPr/>
        </p:nvSpPr>
        <p:spPr>
          <a:xfrm>
            <a:off x="3412825" y="237352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1" name="Freeform 1791"/>
          <p:cNvSpPr/>
          <p:nvPr/>
        </p:nvSpPr>
        <p:spPr>
          <a:xfrm>
            <a:off x="3485786" y="237352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2" name="Freeform 1792"/>
          <p:cNvSpPr/>
          <p:nvPr/>
        </p:nvSpPr>
        <p:spPr>
          <a:xfrm>
            <a:off x="3558347" y="2342789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3" name="Freeform 1793"/>
          <p:cNvSpPr/>
          <p:nvPr/>
        </p:nvSpPr>
        <p:spPr>
          <a:xfrm>
            <a:off x="3634706" y="237352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4" name="Freeform 1794"/>
          <p:cNvSpPr/>
          <p:nvPr/>
        </p:nvSpPr>
        <p:spPr>
          <a:xfrm>
            <a:off x="3718325" y="237492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5" name="Freeform 1795"/>
          <p:cNvSpPr/>
          <p:nvPr/>
        </p:nvSpPr>
        <p:spPr>
          <a:xfrm>
            <a:off x="3791711" y="237352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6" name="Freeform 1796"/>
          <p:cNvSpPr/>
          <p:nvPr/>
        </p:nvSpPr>
        <p:spPr>
          <a:xfrm>
            <a:off x="3870817" y="23749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7" name="Freeform 1797"/>
          <p:cNvSpPr/>
          <p:nvPr/>
        </p:nvSpPr>
        <p:spPr>
          <a:xfrm>
            <a:off x="3949328" y="237492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8" name="Freeform 1798"/>
          <p:cNvSpPr/>
          <p:nvPr/>
        </p:nvSpPr>
        <p:spPr>
          <a:xfrm>
            <a:off x="4028180" y="2374920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799" name="Freeform 1799"/>
          <p:cNvSpPr/>
          <p:nvPr/>
        </p:nvSpPr>
        <p:spPr>
          <a:xfrm>
            <a:off x="4124702" y="2374920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0" name="Freeform 1800"/>
          <p:cNvSpPr/>
          <p:nvPr/>
        </p:nvSpPr>
        <p:spPr>
          <a:xfrm>
            <a:off x="3118812" y="25463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1" name="Freeform 1801"/>
          <p:cNvSpPr/>
          <p:nvPr/>
        </p:nvSpPr>
        <p:spPr>
          <a:xfrm>
            <a:off x="3196710" y="254497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2" name="Freeform 1802"/>
          <p:cNvSpPr/>
          <p:nvPr/>
        </p:nvSpPr>
        <p:spPr>
          <a:xfrm>
            <a:off x="3269670" y="254497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3" name="Freeform 1803"/>
          <p:cNvSpPr/>
          <p:nvPr/>
        </p:nvSpPr>
        <p:spPr>
          <a:xfrm>
            <a:off x="3349334" y="2515357"/>
            <a:ext cx="86083" cy="133134"/>
          </a:xfrm>
          <a:custGeom>
            <a:avLst/>
            <a:gdLst/>
            <a:ahLst/>
            <a:cxnLst/>
            <a:rect l="0" t="0" r="0" b="0"/>
            <a:pathLst>
              <a:path w="7825780" h="12103100">
                <a:moveTo>
                  <a:pt x="0" y="6224786"/>
                </a:moveTo>
                <a:cubicBezTo>
                  <a:pt x="0" y="5134174"/>
                  <a:pt x="213916" y="4272823"/>
                  <a:pt x="641747" y="3640733"/>
                </a:cubicBezTo>
                <a:cubicBezTo>
                  <a:pt x="1069711" y="3008511"/>
                  <a:pt x="1661914" y="2692400"/>
                  <a:pt x="2418358" y="2692400"/>
                </a:cubicBezTo>
                <a:cubicBezTo>
                  <a:pt x="2852539" y="2692400"/>
                  <a:pt x="3220509" y="2789569"/>
                  <a:pt x="3522266" y="2983905"/>
                </a:cubicBezTo>
                <a:lnTo>
                  <a:pt x="3522266" y="0"/>
                </a:lnTo>
                <a:lnTo>
                  <a:pt x="4260255" y="0"/>
                </a:lnTo>
                <a:lnTo>
                  <a:pt x="4260255" y="3008710"/>
                </a:lnTo>
                <a:cubicBezTo>
                  <a:pt x="4566113" y="2797837"/>
                  <a:pt x="4946452" y="2692400"/>
                  <a:pt x="5401271" y="2692400"/>
                </a:cubicBezTo>
                <a:cubicBezTo>
                  <a:pt x="6116439" y="2692400"/>
                  <a:pt x="6688997" y="2979540"/>
                  <a:pt x="7118946" y="3553818"/>
                </a:cubicBezTo>
                <a:cubicBezTo>
                  <a:pt x="7548894" y="4128096"/>
                  <a:pt x="7782455" y="4927534"/>
                  <a:pt x="7819628" y="5952133"/>
                </a:cubicBezTo>
                <a:lnTo>
                  <a:pt x="7825780" y="6354961"/>
                </a:lnTo>
                <a:cubicBezTo>
                  <a:pt x="7825780" y="7375459"/>
                  <a:pt x="7610806" y="8180123"/>
                  <a:pt x="7180858" y="8768954"/>
                </a:cubicBezTo>
                <a:cubicBezTo>
                  <a:pt x="6750910" y="9357652"/>
                  <a:pt x="6161816" y="9652000"/>
                  <a:pt x="5413574" y="9652000"/>
                </a:cubicBezTo>
                <a:cubicBezTo>
                  <a:pt x="4967089" y="9652000"/>
                  <a:pt x="4582650" y="9554831"/>
                  <a:pt x="4260255" y="9360496"/>
                </a:cubicBezTo>
                <a:lnTo>
                  <a:pt x="4260255" y="12103100"/>
                </a:lnTo>
                <a:lnTo>
                  <a:pt x="3522266" y="12103100"/>
                </a:lnTo>
                <a:lnTo>
                  <a:pt x="3522266" y="9366846"/>
                </a:lnTo>
                <a:cubicBezTo>
                  <a:pt x="3203972" y="9556948"/>
                  <a:pt x="2831902" y="9652000"/>
                  <a:pt x="2406055" y="9652000"/>
                </a:cubicBezTo>
                <a:cubicBezTo>
                  <a:pt x="1699088" y="9652000"/>
                  <a:pt x="1132681" y="9384507"/>
                  <a:pt x="706835" y="8849519"/>
                </a:cubicBezTo>
                <a:cubicBezTo>
                  <a:pt x="281120" y="8314399"/>
                  <a:pt x="47559" y="7573765"/>
                  <a:pt x="6152" y="6627615"/>
                </a:cubicBezTo>
                <a:close/>
                <a:moveTo>
                  <a:pt x="7087989" y="6224985"/>
                </a:moveTo>
                <a:cubicBezTo>
                  <a:pt x="7087989" y="5324475"/>
                  <a:pt x="6925667" y="4616054"/>
                  <a:pt x="6601024" y="4099719"/>
                </a:cubicBezTo>
                <a:cubicBezTo>
                  <a:pt x="6276512" y="3583253"/>
                  <a:pt x="5822818" y="3325019"/>
                  <a:pt x="5239941" y="3325019"/>
                </a:cubicBezTo>
                <a:cubicBezTo>
                  <a:pt x="4818327" y="3325019"/>
                  <a:pt x="4491765" y="3415904"/>
                  <a:pt x="4260255" y="3597672"/>
                </a:cubicBezTo>
                <a:lnTo>
                  <a:pt x="4260255" y="8784035"/>
                </a:lnTo>
                <a:cubicBezTo>
                  <a:pt x="4520605" y="8945166"/>
                  <a:pt x="4851334" y="9025732"/>
                  <a:pt x="5252442" y="9025732"/>
                </a:cubicBezTo>
                <a:cubicBezTo>
                  <a:pt x="5831219" y="9025732"/>
                  <a:pt x="6281804" y="8793361"/>
                  <a:pt x="6604199" y="8328621"/>
                </a:cubicBezTo>
                <a:cubicBezTo>
                  <a:pt x="6926725" y="7863880"/>
                  <a:pt x="7087989" y="7162668"/>
                  <a:pt x="7087989" y="6224985"/>
                </a:cubicBezTo>
                <a:close/>
                <a:moveTo>
                  <a:pt x="744141" y="6355160"/>
                </a:moveTo>
                <a:cubicBezTo>
                  <a:pt x="744141" y="7197858"/>
                  <a:pt x="899121" y="7853628"/>
                  <a:pt x="1209080" y="8322469"/>
                </a:cubicBezTo>
                <a:cubicBezTo>
                  <a:pt x="1519172" y="8791311"/>
                  <a:pt x="1965722" y="9025732"/>
                  <a:pt x="2548731" y="9025732"/>
                </a:cubicBezTo>
                <a:cubicBezTo>
                  <a:pt x="2937272" y="9025732"/>
                  <a:pt x="3261784" y="8941065"/>
                  <a:pt x="3522266" y="8771732"/>
                </a:cubicBezTo>
                <a:lnTo>
                  <a:pt x="3522266" y="3579019"/>
                </a:lnTo>
                <a:cubicBezTo>
                  <a:pt x="3282421" y="3409686"/>
                  <a:pt x="2962010" y="3325019"/>
                  <a:pt x="2561035" y="3325019"/>
                </a:cubicBezTo>
                <a:cubicBezTo>
                  <a:pt x="1982258" y="3325019"/>
                  <a:pt x="1534716" y="3582194"/>
                  <a:pt x="1218406" y="4096544"/>
                </a:cubicBezTo>
                <a:cubicBezTo>
                  <a:pt x="902229" y="4610762"/>
                  <a:pt x="744141" y="5363634"/>
                  <a:pt x="744141" y="635516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4" name="Freeform 1804"/>
          <p:cNvSpPr/>
          <p:nvPr/>
        </p:nvSpPr>
        <p:spPr>
          <a:xfrm>
            <a:off x="3449045" y="254497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5" name="Freeform 1805"/>
          <p:cNvSpPr/>
          <p:nvPr/>
        </p:nvSpPr>
        <p:spPr>
          <a:xfrm>
            <a:off x="3521403" y="254497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6" name="Freeform 1806"/>
          <p:cNvSpPr/>
          <p:nvPr/>
        </p:nvSpPr>
        <p:spPr>
          <a:xfrm>
            <a:off x="3593349" y="254497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7" name="Freeform 1807"/>
          <p:cNvSpPr/>
          <p:nvPr/>
        </p:nvSpPr>
        <p:spPr>
          <a:xfrm>
            <a:off x="3670068" y="254637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8" name="Freeform 1808"/>
          <p:cNvSpPr/>
          <p:nvPr/>
        </p:nvSpPr>
        <p:spPr>
          <a:xfrm>
            <a:off x="3748579" y="2519827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09" name="Rectangle 1809"/>
          <p:cNvSpPr/>
          <p:nvPr/>
        </p:nvSpPr>
        <p:spPr>
          <a:xfrm>
            <a:off x="3185393" y="3648086"/>
            <a:ext cx="1524827" cy="245743"/>
          </a:xfrm>
          <a:prstGeom prst="rect">
            <a:avLst/>
          </a:prstGeom>
        </p:spPr>
      </p:sp>
      <p:sp>
        <p:nvSpPr>
          <p:cNvPr id="1810" name="Freeform 1810"/>
          <p:cNvSpPr/>
          <p:nvPr/>
        </p:nvSpPr>
        <p:spPr>
          <a:xfrm>
            <a:off x="3194224" y="3694103"/>
            <a:ext cx="43705" cy="43707"/>
          </a:xfrm>
          <a:custGeom>
            <a:avLst/>
            <a:gdLst/>
            <a:ahLst/>
            <a:cxnLst/>
            <a:rect l="0" t="0" r="0" b="0"/>
            <a:pathLst>
              <a:path w="5463183" h="5463382">
                <a:moveTo>
                  <a:pt x="2734668" y="0"/>
                </a:moveTo>
                <a:cubicBezTo>
                  <a:pt x="3189354" y="0"/>
                  <a:pt x="3635772" y="117872"/>
                  <a:pt x="4073922" y="353616"/>
                </a:cubicBezTo>
                <a:cubicBezTo>
                  <a:pt x="4512204" y="589228"/>
                  <a:pt x="4853318" y="926174"/>
                  <a:pt x="5097264" y="1364457"/>
                </a:cubicBezTo>
                <a:cubicBezTo>
                  <a:pt x="5341210" y="1802607"/>
                  <a:pt x="5463183" y="2257293"/>
                  <a:pt x="5463183" y="2728516"/>
                </a:cubicBezTo>
                <a:cubicBezTo>
                  <a:pt x="5463183" y="3485092"/>
                  <a:pt x="5196483" y="4130080"/>
                  <a:pt x="4663083" y="4663480"/>
                </a:cubicBezTo>
                <a:cubicBezTo>
                  <a:pt x="4129815" y="5196748"/>
                  <a:pt x="3487010" y="5463382"/>
                  <a:pt x="2734668" y="5463382"/>
                </a:cubicBezTo>
                <a:cubicBezTo>
                  <a:pt x="1978091" y="5463382"/>
                  <a:pt x="1333170" y="5196748"/>
                  <a:pt x="799902" y="4663480"/>
                </a:cubicBezTo>
                <a:cubicBezTo>
                  <a:pt x="266634" y="4130080"/>
                  <a:pt x="0" y="3485092"/>
                  <a:pt x="0" y="2728516"/>
                </a:cubicBezTo>
                <a:cubicBezTo>
                  <a:pt x="0" y="2253192"/>
                  <a:pt x="121907" y="1797447"/>
                  <a:pt x="365721" y="1361282"/>
                </a:cubicBezTo>
                <a:cubicBezTo>
                  <a:pt x="609666" y="925116"/>
                  <a:pt x="950714" y="589228"/>
                  <a:pt x="1388864" y="353616"/>
                </a:cubicBezTo>
                <a:cubicBezTo>
                  <a:pt x="1827147" y="117872"/>
                  <a:pt x="2275748" y="0"/>
                  <a:pt x="2734668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1" name="Freeform 1811"/>
          <p:cNvSpPr/>
          <p:nvPr/>
        </p:nvSpPr>
        <p:spPr>
          <a:xfrm>
            <a:off x="3343149" y="3672368"/>
            <a:ext cx="76001" cy="72237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2" name="Freeform 1812"/>
          <p:cNvSpPr/>
          <p:nvPr/>
        </p:nvSpPr>
        <p:spPr>
          <a:xfrm>
            <a:off x="3429171" y="3689945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3" name="Freeform 1813"/>
          <p:cNvSpPr/>
          <p:nvPr/>
        </p:nvSpPr>
        <p:spPr>
          <a:xfrm>
            <a:off x="3481494" y="3690961"/>
            <a:ext cx="48517" cy="53644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4" name="Freeform 1814"/>
          <p:cNvSpPr/>
          <p:nvPr/>
        </p:nvSpPr>
        <p:spPr>
          <a:xfrm>
            <a:off x="3533522" y="3689945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5" name="Freeform 1815"/>
          <p:cNvSpPr/>
          <p:nvPr/>
        </p:nvSpPr>
        <p:spPr>
          <a:xfrm>
            <a:off x="3585732" y="3690961"/>
            <a:ext cx="60772" cy="69799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6" name="Freeform 1816"/>
          <p:cNvSpPr/>
          <p:nvPr/>
        </p:nvSpPr>
        <p:spPr>
          <a:xfrm>
            <a:off x="3652899" y="3690961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7" name="Freeform 1817"/>
          <p:cNvSpPr/>
          <p:nvPr/>
        </p:nvSpPr>
        <p:spPr>
          <a:xfrm>
            <a:off x="3711449" y="3690961"/>
            <a:ext cx="50898" cy="53644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8" name="Freeform 1818"/>
          <p:cNvSpPr/>
          <p:nvPr/>
        </p:nvSpPr>
        <p:spPr>
          <a:xfrm>
            <a:off x="3765574" y="3689945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19" name="Freeform 1819"/>
          <p:cNvSpPr/>
          <p:nvPr/>
        </p:nvSpPr>
        <p:spPr>
          <a:xfrm>
            <a:off x="3849178" y="369096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0" name="Freeform 1820"/>
          <p:cNvSpPr/>
          <p:nvPr/>
        </p:nvSpPr>
        <p:spPr>
          <a:xfrm>
            <a:off x="3907008" y="3689945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1" name="Freeform 1821"/>
          <p:cNvSpPr/>
          <p:nvPr/>
        </p:nvSpPr>
        <p:spPr>
          <a:xfrm>
            <a:off x="3961574" y="368994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2" name="Freeform 1822"/>
          <p:cNvSpPr/>
          <p:nvPr/>
        </p:nvSpPr>
        <p:spPr>
          <a:xfrm>
            <a:off x="4022613" y="3690961"/>
            <a:ext cx="33982" cy="53644"/>
          </a:xfrm>
          <a:custGeom>
            <a:avLst/>
            <a:gdLst/>
            <a:ahLst/>
            <a:cxnLst/>
            <a:rect l="0" t="0" r="0" b="0"/>
            <a:pathLst>
              <a:path w="4247753" h="6705600">
                <a:moveTo>
                  <a:pt x="4247753" y="948730"/>
                </a:moveTo>
                <a:lnTo>
                  <a:pt x="1153319" y="948730"/>
                </a:lnTo>
                <a:lnTo>
                  <a:pt x="115331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24775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3" name="Freeform 1823"/>
          <p:cNvSpPr/>
          <p:nvPr/>
        </p:nvSpPr>
        <p:spPr>
          <a:xfrm>
            <a:off x="4065281" y="3690961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4" name="Freeform 1824"/>
          <p:cNvSpPr/>
          <p:nvPr/>
        </p:nvSpPr>
        <p:spPr>
          <a:xfrm>
            <a:off x="4120579" y="368994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5" name="Freeform 1825"/>
          <p:cNvSpPr/>
          <p:nvPr/>
        </p:nvSpPr>
        <p:spPr>
          <a:xfrm>
            <a:off x="4178341" y="3689945"/>
            <a:ext cx="42267" cy="55575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6" name="Freeform 1826"/>
          <p:cNvSpPr/>
          <p:nvPr/>
        </p:nvSpPr>
        <p:spPr>
          <a:xfrm>
            <a:off x="4233226" y="369096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7" name="Freeform 1827"/>
          <p:cNvSpPr/>
          <p:nvPr/>
        </p:nvSpPr>
        <p:spPr>
          <a:xfrm>
            <a:off x="4291055" y="3689945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8" name="Freeform 1828"/>
          <p:cNvSpPr/>
          <p:nvPr/>
        </p:nvSpPr>
        <p:spPr>
          <a:xfrm>
            <a:off x="4345623" y="368994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29" name="Freeform 1829"/>
          <p:cNvSpPr/>
          <p:nvPr/>
        </p:nvSpPr>
        <p:spPr>
          <a:xfrm>
            <a:off x="4406808" y="3690961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0" name="Freeform 1830"/>
          <p:cNvSpPr/>
          <p:nvPr/>
        </p:nvSpPr>
        <p:spPr>
          <a:xfrm>
            <a:off x="4462440" y="3689945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1" name="Freeform 1831"/>
          <p:cNvSpPr/>
          <p:nvPr/>
        </p:nvSpPr>
        <p:spPr>
          <a:xfrm>
            <a:off x="4519941" y="3690961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2" name="Freeform 1832"/>
          <p:cNvSpPr/>
          <p:nvPr/>
        </p:nvSpPr>
        <p:spPr>
          <a:xfrm>
            <a:off x="4578463" y="369096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3" name="Freeform 1833"/>
          <p:cNvSpPr/>
          <p:nvPr/>
        </p:nvSpPr>
        <p:spPr>
          <a:xfrm>
            <a:off x="4631679" y="3690961"/>
            <a:ext cx="45640" cy="53644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4" name="Freeform 1834"/>
          <p:cNvSpPr/>
          <p:nvPr/>
        </p:nvSpPr>
        <p:spPr>
          <a:xfrm>
            <a:off x="3344438" y="3814786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5" name="Freeform 1835"/>
          <p:cNvSpPr/>
          <p:nvPr/>
        </p:nvSpPr>
        <p:spPr>
          <a:xfrm>
            <a:off x="3395062" y="381377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6" name="Freeform 1836"/>
          <p:cNvSpPr/>
          <p:nvPr/>
        </p:nvSpPr>
        <p:spPr>
          <a:xfrm>
            <a:off x="3456247" y="3814786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7" name="Freeform 1837"/>
          <p:cNvSpPr/>
          <p:nvPr/>
        </p:nvSpPr>
        <p:spPr>
          <a:xfrm>
            <a:off x="3531484" y="3814786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8" name="Freeform 1838"/>
          <p:cNvSpPr/>
          <p:nvPr/>
        </p:nvSpPr>
        <p:spPr>
          <a:xfrm>
            <a:off x="3586981" y="381377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39" name="Freeform 1839"/>
          <p:cNvSpPr/>
          <p:nvPr/>
        </p:nvSpPr>
        <p:spPr>
          <a:xfrm>
            <a:off x="3637591" y="3814786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0" name="Freeform 1840"/>
          <p:cNvSpPr/>
          <p:nvPr/>
        </p:nvSpPr>
        <p:spPr>
          <a:xfrm>
            <a:off x="3685025" y="381377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1" name="Freeform 1841"/>
          <p:cNvSpPr/>
          <p:nvPr/>
        </p:nvSpPr>
        <p:spPr>
          <a:xfrm>
            <a:off x="3741897" y="3814786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2" name="Freeform 1842"/>
          <p:cNvSpPr/>
          <p:nvPr/>
        </p:nvSpPr>
        <p:spPr>
          <a:xfrm>
            <a:off x="3800419" y="3814786"/>
            <a:ext cx="49510" cy="69596"/>
          </a:xfrm>
          <a:custGeom>
            <a:avLst/>
            <a:gdLst/>
            <a:ahLst/>
            <a:cxnLst/>
            <a:rect l="0" t="0" r="0" b="0"/>
            <a:pathLst>
              <a:path w="6188869" h="8699500">
                <a:moveTo>
                  <a:pt x="0" y="0"/>
                </a:moveTo>
                <a:lnTo>
                  <a:pt x="1153518" y="0"/>
                </a:lnTo>
                <a:lnTo>
                  <a:pt x="1153518" y="5769174"/>
                </a:lnTo>
                <a:lnTo>
                  <a:pt x="4241602" y="5769174"/>
                </a:lnTo>
                <a:lnTo>
                  <a:pt x="4241602" y="0"/>
                </a:lnTo>
                <a:lnTo>
                  <a:pt x="5388769" y="0"/>
                </a:lnTo>
                <a:lnTo>
                  <a:pt x="5388769" y="5769174"/>
                </a:lnTo>
                <a:lnTo>
                  <a:pt x="6188869" y="5769174"/>
                </a:lnTo>
                <a:lnTo>
                  <a:pt x="6077149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3" name="Freeform 1843"/>
          <p:cNvSpPr/>
          <p:nvPr/>
        </p:nvSpPr>
        <p:spPr>
          <a:xfrm>
            <a:off x="3860566" y="3814786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4" name="Freeform 1844"/>
          <p:cNvSpPr/>
          <p:nvPr/>
        </p:nvSpPr>
        <p:spPr>
          <a:xfrm>
            <a:off x="3919190" y="3795177"/>
            <a:ext cx="43110" cy="7325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5" name="Freeform 1845"/>
          <p:cNvSpPr/>
          <p:nvPr/>
        </p:nvSpPr>
        <p:spPr>
          <a:xfrm>
            <a:off x="3998385" y="3795177"/>
            <a:ext cx="55414" cy="74269"/>
          </a:xfrm>
          <a:custGeom>
            <a:avLst/>
            <a:gdLst/>
            <a:ahLst/>
            <a:cxnLst/>
            <a:rect l="0" t="0" r="0" b="0"/>
            <a:pathLst>
              <a:path w="6926858" h="9283700">
                <a:moveTo>
                  <a:pt x="5060156" y="6789738"/>
                </a:moveTo>
                <a:cubicBezTo>
                  <a:pt x="5060156" y="6437974"/>
                  <a:pt x="4936133" y="6167967"/>
                  <a:pt x="4688086" y="5979716"/>
                </a:cubicBezTo>
                <a:cubicBezTo>
                  <a:pt x="4440039" y="5791333"/>
                  <a:pt x="3993554" y="5592631"/>
                  <a:pt x="3348633" y="5383610"/>
                </a:cubicBezTo>
                <a:cubicBezTo>
                  <a:pt x="2703711" y="5174589"/>
                  <a:pt x="2193197" y="4968743"/>
                  <a:pt x="1817092" y="4766072"/>
                </a:cubicBezTo>
                <a:cubicBezTo>
                  <a:pt x="791832" y="4211638"/>
                  <a:pt x="279201" y="3464851"/>
                  <a:pt x="279201" y="2525713"/>
                </a:cubicBezTo>
                <a:cubicBezTo>
                  <a:pt x="279201" y="2037557"/>
                  <a:pt x="416652" y="1602119"/>
                  <a:pt x="691554" y="1219399"/>
                </a:cubicBezTo>
                <a:cubicBezTo>
                  <a:pt x="966457" y="836679"/>
                  <a:pt x="1361215" y="537766"/>
                  <a:pt x="1875829" y="322660"/>
                </a:cubicBezTo>
                <a:cubicBezTo>
                  <a:pt x="2390576" y="107554"/>
                  <a:pt x="2968360" y="0"/>
                  <a:pt x="3609181" y="0"/>
                </a:cubicBezTo>
                <a:cubicBezTo>
                  <a:pt x="4254103" y="0"/>
                  <a:pt x="4828712" y="116880"/>
                  <a:pt x="5333008" y="350640"/>
                </a:cubicBezTo>
                <a:cubicBezTo>
                  <a:pt x="5837436" y="584399"/>
                  <a:pt x="6229151" y="914335"/>
                  <a:pt x="6508154" y="1340446"/>
                </a:cubicBezTo>
                <a:cubicBezTo>
                  <a:pt x="6787290" y="1766557"/>
                  <a:pt x="6926858" y="2250613"/>
                  <a:pt x="6926858" y="2792611"/>
                </a:cubicBezTo>
                <a:lnTo>
                  <a:pt x="5066506" y="2792611"/>
                </a:lnTo>
                <a:cubicBezTo>
                  <a:pt x="5066506" y="2378538"/>
                  <a:pt x="4936265" y="2056607"/>
                  <a:pt x="4675783" y="1826816"/>
                </a:cubicBezTo>
                <a:cubicBezTo>
                  <a:pt x="4415300" y="1597025"/>
                  <a:pt x="4049448" y="1482130"/>
                  <a:pt x="3578225" y="1482130"/>
                </a:cubicBezTo>
                <a:cubicBezTo>
                  <a:pt x="3123406" y="1482130"/>
                  <a:pt x="2769923" y="1578438"/>
                  <a:pt x="2517775" y="1771055"/>
                </a:cubicBezTo>
                <a:cubicBezTo>
                  <a:pt x="2265627" y="1963540"/>
                  <a:pt x="2139553" y="2217143"/>
                  <a:pt x="2139553" y="2531865"/>
                </a:cubicBezTo>
                <a:cubicBezTo>
                  <a:pt x="2139553" y="2825949"/>
                  <a:pt x="2287323" y="3072408"/>
                  <a:pt x="2582862" y="3271243"/>
                </a:cubicBezTo>
                <a:cubicBezTo>
                  <a:pt x="2878402" y="3469945"/>
                  <a:pt x="3313509" y="3656145"/>
                  <a:pt x="3888184" y="3829844"/>
                </a:cubicBezTo>
                <a:cubicBezTo>
                  <a:pt x="4946518" y="4148403"/>
                  <a:pt x="5717513" y="4543492"/>
                  <a:pt x="6201172" y="5015111"/>
                </a:cubicBezTo>
                <a:cubicBezTo>
                  <a:pt x="6684962" y="5486599"/>
                  <a:pt x="6926858" y="6073908"/>
                  <a:pt x="6926858" y="6777038"/>
                </a:cubicBezTo>
                <a:cubicBezTo>
                  <a:pt x="6926858" y="7558882"/>
                  <a:pt x="6631252" y="8172120"/>
                  <a:pt x="6040040" y="8616752"/>
                </a:cubicBezTo>
                <a:cubicBezTo>
                  <a:pt x="5448829" y="9061384"/>
                  <a:pt x="4653029" y="9283700"/>
                  <a:pt x="3652639" y="9283700"/>
                </a:cubicBezTo>
                <a:cubicBezTo>
                  <a:pt x="2958108" y="9283700"/>
                  <a:pt x="2325555" y="9156502"/>
                  <a:pt x="1754981" y="8902105"/>
                </a:cubicBezTo>
                <a:cubicBezTo>
                  <a:pt x="1184539" y="8647708"/>
                  <a:pt x="749432" y="8299186"/>
                  <a:pt x="449659" y="7856538"/>
                </a:cubicBezTo>
                <a:cubicBezTo>
                  <a:pt x="149886" y="7413758"/>
                  <a:pt x="0" y="6900731"/>
                  <a:pt x="0" y="6317457"/>
                </a:cubicBezTo>
                <a:lnTo>
                  <a:pt x="1866701" y="6317457"/>
                </a:lnTo>
                <a:cubicBezTo>
                  <a:pt x="1866701" y="7315200"/>
                  <a:pt x="2462014" y="7814072"/>
                  <a:pt x="3652639" y="7814072"/>
                </a:cubicBezTo>
                <a:cubicBezTo>
                  <a:pt x="4094890" y="7814072"/>
                  <a:pt x="4440039" y="7724048"/>
                  <a:pt x="4688086" y="7543999"/>
                </a:cubicBezTo>
                <a:cubicBezTo>
                  <a:pt x="4936133" y="7363950"/>
                  <a:pt x="5060156" y="7112530"/>
                  <a:pt x="5060156" y="678973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6" name="Freeform 1846"/>
          <p:cNvSpPr/>
          <p:nvPr/>
        </p:nvSpPr>
        <p:spPr>
          <a:xfrm>
            <a:off x="4059329" y="3796193"/>
            <a:ext cx="58837" cy="72237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7" name="Freeform 1847"/>
          <p:cNvSpPr/>
          <p:nvPr/>
        </p:nvSpPr>
        <p:spPr>
          <a:xfrm>
            <a:off x="4126583" y="3796193"/>
            <a:ext cx="47029" cy="72237"/>
          </a:xfrm>
          <a:custGeom>
            <a:avLst/>
            <a:gdLst/>
            <a:ahLst/>
            <a:cxnLst/>
            <a:rect l="0" t="0" r="0" b="0"/>
            <a:pathLst>
              <a:path w="5878711" h="9029700">
                <a:moveTo>
                  <a:pt x="5432227" y="5336183"/>
                </a:moveTo>
                <a:lnTo>
                  <a:pt x="1860352" y="53361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5878711" y="0"/>
                </a:lnTo>
                <a:lnTo>
                  <a:pt x="5878711" y="1506935"/>
                </a:lnTo>
                <a:lnTo>
                  <a:pt x="1860352" y="1506935"/>
                </a:lnTo>
                <a:lnTo>
                  <a:pt x="1860352" y="3835400"/>
                </a:lnTo>
                <a:lnTo>
                  <a:pt x="5432227" y="38354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8" name="Freeform 1848"/>
          <p:cNvSpPr/>
          <p:nvPr/>
        </p:nvSpPr>
        <p:spPr>
          <a:xfrm>
            <a:off x="4175064" y="3796193"/>
            <a:ext cx="37257" cy="78435"/>
          </a:xfrm>
          <a:custGeom>
            <a:avLst/>
            <a:gdLst/>
            <a:ahLst/>
            <a:cxnLst/>
            <a:rect l="0" t="0" r="0" b="0"/>
            <a:pathLst>
              <a:path w="4657129" h="9804400">
                <a:moveTo>
                  <a:pt x="1333300" y="9804400"/>
                </a:moveTo>
                <a:lnTo>
                  <a:pt x="0" y="9804400"/>
                </a:lnTo>
                <a:lnTo>
                  <a:pt x="3323827" y="0"/>
                </a:lnTo>
                <a:lnTo>
                  <a:pt x="46571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49" name="Freeform 1849"/>
          <p:cNvSpPr/>
          <p:nvPr/>
        </p:nvSpPr>
        <p:spPr>
          <a:xfrm>
            <a:off x="4220997" y="3796193"/>
            <a:ext cx="14882" cy="72237"/>
          </a:xfrm>
          <a:custGeom>
            <a:avLst/>
            <a:gdLst/>
            <a:ahLst/>
            <a:cxnLst/>
            <a:rect l="0" t="0" r="0" b="0"/>
            <a:pathLst>
              <a:path w="1860351" h="9029700">
                <a:moveTo>
                  <a:pt x="1860351" y="9029700"/>
                </a:moveTo>
                <a:lnTo>
                  <a:pt x="0" y="9029700"/>
                </a:lnTo>
                <a:lnTo>
                  <a:pt x="0" y="0"/>
                </a:lnTo>
                <a:lnTo>
                  <a:pt x="186035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0" name="Freeform 1850"/>
          <p:cNvSpPr/>
          <p:nvPr/>
        </p:nvSpPr>
        <p:spPr>
          <a:xfrm>
            <a:off x="4249621" y="3796193"/>
            <a:ext cx="46483" cy="72237"/>
          </a:xfrm>
          <a:custGeom>
            <a:avLst/>
            <a:gdLst/>
            <a:ahLst/>
            <a:cxnLst/>
            <a:rect l="0" t="0" r="0" b="0"/>
            <a:pathLst>
              <a:path w="5810449" h="9029700">
                <a:moveTo>
                  <a:pt x="1860352" y="7535268"/>
                </a:moveTo>
                <a:lnTo>
                  <a:pt x="5810449" y="7535268"/>
                </a:lnTo>
                <a:lnTo>
                  <a:pt x="5810449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1" name="Freeform 1851"/>
          <p:cNvSpPr/>
          <p:nvPr/>
        </p:nvSpPr>
        <p:spPr>
          <a:xfrm>
            <a:off x="4299254" y="3795177"/>
            <a:ext cx="61515" cy="74269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2" name="Freeform 1852"/>
          <p:cNvSpPr/>
          <p:nvPr/>
        </p:nvSpPr>
        <p:spPr>
          <a:xfrm>
            <a:off x="4396541" y="3788268"/>
            <a:ext cx="27533" cy="102717"/>
          </a:xfrm>
          <a:custGeom>
            <a:avLst/>
            <a:gdLst/>
            <a:ahLst/>
            <a:cxnLst/>
            <a:rect l="0" t="0" r="0" b="0"/>
            <a:pathLst>
              <a:path w="3441700" h="12839700">
                <a:moveTo>
                  <a:pt x="0" y="6348611"/>
                </a:moveTo>
                <a:cubicBezTo>
                  <a:pt x="0" y="5402065"/>
                  <a:pt x="126074" y="4501026"/>
                  <a:pt x="378222" y="3645496"/>
                </a:cubicBezTo>
                <a:cubicBezTo>
                  <a:pt x="630502" y="2789966"/>
                  <a:pt x="1002572" y="2032596"/>
                  <a:pt x="1494433" y="1373386"/>
                </a:cubicBezTo>
                <a:cubicBezTo>
                  <a:pt x="1986425" y="714045"/>
                  <a:pt x="2519759" y="256249"/>
                  <a:pt x="3094434" y="0"/>
                </a:cubicBezTo>
                <a:lnTo>
                  <a:pt x="3441700" y="967185"/>
                </a:lnTo>
                <a:cubicBezTo>
                  <a:pt x="2838053" y="1413537"/>
                  <a:pt x="2366698" y="2103769"/>
                  <a:pt x="2027634" y="3037880"/>
                </a:cubicBezTo>
                <a:cubicBezTo>
                  <a:pt x="1688703" y="3971992"/>
                  <a:pt x="1519237" y="5063133"/>
                  <a:pt x="1519237" y="6311305"/>
                </a:cubicBezTo>
                <a:lnTo>
                  <a:pt x="1519237" y="6503591"/>
                </a:lnTo>
                <a:cubicBezTo>
                  <a:pt x="1519237" y="7755864"/>
                  <a:pt x="1686652" y="8851173"/>
                  <a:pt x="2021483" y="9789518"/>
                </a:cubicBezTo>
                <a:cubicBezTo>
                  <a:pt x="2356445" y="10727729"/>
                  <a:pt x="2829851" y="11428280"/>
                  <a:pt x="3441700" y="11891168"/>
                </a:cubicBezTo>
                <a:lnTo>
                  <a:pt x="3094434" y="12839700"/>
                </a:lnTo>
                <a:cubicBezTo>
                  <a:pt x="2532194" y="12587552"/>
                  <a:pt x="2008187" y="12142192"/>
                  <a:pt x="1522412" y="11503620"/>
                </a:cubicBezTo>
                <a:cubicBezTo>
                  <a:pt x="1036637" y="10865048"/>
                  <a:pt x="665559" y="10128316"/>
                  <a:pt x="409178" y="9293424"/>
                </a:cubicBezTo>
                <a:cubicBezTo>
                  <a:pt x="152929" y="8458531"/>
                  <a:pt x="16536" y="7586465"/>
                  <a:pt x="0" y="667722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3" name="Freeform 1853"/>
          <p:cNvSpPr/>
          <p:nvPr/>
        </p:nvSpPr>
        <p:spPr>
          <a:xfrm>
            <a:off x="4432501" y="3796193"/>
            <a:ext cx="76001" cy="72237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4" name="Freeform 1854"/>
          <p:cNvSpPr/>
          <p:nvPr/>
        </p:nvSpPr>
        <p:spPr>
          <a:xfrm>
            <a:off x="4519218" y="3795177"/>
            <a:ext cx="61515" cy="74269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5" name="Freeform 1855"/>
          <p:cNvSpPr/>
          <p:nvPr/>
        </p:nvSpPr>
        <p:spPr>
          <a:xfrm>
            <a:off x="4582874" y="3796193"/>
            <a:ext cx="58837" cy="72237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6" name="Freeform 1856"/>
          <p:cNvSpPr/>
          <p:nvPr/>
        </p:nvSpPr>
        <p:spPr>
          <a:xfrm>
            <a:off x="4645662" y="3788268"/>
            <a:ext cx="28227" cy="102717"/>
          </a:xfrm>
          <a:custGeom>
            <a:avLst/>
            <a:gdLst/>
            <a:ahLst/>
            <a:cxnLst/>
            <a:rect l="0" t="0" r="0" b="0"/>
            <a:pathLst>
              <a:path w="3528418" h="12839700">
                <a:moveTo>
                  <a:pt x="3528418" y="6491090"/>
                </a:moveTo>
                <a:cubicBezTo>
                  <a:pt x="3528418" y="7425201"/>
                  <a:pt x="3394075" y="8324189"/>
                  <a:pt x="3125391" y="9188054"/>
                </a:cubicBezTo>
                <a:cubicBezTo>
                  <a:pt x="2856707" y="10051917"/>
                  <a:pt x="2470150" y="10814446"/>
                  <a:pt x="1965722" y="11475640"/>
                </a:cubicBezTo>
                <a:cubicBezTo>
                  <a:pt x="1461426" y="12136966"/>
                  <a:pt x="921941" y="12591653"/>
                  <a:pt x="347266" y="12839700"/>
                </a:cubicBezTo>
                <a:lnTo>
                  <a:pt x="0" y="11891168"/>
                </a:lnTo>
                <a:cubicBezTo>
                  <a:pt x="587111" y="11448917"/>
                  <a:pt x="1050132" y="10766954"/>
                  <a:pt x="1389063" y="9845279"/>
                </a:cubicBezTo>
                <a:cubicBezTo>
                  <a:pt x="1728126" y="8923603"/>
                  <a:pt x="1903810" y="7863417"/>
                  <a:pt x="1916113" y="6664722"/>
                </a:cubicBezTo>
                <a:lnTo>
                  <a:pt x="1916113" y="6336110"/>
                </a:lnTo>
                <a:cubicBezTo>
                  <a:pt x="1916113" y="5100373"/>
                  <a:pt x="1747639" y="4011348"/>
                  <a:pt x="1410693" y="3069035"/>
                </a:cubicBezTo>
                <a:cubicBezTo>
                  <a:pt x="1073878" y="2126589"/>
                  <a:pt x="603647" y="1419755"/>
                  <a:pt x="0" y="948532"/>
                </a:cubicBezTo>
                <a:lnTo>
                  <a:pt x="347266" y="0"/>
                </a:lnTo>
                <a:cubicBezTo>
                  <a:pt x="909506" y="243814"/>
                  <a:pt x="1439664" y="686065"/>
                  <a:pt x="1937743" y="1326754"/>
                </a:cubicBezTo>
                <a:cubicBezTo>
                  <a:pt x="2435953" y="1967442"/>
                  <a:pt x="2822509" y="2713501"/>
                  <a:pt x="3097411" y="3564930"/>
                </a:cubicBezTo>
                <a:cubicBezTo>
                  <a:pt x="3372446" y="4416359"/>
                  <a:pt x="3516114" y="5298745"/>
                  <a:pt x="3528418" y="621208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7" name="Rectangle 1857"/>
          <p:cNvSpPr/>
          <p:nvPr/>
        </p:nvSpPr>
        <p:spPr>
          <a:xfrm>
            <a:off x="3185393" y="4019561"/>
            <a:ext cx="2129357" cy="245744"/>
          </a:xfrm>
          <a:prstGeom prst="rect">
            <a:avLst/>
          </a:prstGeom>
        </p:spPr>
      </p:sp>
      <p:sp>
        <p:nvSpPr>
          <p:cNvPr id="1858" name="Freeform 1858"/>
          <p:cNvSpPr/>
          <p:nvPr/>
        </p:nvSpPr>
        <p:spPr>
          <a:xfrm>
            <a:off x="3194224" y="4065578"/>
            <a:ext cx="43705" cy="43707"/>
          </a:xfrm>
          <a:custGeom>
            <a:avLst/>
            <a:gdLst/>
            <a:ahLst/>
            <a:cxnLst/>
            <a:rect l="0" t="0" r="0" b="0"/>
            <a:pathLst>
              <a:path w="5463183" h="5463382">
                <a:moveTo>
                  <a:pt x="2734668" y="0"/>
                </a:moveTo>
                <a:cubicBezTo>
                  <a:pt x="3189354" y="0"/>
                  <a:pt x="3635772" y="117872"/>
                  <a:pt x="4073922" y="353616"/>
                </a:cubicBezTo>
                <a:cubicBezTo>
                  <a:pt x="4512204" y="589228"/>
                  <a:pt x="4853318" y="926174"/>
                  <a:pt x="5097264" y="1364457"/>
                </a:cubicBezTo>
                <a:cubicBezTo>
                  <a:pt x="5341210" y="1802607"/>
                  <a:pt x="5463183" y="2257293"/>
                  <a:pt x="5463183" y="2728516"/>
                </a:cubicBezTo>
                <a:cubicBezTo>
                  <a:pt x="5463183" y="3485092"/>
                  <a:pt x="5196483" y="4130080"/>
                  <a:pt x="4663083" y="4663480"/>
                </a:cubicBezTo>
                <a:cubicBezTo>
                  <a:pt x="4129815" y="5196748"/>
                  <a:pt x="3487010" y="5463382"/>
                  <a:pt x="2734668" y="5463382"/>
                </a:cubicBezTo>
                <a:cubicBezTo>
                  <a:pt x="1978091" y="5463382"/>
                  <a:pt x="1333170" y="5196748"/>
                  <a:pt x="799902" y="4663480"/>
                </a:cubicBezTo>
                <a:cubicBezTo>
                  <a:pt x="266634" y="4130080"/>
                  <a:pt x="0" y="3485092"/>
                  <a:pt x="0" y="2728516"/>
                </a:cubicBezTo>
                <a:cubicBezTo>
                  <a:pt x="0" y="2253192"/>
                  <a:pt x="121907" y="1797447"/>
                  <a:pt x="365721" y="1361282"/>
                </a:cubicBezTo>
                <a:cubicBezTo>
                  <a:pt x="609666" y="925116"/>
                  <a:pt x="950714" y="589228"/>
                  <a:pt x="1388864" y="353616"/>
                </a:cubicBezTo>
                <a:cubicBezTo>
                  <a:pt x="1827147" y="117872"/>
                  <a:pt x="2275748" y="0"/>
                  <a:pt x="2734668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59" name="Freeform 1859"/>
          <p:cNvSpPr/>
          <p:nvPr/>
        </p:nvSpPr>
        <p:spPr>
          <a:xfrm>
            <a:off x="3343645" y="4043843"/>
            <a:ext cx="52289" cy="73253"/>
          </a:xfrm>
          <a:custGeom>
            <a:avLst/>
            <a:gdLst/>
            <a:ahLst/>
            <a:cxnLst/>
            <a:rect l="0" t="0" r="0" b="0"/>
            <a:pathLst>
              <a:path w="6536134" h="9156700">
                <a:moveTo>
                  <a:pt x="6536134" y="0"/>
                </a:moveTo>
                <a:lnTo>
                  <a:pt x="6536134" y="6141641"/>
                </a:lnTo>
                <a:cubicBezTo>
                  <a:pt x="6531901" y="6993600"/>
                  <a:pt x="6264142" y="7690512"/>
                  <a:pt x="5732859" y="8232379"/>
                </a:cubicBezTo>
                <a:cubicBezTo>
                  <a:pt x="5201708" y="8774113"/>
                  <a:pt x="4481380" y="9078052"/>
                  <a:pt x="3571875" y="9144198"/>
                </a:cubicBezTo>
                <a:lnTo>
                  <a:pt x="3255565" y="9156700"/>
                </a:lnTo>
                <a:cubicBezTo>
                  <a:pt x="2267611" y="9156700"/>
                  <a:pt x="1480079" y="8889934"/>
                  <a:pt x="892968" y="8356402"/>
                </a:cubicBezTo>
                <a:cubicBezTo>
                  <a:pt x="305990" y="7822870"/>
                  <a:pt x="8334" y="7088783"/>
                  <a:pt x="0" y="6154143"/>
                </a:cubicBezTo>
                <a:lnTo>
                  <a:pt x="0" y="0"/>
                </a:lnTo>
                <a:lnTo>
                  <a:pt x="1178321" y="0"/>
                </a:lnTo>
                <a:lnTo>
                  <a:pt x="1178321" y="6117233"/>
                </a:lnTo>
                <a:cubicBezTo>
                  <a:pt x="1178321" y="6770754"/>
                  <a:pt x="1358106" y="7278490"/>
                  <a:pt x="1717675" y="7640440"/>
                </a:cubicBezTo>
                <a:cubicBezTo>
                  <a:pt x="2077376" y="8002257"/>
                  <a:pt x="2590006" y="8183166"/>
                  <a:pt x="3255565" y="8183166"/>
                </a:cubicBezTo>
                <a:cubicBezTo>
                  <a:pt x="3929459" y="8183166"/>
                  <a:pt x="4445198" y="8003249"/>
                  <a:pt x="4802782" y="7643416"/>
                </a:cubicBezTo>
                <a:cubicBezTo>
                  <a:pt x="5160367" y="7283583"/>
                  <a:pt x="5339159" y="6776906"/>
                  <a:pt x="5339159" y="6123385"/>
                </a:cubicBezTo>
                <a:lnTo>
                  <a:pt x="533915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0" name="Freeform 1860"/>
          <p:cNvSpPr/>
          <p:nvPr/>
        </p:nvSpPr>
        <p:spPr>
          <a:xfrm>
            <a:off x="3409481" y="4061420"/>
            <a:ext cx="42217" cy="54660"/>
          </a:xfrm>
          <a:custGeom>
            <a:avLst/>
            <a:gdLst/>
            <a:ahLst/>
            <a:cxnLst/>
            <a:rect l="0" t="0" r="0" b="0"/>
            <a:pathLst>
              <a:path w="5277246" h="6832600">
                <a:moveTo>
                  <a:pt x="1085254" y="127000"/>
                </a:moveTo>
                <a:lnTo>
                  <a:pt x="1122362" y="967185"/>
                </a:lnTo>
                <a:cubicBezTo>
                  <a:pt x="1634992" y="322396"/>
                  <a:pt x="2304719" y="0"/>
                  <a:pt x="3131542" y="0"/>
                </a:cubicBezTo>
                <a:cubicBezTo>
                  <a:pt x="4549576" y="0"/>
                  <a:pt x="5264811" y="799836"/>
                  <a:pt x="5277246" y="2399507"/>
                </a:cubicBezTo>
                <a:lnTo>
                  <a:pt x="5277246" y="6832600"/>
                </a:lnTo>
                <a:lnTo>
                  <a:pt x="4130079" y="6832600"/>
                </a:lnTo>
                <a:lnTo>
                  <a:pt x="4130079" y="2393355"/>
                </a:lnTo>
                <a:cubicBezTo>
                  <a:pt x="4125846" y="1909697"/>
                  <a:pt x="4015184" y="1552179"/>
                  <a:pt x="3798093" y="1320800"/>
                </a:cubicBezTo>
                <a:cubicBezTo>
                  <a:pt x="3581135" y="1089290"/>
                  <a:pt x="3243196" y="973535"/>
                  <a:pt x="2784276" y="973535"/>
                </a:cubicBezTo>
                <a:cubicBezTo>
                  <a:pt x="2412272" y="973535"/>
                  <a:pt x="2085710" y="1072754"/>
                  <a:pt x="1804590" y="1271191"/>
                </a:cubicBezTo>
                <a:cubicBezTo>
                  <a:pt x="1523470" y="1469496"/>
                  <a:pt x="1304329" y="1729912"/>
                  <a:pt x="1147167" y="2052440"/>
                </a:cubicBezTo>
                <a:lnTo>
                  <a:pt x="1147167" y="6832600"/>
                </a:lnTo>
                <a:lnTo>
                  <a:pt x="0" y="6832600"/>
                </a:lnTo>
                <a:lnTo>
                  <a:pt x="0" y="127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1" name="Freeform 1861"/>
          <p:cNvSpPr/>
          <p:nvPr/>
        </p:nvSpPr>
        <p:spPr>
          <a:xfrm>
            <a:off x="3461494" y="4038865"/>
            <a:ext cx="32445" cy="77216"/>
          </a:xfrm>
          <a:custGeom>
            <a:avLst/>
            <a:gdLst/>
            <a:ahLst/>
            <a:cxnLst/>
            <a:rect l="0" t="0" r="0" b="0"/>
            <a:pathLst>
              <a:path w="4055665" h="9652000">
                <a:moveTo>
                  <a:pt x="1060450" y="9652000"/>
                </a:moveTo>
                <a:lnTo>
                  <a:pt x="1060450" y="3833218"/>
                </a:lnTo>
                <a:lnTo>
                  <a:pt x="0" y="3833218"/>
                </a:lnTo>
                <a:lnTo>
                  <a:pt x="0" y="2946400"/>
                </a:lnTo>
                <a:lnTo>
                  <a:pt x="1060450" y="2946400"/>
                </a:lnTo>
                <a:lnTo>
                  <a:pt x="1060450" y="2257822"/>
                </a:lnTo>
                <a:cubicBezTo>
                  <a:pt x="1060450" y="1538288"/>
                  <a:pt x="1252670" y="982134"/>
                  <a:pt x="1637109" y="589360"/>
                </a:cubicBezTo>
                <a:cubicBezTo>
                  <a:pt x="2021549" y="196454"/>
                  <a:pt x="2565201" y="0"/>
                  <a:pt x="3268067" y="0"/>
                </a:cubicBezTo>
                <a:cubicBezTo>
                  <a:pt x="3532650" y="0"/>
                  <a:pt x="3795183" y="35124"/>
                  <a:pt x="4055665" y="105371"/>
                </a:cubicBezTo>
                <a:lnTo>
                  <a:pt x="3993555" y="1035646"/>
                </a:lnTo>
                <a:cubicBezTo>
                  <a:pt x="3799218" y="998472"/>
                  <a:pt x="3592512" y="979885"/>
                  <a:pt x="3373437" y="979885"/>
                </a:cubicBezTo>
                <a:cubicBezTo>
                  <a:pt x="3001433" y="979885"/>
                  <a:pt x="2714096" y="1088430"/>
                  <a:pt x="2511425" y="1305521"/>
                </a:cubicBezTo>
                <a:cubicBezTo>
                  <a:pt x="2308886" y="1522611"/>
                  <a:pt x="2207617" y="1833827"/>
                  <a:pt x="2207617" y="2239169"/>
                </a:cubicBezTo>
                <a:lnTo>
                  <a:pt x="2207617" y="2946400"/>
                </a:lnTo>
                <a:lnTo>
                  <a:pt x="3640137" y="2946400"/>
                </a:lnTo>
                <a:lnTo>
                  <a:pt x="3640137" y="3833218"/>
                </a:lnTo>
                <a:lnTo>
                  <a:pt x="2207617" y="3833218"/>
                </a:lnTo>
                <a:lnTo>
                  <a:pt x="2207617" y="9652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2" name="Freeform 1862"/>
          <p:cNvSpPr/>
          <p:nvPr/>
        </p:nvSpPr>
        <p:spPr>
          <a:xfrm>
            <a:off x="3499180" y="4061420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3" name="Freeform 1863"/>
          <p:cNvSpPr/>
          <p:nvPr/>
        </p:nvSpPr>
        <p:spPr>
          <a:xfrm>
            <a:off x="3555936" y="4042876"/>
            <a:ext cx="10864" cy="73204"/>
          </a:xfrm>
          <a:custGeom>
            <a:avLst/>
            <a:gdLst/>
            <a:ahLst/>
            <a:cxnLst/>
            <a:rect l="0" t="0" r="0" b="0"/>
            <a:pathLst>
              <a:path w="1358106" h="9150548">
                <a:moveTo>
                  <a:pt x="1240235" y="9150548"/>
                </a:moveTo>
                <a:lnTo>
                  <a:pt x="93067" y="9150548"/>
                </a:lnTo>
                <a:lnTo>
                  <a:pt x="93067" y="2444948"/>
                </a:lnTo>
                <a:lnTo>
                  <a:pt x="1240235" y="2444948"/>
                </a:lnTo>
                <a:close/>
                <a:moveTo>
                  <a:pt x="0" y="663575"/>
                </a:moveTo>
                <a:cubicBezTo>
                  <a:pt x="0" y="477441"/>
                  <a:pt x="56819" y="320344"/>
                  <a:pt x="170458" y="192286"/>
                </a:cubicBezTo>
                <a:cubicBezTo>
                  <a:pt x="284229" y="64095"/>
                  <a:pt x="452702" y="0"/>
                  <a:pt x="675878" y="0"/>
                </a:cubicBezTo>
                <a:cubicBezTo>
                  <a:pt x="899187" y="0"/>
                  <a:pt x="1068718" y="64095"/>
                  <a:pt x="1184474" y="192286"/>
                </a:cubicBezTo>
                <a:cubicBezTo>
                  <a:pt x="1300229" y="320344"/>
                  <a:pt x="1358106" y="477441"/>
                  <a:pt x="1358106" y="663575"/>
                </a:cubicBezTo>
                <a:cubicBezTo>
                  <a:pt x="1358106" y="849577"/>
                  <a:pt x="1300229" y="1004623"/>
                  <a:pt x="1184474" y="1128713"/>
                </a:cubicBezTo>
                <a:cubicBezTo>
                  <a:pt x="1068718" y="1252670"/>
                  <a:pt x="899187" y="1314648"/>
                  <a:pt x="675878" y="1314648"/>
                </a:cubicBezTo>
                <a:cubicBezTo>
                  <a:pt x="452702" y="1314648"/>
                  <a:pt x="284229" y="1252670"/>
                  <a:pt x="170458" y="1128713"/>
                </a:cubicBezTo>
                <a:cubicBezTo>
                  <a:pt x="56819" y="1004623"/>
                  <a:pt x="0" y="849577"/>
                  <a:pt x="0" y="6635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4" name="Freeform 1864"/>
          <p:cNvSpPr/>
          <p:nvPr/>
        </p:nvSpPr>
        <p:spPr>
          <a:xfrm>
            <a:off x="3580474" y="4061420"/>
            <a:ext cx="25946" cy="54660"/>
          </a:xfrm>
          <a:custGeom>
            <a:avLst/>
            <a:gdLst/>
            <a:ahLst/>
            <a:cxnLst/>
            <a:rect l="0" t="0" r="0" b="0"/>
            <a:pathLst>
              <a:path w="3243262" h="6832600">
                <a:moveTo>
                  <a:pt x="3243262" y="1153518"/>
                </a:moveTo>
                <a:cubicBezTo>
                  <a:pt x="3069563" y="1124546"/>
                  <a:pt x="2881444" y="1110060"/>
                  <a:pt x="2678906" y="1110060"/>
                </a:cubicBezTo>
                <a:cubicBezTo>
                  <a:pt x="1926563" y="1110060"/>
                  <a:pt x="1415983" y="1430404"/>
                  <a:pt x="1147167" y="2071093"/>
                </a:cubicBezTo>
                <a:lnTo>
                  <a:pt x="1147167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116211" y="127000"/>
                </a:lnTo>
                <a:lnTo>
                  <a:pt x="1134864" y="899121"/>
                </a:lnTo>
                <a:cubicBezTo>
                  <a:pt x="1511101" y="299707"/>
                  <a:pt x="2044369" y="0"/>
                  <a:pt x="2734667" y="0"/>
                </a:cubicBezTo>
                <a:cubicBezTo>
                  <a:pt x="2957975" y="0"/>
                  <a:pt x="3127507" y="28972"/>
                  <a:pt x="3243262" y="869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5" name="Freeform 1865"/>
          <p:cNvSpPr/>
          <p:nvPr/>
        </p:nvSpPr>
        <p:spPr>
          <a:xfrm>
            <a:off x="3638372" y="4061420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6" name="Freeform 1866"/>
          <p:cNvSpPr/>
          <p:nvPr/>
        </p:nvSpPr>
        <p:spPr>
          <a:xfrm>
            <a:off x="3692847" y="4039881"/>
            <a:ext cx="45292" cy="77216"/>
          </a:xfrm>
          <a:custGeom>
            <a:avLst/>
            <a:gdLst/>
            <a:ahLst/>
            <a:cxnLst/>
            <a:rect l="0" t="0" r="0" b="0"/>
            <a:pathLst>
              <a:path w="5661621" h="9652000">
                <a:moveTo>
                  <a:pt x="0" y="6116440"/>
                </a:moveTo>
                <a:cubicBezTo>
                  <a:pt x="0" y="5086681"/>
                  <a:pt x="243880" y="4258601"/>
                  <a:pt x="731640" y="3632200"/>
                </a:cubicBezTo>
                <a:cubicBezTo>
                  <a:pt x="1219531" y="3005667"/>
                  <a:pt x="1858302" y="2692400"/>
                  <a:pt x="2647950" y="2692400"/>
                </a:cubicBezTo>
                <a:cubicBezTo>
                  <a:pt x="3433366" y="2692400"/>
                  <a:pt x="4055534" y="2961217"/>
                  <a:pt x="4514454" y="3498850"/>
                </a:cubicBezTo>
                <a:lnTo>
                  <a:pt x="4514454" y="0"/>
                </a:lnTo>
                <a:lnTo>
                  <a:pt x="5661621" y="0"/>
                </a:lnTo>
                <a:lnTo>
                  <a:pt x="5661621" y="9525000"/>
                </a:lnTo>
                <a:lnTo>
                  <a:pt x="4607521" y="9525000"/>
                </a:lnTo>
                <a:lnTo>
                  <a:pt x="4551561" y="8808443"/>
                </a:lnTo>
                <a:cubicBezTo>
                  <a:pt x="4092774" y="9370815"/>
                  <a:pt x="3454070" y="9652000"/>
                  <a:pt x="2635449" y="9652000"/>
                </a:cubicBezTo>
                <a:cubicBezTo>
                  <a:pt x="1858235" y="9652000"/>
                  <a:pt x="1224691" y="9333574"/>
                  <a:pt x="734815" y="8696722"/>
                </a:cubicBezTo>
                <a:cubicBezTo>
                  <a:pt x="244938" y="8059870"/>
                  <a:pt x="0" y="7228682"/>
                  <a:pt x="0" y="6203157"/>
                </a:cubicBezTo>
                <a:close/>
                <a:moveTo>
                  <a:pt x="1147168" y="6246615"/>
                </a:moveTo>
                <a:cubicBezTo>
                  <a:pt x="1147168" y="7007556"/>
                  <a:pt x="1304264" y="7603133"/>
                  <a:pt x="1618457" y="8033346"/>
                </a:cubicBezTo>
                <a:cubicBezTo>
                  <a:pt x="1932649" y="8463426"/>
                  <a:pt x="2366765" y="8678466"/>
                  <a:pt x="2920802" y="8678466"/>
                </a:cubicBezTo>
                <a:cubicBezTo>
                  <a:pt x="3648406" y="8678466"/>
                  <a:pt x="4179623" y="8351772"/>
                  <a:pt x="4514454" y="7698383"/>
                </a:cubicBezTo>
                <a:lnTo>
                  <a:pt x="4514454" y="4615061"/>
                </a:lnTo>
                <a:cubicBezTo>
                  <a:pt x="4171289" y="3982311"/>
                  <a:pt x="3644173" y="3665935"/>
                  <a:pt x="2933105" y="3665935"/>
                </a:cubicBezTo>
                <a:cubicBezTo>
                  <a:pt x="2370866" y="3665935"/>
                  <a:pt x="1932649" y="3883092"/>
                  <a:pt x="1618457" y="4317405"/>
                </a:cubicBezTo>
                <a:cubicBezTo>
                  <a:pt x="1304264" y="4751586"/>
                  <a:pt x="1147168" y="5394656"/>
                  <a:pt x="1147168" y="62466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7" name="Freeform 1867"/>
          <p:cNvSpPr/>
          <p:nvPr/>
        </p:nvSpPr>
        <p:spPr>
          <a:xfrm>
            <a:off x="3746971" y="4062436"/>
            <a:ext cx="45691" cy="53644"/>
          </a:xfrm>
          <a:custGeom>
            <a:avLst/>
            <a:gdLst/>
            <a:ahLst/>
            <a:cxnLst/>
            <a:rect l="0" t="0" r="0" b="0"/>
            <a:pathLst>
              <a:path w="5711428" h="6705600">
                <a:moveTo>
                  <a:pt x="2877343" y="5150049"/>
                </a:moveTo>
                <a:lnTo>
                  <a:pt x="4539257" y="0"/>
                </a:lnTo>
                <a:lnTo>
                  <a:pt x="5711428" y="0"/>
                </a:lnTo>
                <a:lnTo>
                  <a:pt x="3305373" y="6705600"/>
                </a:lnTo>
                <a:lnTo>
                  <a:pt x="2430859" y="6705600"/>
                </a:lnTo>
                <a:lnTo>
                  <a:pt x="0" y="0"/>
                </a:lnTo>
                <a:lnTo>
                  <a:pt x="117217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8" name="Freeform 1868"/>
          <p:cNvSpPr/>
          <p:nvPr/>
        </p:nvSpPr>
        <p:spPr>
          <a:xfrm>
            <a:off x="3799205" y="4061420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69" name="Freeform 1869"/>
          <p:cNvSpPr/>
          <p:nvPr/>
        </p:nvSpPr>
        <p:spPr>
          <a:xfrm>
            <a:off x="3855912" y="4061420"/>
            <a:ext cx="42217" cy="54660"/>
          </a:xfrm>
          <a:custGeom>
            <a:avLst/>
            <a:gdLst/>
            <a:ahLst/>
            <a:cxnLst/>
            <a:rect l="0" t="0" r="0" b="0"/>
            <a:pathLst>
              <a:path w="5277246" h="6832600">
                <a:moveTo>
                  <a:pt x="1085254" y="127000"/>
                </a:moveTo>
                <a:lnTo>
                  <a:pt x="1122362" y="967185"/>
                </a:lnTo>
                <a:cubicBezTo>
                  <a:pt x="1634992" y="322396"/>
                  <a:pt x="2304719" y="0"/>
                  <a:pt x="3131542" y="0"/>
                </a:cubicBezTo>
                <a:cubicBezTo>
                  <a:pt x="4549576" y="0"/>
                  <a:pt x="5264811" y="799836"/>
                  <a:pt x="5277246" y="2399507"/>
                </a:cubicBezTo>
                <a:lnTo>
                  <a:pt x="5277246" y="6832600"/>
                </a:lnTo>
                <a:lnTo>
                  <a:pt x="4130079" y="6832600"/>
                </a:lnTo>
                <a:lnTo>
                  <a:pt x="4130079" y="2393355"/>
                </a:lnTo>
                <a:cubicBezTo>
                  <a:pt x="4125846" y="1909697"/>
                  <a:pt x="4015184" y="1552179"/>
                  <a:pt x="3798093" y="1320800"/>
                </a:cubicBezTo>
                <a:cubicBezTo>
                  <a:pt x="3581135" y="1089290"/>
                  <a:pt x="3243196" y="973535"/>
                  <a:pt x="2784276" y="973535"/>
                </a:cubicBezTo>
                <a:cubicBezTo>
                  <a:pt x="2412272" y="973535"/>
                  <a:pt x="2085710" y="1072754"/>
                  <a:pt x="1804590" y="1271191"/>
                </a:cubicBezTo>
                <a:cubicBezTo>
                  <a:pt x="1523470" y="1469496"/>
                  <a:pt x="1304329" y="1729912"/>
                  <a:pt x="1147167" y="2052440"/>
                </a:cubicBezTo>
                <a:lnTo>
                  <a:pt x="1147167" y="6832600"/>
                </a:lnTo>
                <a:lnTo>
                  <a:pt x="0" y="6832600"/>
                </a:lnTo>
                <a:lnTo>
                  <a:pt x="0" y="127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0" name="Freeform 1870"/>
          <p:cNvSpPr/>
          <p:nvPr/>
        </p:nvSpPr>
        <p:spPr>
          <a:xfrm>
            <a:off x="3905394" y="4049431"/>
            <a:ext cx="29221" cy="67665"/>
          </a:xfrm>
          <a:custGeom>
            <a:avLst/>
            <a:gdLst/>
            <a:ahLst/>
            <a:cxnLst/>
            <a:rect l="0" t="0" r="0" b="0"/>
            <a:pathLst>
              <a:path w="3652640" h="8458200">
                <a:moveTo>
                  <a:pt x="2368947" y="0"/>
                </a:moveTo>
                <a:lnTo>
                  <a:pt x="2368947" y="1625600"/>
                </a:lnTo>
                <a:lnTo>
                  <a:pt x="3621485" y="1625600"/>
                </a:lnTo>
                <a:lnTo>
                  <a:pt x="3621485" y="2512418"/>
                </a:lnTo>
                <a:lnTo>
                  <a:pt x="2368947" y="2512418"/>
                </a:lnTo>
                <a:lnTo>
                  <a:pt x="2368947" y="6672461"/>
                </a:lnTo>
                <a:cubicBezTo>
                  <a:pt x="2368947" y="6941014"/>
                  <a:pt x="2424708" y="7142494"/>
                  <a:pt x="2536230" y="7276902"/>
                </a:cubicBezTo>
                <a:cubicBezTo>
                  <a:pt x="2647884" y="7411178"/>
                  <a:pt x="2838120" y="7478316"/>
                  <a:pt x="3106936" y="7478316"/>
                </a:cubicBezTo>
                <a:cubicBezTo>
                  <a:pt x="3239228" y="7478316"/>
                  <a:pt x="3421129" y="7453511"/>
                  <a:pt x="3652640" y="7403902"/>
                </a:cubicBezTo>
                <a:lnTo>
                  <a:pt x="3652640" y="8334176"/>
                </a:lnTo>
                <a:cubicBezTo>
                  <a:pt x="3350750" y="8416858"/>
                  <a:pt x="3057195" y="8458200"/>
                  <a:pt x="2771974" y="8458200"/>
                </a:cubicBezTo>
                <a:cubicBezTo>
                  <a:pt x="2259344" y="8458200"/>
                  <a:pt x="1872787" y="8303221"/>
                  <a:pt x="1612305" y="7993261"/>
                </a:cubicBezTo>
                <a:cubicBezTo>
                  <a:pt x="1351955" y="7683170"/>
                  <a:pt x="1221780" y="7242969"/>
                  <a:pt x="1221780" y="6672660"/>
                </a:cubicBezTo>
                <a:lnTo>
                  <a:pt x="1221780" y="2512418"/>
                </a:lnTo>
                <a:lnTo>
                  <a:pt x="0" y="2512418"/>
                </a:lnTo>
                <a:lnTo>
                  <a:pt x="0" y="1625600"/>
                </a:lnTo>
                <a:lnTo>
                  <a:pt x="1221780" y="1625600"/>
                </a:lnTo>
                <a:lnTo>
                  <a:pt x="122178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1" name="Freeform 1871"/>
          <p:cNvSpPr/>
          <p:nvPr/>
        </p:nvSpPr>
        <p:spPr>
          <a:xfrm>
            <a:off x="3943477" y="4061420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2" name="Freeform 1872"/>
          <p:cNvSpPr/>
          <p:nvPr/>
        </p:nvSpPr>
        <p:spPr>
          <a:xfrm>
            <a:off x="3998001" y="4061420"/>
            <a:ext cx="45343" cy="75793"/>
          </a:xfrm>
          <a:custGeom>
            <a:avLst/>
            <a:gdLst/>
            <a:ahLst/>
            <a:cxnLst/>
            <a:rect l="0" t="0" r="0" b="0"/>
            <a:pathLst>
              <a:path w="5667970" h="9474200">
                <a:moveTo>
                  <a:pt x="0" y="3424040"/>
                </a:moveTo>
                <a:cubicBezTo>
                  <a:pt x="0" y="2377745"/>
                  <a:pt x="241829" y="1545498"/>
                  <a:pt x="725488" y="927299"/>
                </a:cubicBezTo>
                <a:cubicBezTo>
                  <a:pt x="1209278" y="309100"/>
                  <a:pt x="1850099" y="0"/>
                  <a:pt x="2647950" y="0"/>
                </a:cubicBezTo>
                <a:cubicBezTo>
                  <a:pt x="3466438" y="0"/>
                  <a:pt x="4105143" y="289455"/>
                  <a:pt x="4564063" y="868363"/>
                </a:cubicBezTo>
                <a:lnTo>
                  <a:pt x="4619823" y="127000"/>
                </a:lnTo>
                <a:lnTo>
                  <a:pt x="5667970" y="127000"/>
                </a:lnTo>
                <a:lnTo>
                  <a:pt x="5667970" y="6672461"/>
                </a:lnTo>
                <a:cubicBezTo>
                  <a:pt x="5667970" y="7540294"/>
                  <a:pt x="5410597" y="8224176"/>
                  <a:pt x="4895850" y="8724106"/>
                </a:cubicBezTo>
                <a:cubicBezTo>
                  <a:pt x="4381103" y="9224168"/>
                  <a:pt x="3689681" y="9474200"/>
                  <a:pt x="2821583" y="9474200"/>
                </a:cubicBezTo>
                <a:cubicBezTo>
                  <a:pt x="2337925" y="9474200"/>
                  <a:pt x="1864585" y="9370946"/>
                  <a:pt x="1401564" y="9164439"/>
                </a:cubicBezTo>
                <a:cubicBezTo>
                  <a:pt x="938543" y="8958064"/>
                  <a:pt x="585060" y="8675224"/>
                  <a:pt x="341114" y="8315920"/>
                </a:cubicBezTo>
                <a:lnTo>
                  <a:pt x="936427" y="7628532"/>
                </a:lnTo>
                <a:cubicBezTo>
                  <a:pt x="1428419" y="8234693"/>
                  <a:pt x="2029950" y="8537773"/>
                  <a:pt x="2741017" y="8537773"/>
                </a:cubicBezTo>
                <a:cubicBezTo>
                  <a:pt x="3299023" y="8537773"/>
                  <a:pt x="3734065" y="8380875"/>
                  <a:pt x="4046141" y="8067079"/>
                </a:cubicBezTo>
                <a:cubicBezTo>
                  <a:pt x="4358349" y="7753283"/>
                  <a:pt x="4514453" y="7311495"/>
                  <a:pt x="4514453" y="6741716"/>
                </a:cubicBezTo>
                <a:lnTo>
                  <a:pt x="4514453" y="6165652"/>
                </a:lnTo>
                <a:cubicBezTo>
                  <a:pt x="4055533" y="6694951"/>
                  <a:pt x="3429198" y="6959600"/>
                  <a:pt x="2635448" y="6959600"/>
                </a:cubicBezTo>
                <a:cubicBezTo>
                  <a:pt x="1850033" y="6959600"/>
                  <a:pt x="1214438" y="6643291"/>
                  <a:pt x="728663" y="6010672"/>
                </a:cubicBezTo>
                <a:cubicBezTo>
                  <a:pt x="242888" y="5377921"/>
                  <a:pt x="0" y="4515710"/>
                  <a:pt x="0" y="3424040"/>
                </a:cubicBezTo>
                <a:close/>
                <a:moveTo>
                  <a:pt x="1153517" y="3554215"/>
                </a:moveTo>
                <a:cubicBezTo>
                  <a:pt x="1153517" y="4311055"/>
                  <a:pt x="1308497" y="4905574"/>
                  <a:pt x="1618456" y="5337771"/>
                </a:cubicBezTo>
                <a:cubicBezTo>
                  <a:pt x="1928548" y="5769968"/>
                  <a:pt x="2362663" y="5986066"/>
                  <a:pt x="2920802" y="5986066"/>
                </a:cubicBezTo>
                <a:cubicBezTo>
                  <a:pt x="3644305" y="5986066"/>
                  <a:pt x="4175522" y="5657255"/>
                  <a:pt x="4514453" y="4999633"/>
                </a:cubicBezTo>
                <a:lnTo>
                  <a:pt x="4514453" y="1935163"/>
                </a:lnTo>
                <a:cubicBezTo>
                  <a:pt x="4163087" y="1294078"/>
                  <a:pt x="3635970" y="973535"/>
                  <a:pt x="2933105" y="973535"/>
                </a:cubicBezTo>
                <a:cubicBezTo>
                  <a:pt x="2375098" y="973535"/>
                  <a:pt x="1938999" y="1190692"/>
                  <a:pt x="1624806" y="1625005"/>
                </a:cubicBezTo>
                <a:cubicBezTo>
                  <a:pt x="1310614" y="2059186"/>
                  <a:pt x="1153517" y="2702256"/>
                  <a:pt x="1153517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3" name="Freeform 1873"/>
          <p:cNvSpPr/>
          <p:nvPr/>
        </p:nvSpPr>
        <p:spPr>
          <a:xfrm>
            <a:off x="4054849" y="406142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4" name="Freeform 1874"/>
          <p:cNvSpPr/>
          <p:nvPr/>
        </p:nvSpPr>
        <p:spPr>
          <a:xfrm>
            <a:off x="4110630" y="4061928"/>
            <a:ext cx="11461" cy="54660"/>
          </a:xfrm>
          <a:custGeom>
            <a:avLst/>
            <a:gdLst/>
            <a:ahLst/>
            <a:cxnLst/>
            <a:rect l="0" t="0" r="0" b="0"/>
            <a:pathLst>
              <a:path w="1432719" h="6832600">
                <a:moveTo>
                  <a:pt x="0" y="6162874"/>
                </a:moveTo>
                <a:cubicBezTo>
                  <a:pt x="0" y="5964436"/>
                  <a:pt x="58870" y="5799072"/>
                  <a:pt x="176610" y="5666780"/>
                </a:cubicBezTo>
                <a:cubicBezTo>
                  <a:pt x="294482" y="5534489"/>
                  <a:pt x="471223" y="5468343"/>
                  <a:pt x="706835" y="5468343"/>
                </a:cubicBezTo>
                <a:cubicBezTo>
                  <a:pt x="942578" y="5468343"/>
                  <a:pt x="1121437" y="5534489"/>
                  <a:pt x="1243410" y="5666780"/>
                </a:cubicBezTo>
                <a:cubicBezTo>
                  <a:pt x="1365383" y="5799072"/>
                  <a:pt x="1426369" y="5964436"/>
                  <a:pt x="1426369" y="6162874"/>
                </a:cubicBezTo>
                <a:cubicBezTo>
                  <a:pt x="1426369" y="6352977"/>
                  <a:pt x="1365383" y="6512124"/>
                  <a:pt x="1243410" y="6640315"/>
                </a:cubicBezTo>
                <a:cubicBezTo>
                  <a:pt x="1121437" y="6768505"/>
                  <a:pt x="942578" y="6832600"/>
                  <a:pt x="706835" y="6832600"/>
                </a:cubicBezTo>
                <a:cubicBezTo>
                  <a:pt x="471223" y="6832600"/>
                  <a:pt x="294482" y="6768505"/>
                  <a:pt x="176610" y="6640315"/>
                </a:cubicBezTo>
                <a:cubicBezTo>
                  <a:pt x="58870" y="6512124"/>
                  <a:pt x="0" y="6352977"/>
                  <a:pt x="0" y="6162874"/>
                </a:cubicBezTo>
                <a:close/>
                <a:moveTo>
                  <a:pt x="6350" y="694532"/>
                </a:moveTo>
                <a:cubicBezTo>
                  <a:pt x="6350" y="496094"/>
                  <a:pt x="65220" y="330730"/>
                  <a:pt x="182960" y="198438"/>
                </a:cubicBezTo>
                <a:cubicBezTo>
                  <a:pt x="300832" y="66146"/>
                  <a:pt x="477573" y="0"/>
                  <a:pt x="713185" y="0"/>
                </a:cubicBezTo>
                <a:cubicBezTo>
                  <a:pt x="948928" y="0"/>
                  <a:pt x="1127787" y="66146"/>
                  <a:pt x="1249760" y="198438"/>
                </a:cubicBezTo>
                <a:cubicBezTo>
                  <a:pt x="1371733" y="330730"/>
                  <a:pt x="1432719" y="496094"/>
                  <a:pt x="1432719" y="694532"/>
                </a:cubicBezTo>
                <a:cubicBezTo>
                  <a:pt x="1432719" y="884635"/>
                  <a:pt x="1371733" y="1043782"/>
                  <a:pt x="1249760" y="1171972"/>
                </a:cubicBezTo>
                <a:cubicBezTo>
                  <a:pt x="1127787" y="1300163"/>
                  <a:pt x="948928" y="1364258"/>
                  <a:pt x="713185" y="1364258"/>
                </a:cubicBezTo>
                <a:cubicBezTo>
                  <a:pt x="477573" y="1364258"/>
                  <a:pt x="300832" y="1300163"/>
                  <a:pt x="182960" y="1171972"/>
                </a:cubicBezTo>
                <a:cubicBezTo>
                  <a:pt x="65220" y="1043782"/>
                  <a:pt x="6350" y="884635"/>
                  <a:pt x="6350" y="6945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5" name="Freeform 1875"/>
          <p:cNvSpPr/>
          <p:nvPr/>
        </p:nvSpPr>
        <p:spPr>
          <a:xfrm>
            <a:off x="4160408" y="4062436"/>
            <a:ext cx="50898" cy="53644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6" name="Freeform 1876"/>
          <p:cNvSpPr/>
          <p:nvPr/>
        </p:nvSpPr>
        <p:spPr>
          <a:xfrm>
            <a:off x="4211691" y="4061420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7" name="Freeform 1877"/>
          <p:cNvSpPr/>
          <p:nvPr/>
        </p:nvSpPr>
        <p:spPr>
          <a:xfrm>
            <a:off x="4272270" y="4062436"/>
            <a:ext cx="63747" cy="53644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8" name="Freeform 1878"/>
          <p:cNvSpPr/>
          <p:nvPr/>
        </p:nvSpPr>
        <p:spPr>
          <a:xfrm>
            <a:off x="4346308" y="4061420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79" name="Freeform 1879"/>
          <p:cNvSpPr/>
          <p:nvPr/>
        </p:nvSpPr>
        <p:spPr>
          <a:xfrm>
            <a:off x="4402899" y="4062436"/>
            <a:ext cx="46532" cy="53644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0" name="Freeform 1880"/>
          <p:cNvSpPr/>
          <p:nvPr/>
        </p:nvSpPr>
        <p:spPr>
          <a:xfrm>
            <a:off x="4456636" y="4062436"/>
            <a:ext cx="60772" cy="69799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1" name="Freeform 1881"/>
          <p:cNvSpPr/>
          <p:nvPr/>
        </p:nvSpPr>
        <p:spPr>
          <a:xfrm>
            <a:off x="4522482" y="4061420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2" name="Freeform 1882"/>
          <p:cNvSpPr/>
          <p:nvPr/>
        </p:nvSpPr>
        <p:spPr>
          <a:xfrm>
            <a:off x="4601991" y="4061420"/>
            <a:ext cx="46782" cy="55676"/>
          </a:xfrm>
          <a:custGeom>
            <a:avLst/>
            <a:gdLst/>
            <a:ahLst/>
            <a:cxnLst/>
            <a:rect l="0" t="0" r="0" b="0"/>
            <a:pathLst>
              <a:path w="5847755" h="6959600">
                <a:moveTo>
                  <a:pt x="2740819" y="1451174"/>
                </a:moveTo>
                <a:cubicBezTo>
                  <a:pt x="2418424" y="1451174"/>
                  <a:pt x="2162109" y="1541132"/>
                  <a:pt x="1971873" y="1721049"/>
                </a:cubicBezTo>
                <a:cubicBezTo>
                  <a:pt x="1781770" y="1900965"/>
                  <a:pt x="1686719" y="2141935"/>
                  <a:pt x="1686719" y="2443957"/>
                </a:cubicBezTo>
                <a:lnTo>
                  <a:pt x="0" y="2443957"/>
                </a:lnTo>
                <a:cubicBezTo>
                  <a:pt x="0" y="1989138"/>
                  <a:pt x="120915" y="1573544"/>
                  <a:pt x="362744" y="1197174"/>
                </a:cubicBezTo>
                <a:cubicBezTo>
                  <a:pt x="604573" y="820804"/>
                  <a:pt x="935302" y="527183"/>
                  <a:pt x="1354931" y="316310"/>
                </a:cubicBezTo>
                <a:cubicBezTo>
                  <a:pt x="1774560" y="105437"/>
                  <a:pt x="2236523" y="0"/>
                  <a:pt x="2740819" y="0"/>
                </a:cubicBezTo>
                <a:cubicBezTo>
                  <a:pt x="3687630" y="0"/>
                  <a:pt x="4442156" y="309100"/>
                  <a:pt x="5004395" y="927299"/>
                </a:cubicBezTo>
                <a:cubicBezTo>
                  <a:pt x="5566635" y="1545498"/>
                  <a:pt x="5847755" y="2388064"/>
                  <a:pt x="5847755" y="3454996"/>
                </a:cubicBezTo>
                <a:lnTo>
                  <a:pt x="5847755" y="3572868"/>
                </a:lnTo>
                <a:cubicBezTo>
                  <a:pt x="5847755" y="4234458"/>
                  <a:pt x="5723731" y="4822693"/>
                  <a:pt x="5475684" y="5337572"/>
                </a:cubicBezTo>
                <a:cubicBezTo>
                  <a:pt x="5227637" y="5852452"/>
                  <a:pt x="4868995" y="6251509"/>
                  <a:pt x="4399756" y="6534746"/>
                </a:cubicBezTo>
                <a:cubicBezTo>
                  <a:pt x="3930518" y="6817982"/>
                  <a:pt x="3381706" y="6959600"/>
                  <a:pt x="2753320" y="6959600"/>
                </a:cubicBezTo>
                <a:cubicBezTo>
                  <a:pt x="1926497" y="6959600"/>
                  <a:pt x="1260872" y="6721872"/>
                  <a:pt x="756444" y="6246416"/>
                </a:cubicBezTo>
                <a:cubicBezTo>
                  <a:pt x="252148" y="5770828"/>
                  <a:pt x="0" y="5136026"/>
                  <a:pt x="0" y="4342011"/>
                </a:cubicBezTo>
                <a:lnTo>
                  <a:pt x="1686719" y="4342011"/>
                </a:lnTo>
                <a:cubicBezTo>
                  <a:pt x="1686719" y="4685308"/>
                  <a:pt x="1782829" y="4967619"/>
                  <a:pt x="1975048" y="5188943"/>
                </a:cubicBezTo>
                <a:cubicBezTo>
                  <a:pt x="2167268" y="5410267"/>
                  <a:pt x="2426692" y="5520929"/>
                  <a:pt x="2753320" y="5520929"/>
                </a:cubicBezTo>
                <a:cubicBezTo>
                  <a:pt x="3113021" y="5520929"/>
                  <a:pt x="3402409" y="5393664"/>
                  <a:pt x="3621484" y="5139135"/>
                </a:cubicBezTo>
                <a:cubicBezTo>
                  <a:pt x="3840559" y="4884473"/>
                  <a:pt x="3974902" y="4506715"/>
                  <a:pt x="4024511" y="4005858"/>
                </a:cubicBezTo>
                <a:lnTo>
                  <a:pt x="2226270" y="4005858"/>
                </a:lnTo>
                <a:lnTo>
                  <a:pt x="2226270" y="2908300"/>
                </a:lnTo>
                <a:lnTo>
                  <a:pt x="4024511" y="2908300"/>
                </a:lnTo>
                <a:cubicBezTo>
                  <a:pt x="3904655" y="1936883"/>
                  <a:pt x="3476757" y="1451174"/>
                  <a:pt x="2740819" y="1451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3" name="Freeform 1883"/>
          <p:cNvSpPr/>
          <p:nvPr/>
        </p:nvSpPr>
        <p:spPr>
          <a:xfrm>
            <a:off x="4658147" y="4062436"/>
            <a:ext cx="50898" cy="53644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4" name="Freeform 1884"/>
          <p:cNvSpPr/>
          <p:nvPr/>
        </p:nvSpPr>
        <p:spPr>
          <a:xfrm>
            <a:off x="4711462" y="4061420"/>
            <a:ext cx="47029" cy="5567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5" name="Freeform 1885"/>
          <p:cNvSpPr/>
          <p:nvPr/>
        </p:nvSpPr>
        <p:spPr>
          <a:xfrm>
            <a:off x="4766627" y="4062436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6" name="Freeform 1886"/>
          <p:cNvSpPr/>
          <p:nvPr/>
        </p:nvSpPr>
        <p:spPr>
          <a:xfrm>
            <a:off x="4822299" y="4061420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7" name="Freeform 1887"/>
          <p:cNvSpPr/>
          <p:nvPr/>
        </p:nvSpPr>
        <p:spPr>
          <a:xfrm>
            <a:off x="4879098" y="4061420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8" name="Freeform 1888"/>
          <p:cNvSpPr/>
          <p:nvPr/>
        </p:nvSpPr>
        <p:spPr>
          <a:xfrm>
            <a:off x="4930197" y="4062436"/>
            <a:ext cx="48517" cy="53644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89" name="Freeform 1889"/>
          <p:cNvSpPr/>
          <p:nvPr/>
        </p:nvSpPr>
        <p:spPr>
          <a:xfrm>
            <a:off x="4982225" y="4061420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0" name="Freeform 1890"/>
          <p:cNvSpPr/>
          <p:nvPr/>
        </p:nvSpPr>
        <p:spPr>
          <a:xfrm>
            <a:off x="5042804" y="4062436"/>
            <a:ext cx="47823" cy="53644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1" name="Freeform 1891"/>
          <p:cNvSpPr/>
          <p:nvPr/>
        </p:nvSpPr>
        <p:spPr>
          <a:xfrm>
            <a:off x="5094669" y="4105216"/>
            <a:ext cx="13841" cy="25292"/>
          </a:xfrm>
          <a:custGeom>
            <a:avLst/>
            <a:gdLst/>
            <a:ahLst/>
            <a:cxnLst/>
            <a:rect l="0" t="0" r="0" b="0"/>
            <a:pathLst>
              <a:path w="1730176" h="3161506">
                <a:moveTo>
                  <a:pt x="651272" y="3161506"/>
                </a:moveTo>
                <a:lnTo>
                  <a:pt x="0" y="2714227"/>
                </a:lnTo>
                <a:cubicBezTo>
                  <a:pt x="388673" y="2171832"/>
                  <a:pt x="591277" y="1612833"/>
                  <a:pt x="607814" y="1037233"/>
                </a:cubicBezTo>
                <a:lnTo>
                  <a:pt x="607814" y="0"/>
                </a:lnTo>
                <a:lnTo>
                  <a:pt x="1730176" y="0"/>
                </a:lnTo>
                <a:lnTo>
                  <a:pt x="1730176" y="900708"/>
                </a:lnTo>
                <a:cubicBezTo>
                  <a:pt x="1730176" y="1318882"/>
                  <a:pt x="1627849" y="1737055"/>
                  <a:pt x="1423194" y="2155229"/>
                </a:cubicBezTo>
                <a:cubicBezTo>
                  <a:pt x="1218538" y="2573535"/>
                  <a:pt x="961231" y="2908961"/>
                  <a:pt x="651272" y="316150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2" name="Freeform 1892"/>
          <p:cNvSpPr/>
          <p:nvPr/>
        </p:nvSpPr>
        <p:spPr>
          <a:xfrm>
            <a:off x="3341214" y="418524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3" name="Freeform 1893"/>
          <p:cNvSpPr/>
          <p:nvPr/>
        </p:nvSpPr>
        <p:spPr>
          <a:xfrm>
            <a:off x="3399423" y="4162893"/>
            <a:ext cx="47972" cy="78028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4" name="Freeform 1894"/>
          <p:cNvSpPr/>
          <p:nvPr/>
        </p:nvSpPr>
        <p:spPr>
          <a:xfrm>
            <a:off x="3451787" y="4186261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5" name="Freeform 1895"/>
          <p:cNvSpPr/>
          <p:nvPr/>
        </p:nvSpPr>
        <p:spPr>
          <a:xfrm>
            <a:off x="3503862" y="4186159"/>
            <a:ext cx="42365" cy="53746"/>
          </a:xfrm>
          <a:custGeom>
            <a:avLst/>
            <a:gdLst/>
            <a:ahLst/>
            <a:cxnLst/>
            <a:rect l="0" t="0" r="0" b="0"/>
            <a:pathLst>
              <a:path w="5295701" h="6718300">
                <a:moveTo>
                  <a:pt x="5295701" y="6718300"/>
                </a:moveTo>
                <a:lnTo>
                  <a:pt x="4142383" y="6718300"/>
                </a:lnTo>
                <a:lnTo>
                  <a:pt x="4142383" y="4287441"/>
                </a:lnTo>
                <a:cubicBezTo>
                  <a:pt x="3637955" y="4419733"/>
                  <a:pt x="3121157" y="4485879"/>
                  <a:pt x="2591990" y="4485879"/>
                </a:cubicBezTo>
                <a:cubicBezTo>
                  <a:pt x="1752865" y="4485879"/>
                  <a:pt x="1113102" y="4270772"/>
                  <a:pt x="672703" y="3840560"/>
                </a:cubicBezTo>
                <a:cubicBezTo>
                  <a:pt x="232436" y="3410347"/>
                  <a:pt x="8202" y="2798168"/>
                  <a:pt x="0" y="2004021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2041525"/>
                </a:lnTo>
                <a:cubicBezTo>
                  <a:pt x="1167805" y="3042709"/>
                  <a:pt x="1649412" y="3543300"/>
                  <a:pt x="2591990" y="3543300"/>
                </a:cubicBezTo>
                <a:cubicBezTo>
                  <a:pt x="3121157" y="3543300"/>
                  <a:pt x="3637955" y="3477221"/>
                  <a:pt x="4142383" y="3345061"/>
                </a:cubicBezTo>
                <a:lnTo>
                  <a:pt x="4142383" y="12700"/>
                </a:lnTo>
                <a:lnTo>
                  <a:pt x="5295701" y="12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6" name="Freeform 1896"/>
          <p:cNvSpPr/>
          <p:nvPr/>
        </p:nvSpPr>
        <p:spPr>
          <a:xfrm>
            <a:off x="3558533" y="4185245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7" name="Freeform 1897"/>
          <p:cNvSpPr/>
          <p:nvPr/>
        </p:nvSpPr>
        <p:spPr>
          <a:xfrm>
            <a:off x="3615406" y="4186261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8" name="Freeform 1898"/>
          <p:cNvSpPr/>
          <p:nvPr/>
        </p:nvSpPr>
        <p:spPr>
          <a:xfrm>
            <a:off x="3673927" y="4186261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99" name="Freeform 1899"/>
          <p:cNvSpPr/>
          <p:nvPr/>
        </p:nvSpPr>
        <p:spPr>
          <a:xfrm>
            <a:off x="3732498" y="4186261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0" name="Freeform 1900"/>
          <p:cNvSpPr/>
          <p:nvPr/>
        </p:nvSpPr>
        <p:spPr>
          <a:xfrm>
            <a:off x="3805585" y="4186261"/>
            <a:ext cx="46088" cy="53644"/>
          </a:xfrm>
          <a:custGeom>
            <a:avLst/>
            <a:gdLst/>
            <a:ahLst/>
            <a:cxnLst/>
            <a:rect l="0" t="0" r="0" b="0"/>
            <a:pathLst>
              <a:path w="5761037" h="6705600">
                <a:moveTo>
                  <a:pt x="2865041" y="2447925"/>
                </a:moveTo>
                <a:lnTo>
                  <a:pt x="4353322" y="0"/>
                </a:lnTo>
                <a:lnTo>
                  <a:pt x="5692775" y="0"/>
                </a:lnTo>
                <a:lnTo>
                  <a:pt x="3497461" y="3315494"/>
                </a:lnTo>
                <a:lnTo>
                  <a:pt x="5761037" y="6705600"/>
                </a:lnTo>
                <a:lnTo>
                  <a:pt x="4433887" y="6705600"/>
                </a:lnTo>
                <a:lnTo>
                  <a:pt x="2883694" y="4195565"/>
                </a:lnTo>
                <a:lnTo>
                  <a:pt x="1333302" y="6705600"/>
                </a:lnTo>
                <a:lnTo>
                  <a:pt x="0" y="6705600"/>
                </a:lnTo>
                <a:lnTo>
                  <a:pt x="2263577" y="3315494"/>
                </a:lnTo>
                <a:lnTo>
                  <a:pt x="68262" y="0"/>
                </a:lnTo>
                <a:lnTo>
                  <a:pt x="139541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1" name="Freeform 1901"/>
          <p:cNvSpPr/>
          <p:nvPr/>
        </p:nvSpPr>
        <p:spPr>
          <a:xfrm>
            <a:off x="3880923" y="4186261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2" name="Freeform 1902"/>
          <p:cNvSpPr/>
          <p:nvPr/>
        </p:nvSpPr>
        <p:spPr>
          <a:xfrm>
            <a:off x="3928357" y="4185245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3" name="Freeform 1903"/>
          <p:cNvSpPr/>
          <p:nvPr/>
        </p:nvSpPr>
        <p:spPr>
          <a:xfrm>
            <a:off x="3979524" y="4186261"/>
            <a:ext cx="46088" cy="53644"/>
          </a:xfrm>
          <a:custGeom>
            <a:avLst/>
            <a:gdLst/>
            <a:ahLst/>
            <a:cxnLst/>
            <a:rect l="0" t="0" r="0" b="0"/>
            <a:pathLst>
              <a:path w="5761037" h="6705600">
                <a:moveTo>
                  <a:pt x="2865041" y="2447925"/>
                </a:moveTo>
                <a:lnTo>
                  <a:pt x="4353322" y="0"/>
                </a:lnTo>
                <a:lnTo>
                  <a:pt x="5692775" y="0"/>
                </a:lnTo>
                <a:lnTo>
                  <a:pt x="3497461" y="3315494"/>
                </a:lnTo>
                <a:lnTo>
                  <a:pt x="5761037" y="6705600"/>
                </a:lnTo>
                <a:lnTo>
                  <a:pt x="4433887" y="6705600"/>
                </a:lnTo>
                <a:lnTo>
                  <a:pt x="2883694" y="4195565"/>
                </a:lnTo>
                <a:lnTo>
                  <a:pt x="1333302" y="6705600"/>
                </a:lnTo>
                <a:lnTo>
                  <a:pt x="0" y="6705600"/>
                </a:lnTo>
                <a:lnTo>
                  <a:pt x="2263577" y="3315494"/>
                </a:lnTo>
                <a:lnTo>
                  <a:pt x="68262" y="0"/>
                </a:lnTo>
                <a:lnTo>
                  <a:pt x="139541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4" name="Freeform 1904"/>
          <p:cNvSpPr/>
          <p:nvPr/>
        </p:nvSpPr>
        <p:spPr>
          <a:xfrm>
            <a:off x="4035522" y="4186261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5" name="Freeform 1905"/>
          <p:cNvSpPr/>
          <p:nvPr/>
        </p:nvSpPr>
        <p:spPr>
          <a:xfrm>
            <a:off x="4090819" y="418524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6" name="Freeform 1906"/>
          <p:cNvSpPr/>
          <p:nvPr/>
        </p:nvSpPr>
        <p:spPr>
          <a:xfrm>
            <a:off x="4145688" y="4186261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7" name="Freeform 1907"/>
          <p:cNvSpPr/>
          <p:nvPr/>
        </p:nvSpPr>
        <p:spPr>
          <a:xfrm>
            <a:off x="4206745" y="418524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8" name="Freeform 1908"/>
          <p:cNvSpPr/>
          <p:nvPr/>
        </p:nvSpPr>
        <p:spPr>
          <a:xfrm>
            <a:off x="4267782" y="4186261"/>
            <a:ext cx="33982" cy="53644"/>
          </a:xfrm>
          <a:custGeom>
            <a:avLst/>
            <a:gdLst/>
            <a:ahLst/>
            <a:cxnLst/>
            <a:rect l="0" t="0" r="0" b="0"/>
            <a:pathLst>
              <a:path w="4247753" h="6705600">
                <a:moveTo>
                  <a:pt x="4247753" y="948730"/>
                </a:moveTo>
                <a:lnTo>
                  <a:pt x="1153319" y="948730"/>
                </a:lnTo>
                <a:lnTo>
                  <a:pt x="115331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24775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09" name="Freeform 1909"/>
          <p:cNvSpPr/>
          <p:nvPr/>
        </p:nvSpPr>
        <p:spPr>
          <a:xfrm>
            <a:off x="4310451" y="418626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0" name="Freeform 1910"/>
          <p:cNvSpPr/>
          <p:nvPr/>
        </p:nvSpPr>
        <p:spPr>
          <a:xfrm>
            <a:off x="4369074" y="418626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1" name="Freeform 1911"/>
          <p:cNvSpPr/>
          <p:nvPr/>
        </p:nvSpPr>
        <p:spPr>
          <a:xfrm>
            <a:off x="4453388" y="4167668"/>
            <a:ext cx="52436" cy="72237"/>
          </a:xfrm>
          <a:custGeom>
            <a:avLst/>
            <a:gdLst/>
            <a:ahLst/>
            <a:cxnLst/>
            <a:rect l="0" t="0" r="0" b="0"/>
            <a:pathLst>
              <a:path w="6554589" h="9029700">
                <a:moveTo>
                  <a:pt x="3317677" y="5380435"/>
                </a:moveTo>
                <a:lnTo>
                  <a:pt x="1196777" y="5380435"/>
                </a:lnTo>
                <a:lnTo>
                  <a:pt x="1196777" y="9029700"/>
                </a:lnTo>
                <a:lnTo>
                  <a:pt x="0" y="9029700"/>
                </a:lnTo>
                <a:lnTo>
                  <a:pt x="0" y="0"/>
                </a:lnTo>
                <a:lnTo>
                  <a:pt x="2989064" y="0"/>
                </a:lnTo>
                <a:cubicBezTo>
                  <a:pt x="4005990" y="0"/>
                  <a:pt x="4788297" y="231710"/>
                  <a:pt x="5335985" y="695127"/>
                </a:cubicBezTo>
                <a:cubicBezTo>
                  <a:pt x="5883805" y="1158413"/>
                  <a:pt x="6157714" y="1832769"/>
                  <a:pt x="6157714" y="2718197"/>
                </a:cubicBezTo>
                <a:cubicBezTo>
                  <a:pt x="6157714" y="3280834"/>
                  <a:pt x="6005777" y="3771107"/>
                  <a:pt x="5701904" y="4189016"/>
                </a:cubicBezTo>
                <a:cubicBezTo>
                  <a:pt x="5398162" y="4606793"/>
                  <a:pt x="4975490" y="4919134"/>
                  <a:pt x="4433888" y="5126038"/>
                </a:cubicBezTo>
                <a:lnTo>
                  <a:pt x="6554589" y="8955286"/>
                </a:lnTo>
                <a:lnTo>
                  <a:pt x="6554589" y="9029700"/>
                </a:lnTo>
                <a:lnTo>
                  <a:pt x="5277247" y="9029700"/>
                </a:lnTo>
                <a:close/>
                <a:moveTo>
                  <a:pt x="1196777" y="4406900"/>
                </a:moveTo>
                <a:lnTo>
                  <a:pt x="3026172" y="4406900"/>
                </a:lnTo>
                <a:cubicBezTo>
                  <a:pt x="3617384" y="4406900"/>
                  <a:pt x="4087614" y="4253773"/>
                  <a:pt x="4436864" y="3947518"/>
                </a:cubicBezTo>
                <a:cubicBezTo>
                  <a:pt x="4786247" y="3641262"/>
                  <a:pt x="4960938" y="3231489"/>
                  <a:pt x="4960938" y="2718197"/>
                </a:cubicBezTo>
                <a:cubicBezTo>
                  <a:pt x="4960938" y="2159530"/>
                  <a:pt x="4794515" y="1731169"/>
                  <a:pt x="4461669" y="1433116"/>
                </a:cubicBezTo>
                <a:cubicBezTo>
                  <a:pt x="4128956" y="1135063"/>
                  <a:pt x="3648406" y="983986"/>
                  <a:pt x="3020021" y="979885"/>
                </a:cubicBezTo>
                <a:lnTo>
                  <a:pt x="1196777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2" name="Freeform 1912"/>
          <p:cNvSpPr/>
          <p:nvPr/>
        </p:nvSpPr>
        <p:spPr>
          <a:xfrm>
            <a:off x="4508927" y="4167668"/>
            <a:ext cx="63549" cy="72237"/>
          </a:xfrm>
          <a:custGeom>
            <a:avLst/>
            <a:gdLst/>
            <a:ahLst/>
            <a:cxnLst/>
            <a:rect l="0" t="0" r="0" b="0"/>
            <a:pathLst>
              <a:path w="7943652" h="9029700">
                <a:moveTo>
                  <a:pt x="5860058" y="6669485"/>
                </a:moveTo>
                <a:lnTo>
                  <a:pt x="2077443" y="6669485"/>
                </a:lnTo>
                <a:lnTo>
                  <a:pt x="1227932" y="9029700"/>
                </a:lnTo>
                <a:lnTo>
                  <a:pt x="0" y="9029700"/>
                </a:lnTo>
                <a:lnTo>
                  <a:pt x="3447852" y="0"/>
                </a:lnTo>
                <a:lnTo>
                  <a:pt x="4489649" y="0"/>
                </a:lnTo>
                <a:lnTo>
                  <a:pt x="7943652" y="9029700"/>
                </a:lnTo>
                <a:lnTo>
                  <a:pt x="6722071" y="9029700"/>
                </a:lnTo>
                <a:close/>
                <a:moveTo>
                  <a:pt x="2437011" y="5689600"/>
                </a:moveTo>
                <a:lnTo>
                  <a:pt x="5506641" y="5689600"/>
                </a:lnTo>
                <a:lnTo>
                  <a:pt x="3968750" y="1469827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3" name="Freeform 1913"/>
          <p:cNvSpPr/>
          <p:nvPr/>
        </p:nvSpPr>
        <p:spPr>
          <a:xfrm>
            <a:off x="4582164" y="4167668"/>
            <a:ext cx="51941" cy="72237"/>
          </a:xfrm>
          <a:custGeom>
            <a:avLst/>
            <a:gdLst/>
            <a:ahLst/>
            <a:cxnLst/>
            <a:rect l="0" t="0" r="0" b="0"/>
            <a:pathLst>
              <a:path w="6492677" h="9029700">
                <a:moveTo>
                  <a:pt x="1190625" y="5494735"/>
                </a:move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3330178" y="0"/>
                </a:lnTo>
                <a:cubicBezTo>
                  <a:pt x="4318132" y="0"/>
                  <a:pt x="5092171" y="252215"/>
                  <a:pt x="5652294" y="756643"/>
                </a:cubicBezTo>
                <a:cubicBezTo>
                  <a:pt x="6212549" y="1261071"/>
                  <a:pt x="6492677" y="1928813"/>
                  <a:pt x="6492677" y="2759869"/>
                </a:cubicBezTo>
                <a:cubicBezTo>
                  <a:pt x="6492677" y="3636301"/>
                  <a:pt x="6218767" y="4311254"/>
                  <a:pt x="5670947" y="4784725"/>
                </a:cubicBezTo>
                <a:cubicBezTo>
                  <a:pt x="5123259" y="5258065"/>
                  <a:pt x="4338836" y="5494735"/>
                  <a:pt x="3317677" y="5494735"/>
                </a:cubicBezTo>
                <a:close/>
                <a:moveTo>
                  <a:pt x="1190625" y="4521200"/>
                </a:moveTo>
                <a:lnTo>
                  <a:pt x="3330178" y="4521200"/>
                </a:lnTo>
                <a:cubicBezTo>
                  <a:pt x="3966766" y="4521200"/>
                  <a:pt x="4454525" y="4371314"/>
                  <a:pt x="4793456" y="4071541"/>
                </a:cubicBezTo>
                <a:cubicBezTo>
                  <a:pt x="5132520" y="3771768"/>
                  <a:pt x="5302052" y="3338645"/>
                  <a:pt x="5302052" y="2772172"/>
                </a:cubicBezTo>
                <a:cubicBezTo>
                  <a:pt x="5302052" y="2234671"/>
                  <a:pt x="5132520" y="1804724"/>
                  <a:pt x="4793456" y="1482329"/>
                </a:cubicBezTo>
                <a:cubicBezTo>
                  <a:pt x="4454525" y="1159802"/>
                  <a:pt x="3989454" y="992321"/>
                  <a:pt x="3398242" y="979885"/>
                </a:cubicBezTo>
                <a:lnTo>
                  <a:pt x="1190625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4" name="Freeform 1914"/>
          <p:cNvSpPr/>
          <p:nvPr/>
        </p:nvSpPr>
        <p:spPr>
          <a:xfrm>
            <a:off x="4646868" y="4167668"/>
            <a:ext cx="9525" cy="72237"/>
          </a:xfrm>
          <a:custGeom>
            <a:avLst/>
            <a:gdLst/>
            <a:ahLst/>
            <a:cxnLst/>
            <a:rect l="0" t="0" r="0" b="0"/>
            <a:pathLst>
              <a:path w="1190625" h="9029700">
                <a:moveTo>
                  <a:pt x="1190625" y="9029700"/>
                </a:move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5" name="Freeform 1915"/>
          <p:cNvSpPr/>
          <p:nvPr/>
        </p:nvSpPr>
        <p:spPr>
          <a:xfrm>
            <a:off x="4673706" y="4167668"/>
            <a:ext cx="52239" cy="72237"/>
          </a:xfrm>
          <a:custGeom>
            <a:avLst/>
            <a:gdLst/>
            <a:ahLst/>
            <a:cxnLst/>
            <a:rect l="0" t="0" r="0" b="0"/>
            <a:pathLst>
              <a:path w="6529983" h="9029700">
                <a:moveTo>
                  <a:pt x="0" y="9029700"/>
                </a:moveTo>
                <a:lnTo>
                  <a:pt x="0" y="0"/>
                </a:lnTo>
                <a:lnTo>
                  <a:pt x="2548731" y="0"/>
                </a:lnTo>
                <a:cubicBezTo>
                  <a:pt x="3334279" y="0"/>
                  <a:pt x="4028810" y="173633"/>
                  <a:pt x="4632325" y="520899"/>
                </a:cubicBezTo>
                <a:cubicBezTo>
                  <a:pt x="5235972" y="868165"/>
                  <a:pt x="5702102" y="1362274"/>
                  <a:pt x="6030714" y="2003227"/>
                </a:cubicBezTo>
                <a:cubicBezTo>
                  <a:pt x="6359327" y="2644048"/>
                  <a:pt x="6525750" y="3379986"/>
                  <a:pt x="6529983" y="4211043"/>
                </a:cubicBezTo>
                <a:lnTo>
                  <a:pt x="6529983" y="4787702"/>
                </a:lnTo>
                <a:cubicBezTo>
                  <a:pt x="6529983" y="5639396"/>
                  <a:pt x="6365611" y="6385719"/>
                  <a:pt x="6036866" y="7026672"/>
                </a:cubicBezTo>
                <a:cubicBezTo>
                  <a:pt x="5708253" y="7667493"/>
                  <a:pt x="5239015" y="8159486"/>
                  <a:pt x="4629150" y="8502650"/>
                </a:cubicBezTo>
                <a:cubicBezTo>
                  <a:pt x="4019418" y="8845683"/>
                  <a:pt x="3309408" y="9021366"/>
                  <a:pt x="2499122" y="9029700"/>
                </a:cubicBezTo>
                <a:close/>
                <a:moveTo>
                  <a:pt x="1190625" y="979885"/>
                </a:moveTo>
                <a:lnTo>
                  <a:pt x="1190625" y="8056166"/>
                </a:lnTo>
                <a:lnTo>
                  <a:pt x="2443361" y="8056166"/>
                </a:lnTo>
                <a:cubicBezTo>
                  <a:pt x="3361068" y="8056166"/>
                  <a:pt x="4075179" y="7770879"/>
                  <a:pt x="4585692" y="7200305"/>
                </a:cubicBezTo>
                <a:cubicBezTo>
                  <a:pt x="5096338" y="6629731"/>
                  <a:pt x="5351661" y="5817328"/>
                  <a:pt x="5351661" y="4763096"/>
                </a:cubicBezTo>
                <a:lnTo>
                  <a:pt x="5351661" y="4235847"/>
                </a:lnTo>
                <a:cubicBezTo>
                  <a:pt x="5351661" y="3210455"/>
                  <a:pt x="5110824" y="2413530"/>
                  <a:pt x="4629150" y="1845072"/>
                </a:cubicBezTo>
                <a:cubicBezTo>
                  <a:pt x="4147608" y="1276615"/>
                  <a:pt x="3464454" y="988219"/>
                  <a:pt x="2579687" y="97988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6" name="Freeform 1916"/>
          <p:cNvSpPr/>
          <p:nvPr/>
        </p:nvSpPr>
        <p:spPr>
          <a:xfrm>
            <a:off x="4765349" y="4167668"/>
            <a:ext cx="44748" cy="72237"/>
          </a:xfrm>
          <a:custGeom>
            <a:avLst/>
            <a:gdLst/>
            <a:ahLst/>
            <a:cxnLst/>
            <a:rect l="0" t="0" r="0" b="0"/>
            <a:pathLst>
              <a:path w="5593556" h="9029700">
                <a:moveTo>
                  <a:pt x="4979591" y="5037535"/>
                </a:moveTo>
                <a:lnTo>
                  <a:pt x="1190625" y="503753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5593556" y="0"/>
                </a:lnTo>
                <a:lnTo>
                  <a:pt x="5593556" y="979885"/>
                </a:lnTo>
                <a:lnTo>
                  <a:pt x="1190625" y="979885"/>
                </a:lnTo>
                <a:lnTo>
                  <a:pt x="1190625" y="4064000"/>
                </a:lnTo>
                <a:lnTo>
                  <a:pt x="4979591" y="4064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7" name="Freeform 1917"/>
          <p:cNvSpPr/>
          <p:nvPr/>
        </p:nvSpPr>
        <p:spPr>
          <a:xfrm>
            <a:off x="4818904" y="4166652"/>
            <a:ext cx="58091" cy="74269"/>
          </a:xfrm>
          <a:custGeom>
            <a:avLst/>
            <a:gdLst/>
            <a:ahLst/>
            <a:cxnLst/>
            <a:rect l="0" t="0" r="0" b="0"/>
            <a:pathLst>
              <a:path w="7261423" h="9283700">
                <a:moveTo>
                  <a:pt x="7261423" y="4933554"/>
                </a:moveTo>
                <a:cubicBezTo>
                  <a:pt x="7261423" y="5818850"/>
                  <a:pt x="7112595" y="6591433"/>
                  <a:pt x="6814939" y="7251304"/>
                </a:cubicBezTo>
                <a:cubicBezTo>
                  <a:pt x="6517283" y="7911174"/>
                  <a:pt x="6095603" y="8414875"/>
                  <a:pt x="5549900" y="8762405"/>
                </a:cubicBezTo>
                <a:cubicBezTo>
                  <a:pt x="5004197" y="9109935"/>
                  <a:pt x="4367543" y="9283700"/>
                  <a:pt x="3639939" y="9283700"/>
                </a:cubicBezTo>
                <a:cubicBezTo>
                  <a:pt x="2928871" y="9283700"/>
                  <a:pt x="2298435" y="9108943"/>
                  <a:pt x="1748631" y="8759429"/>
                </a:cubicBezTo>
                <a:cubicBezTo>
                  <a:pt x="1198827" y="8409782"/>
                  <a:pt x="771988" y="7911241"/>
                  <a:pt x="468114" y="7263805"/>
                </a:cubicBezTo>
                <a:cubicBezTo>
                  <a:pt x="164240" y="6616370"/>
                  <a:pt x="8202" y="5866475"/>
                  <a:pt x="0" y="5014119"/>
                </a:cubicBezTo>
                <a:lnTo>
                  <a:pt x="0" y="4362649"/>
                </a:lnTo>
                <a:cubicBezTo>
                  <a:pt x="0" y="3493757"/>
                  <a:pt x="150879" y="2726333"/>
                  <a:pt x="452636" y="2060377"/>
                </a:cubicBezTo>
                <a:cubicBezTo>
                  <a:pt x="754393" y="1394288"/>
                  <a:pt x="1181232" y="884371"/>
                  <a:pt x="1733153" y="530622"/>
                </a:cubicBezTo>
                <a:cubicBezTo>
                  <a:pt x="2285074" y="176874"/>
                  <a:pt x="2916568" y="0"/>
                  <a:pt x="3627636" y="0"/>
                </a:cubicBezTo>
                <a:cubicBezTo>
                  <a:pt x="4351139" y="0"/>
                  <a:pt x="4988785" y="174824"/>
                  <a:pt x="5540573" y="524471"/>
                </a:cubicBezTo>
                <a:cubicBezTo>
                  <a:pt x="6092494" y="873985"/>
                  <a:pt x="6517283" y="1380795"/>
                  <a:pt x="6814939" y="2044899"/>
                </a:cubicBezTo>
                <a:cubicBezTo>
                  <a:pt x="7112595" y="2708871"/>
                  <a:pt x="7261423" y="3481454"/>
                  <a:pt x="7261423" y="4362649"/>
                </a:cubicBezTo>
                <a:close/>
                <a:moveTo>
                  <a:pt x="6077148" y="4350147"/>
                </a:moveTo>
                <a:cubicBezTo>
                  <a:pt x="6077148" y="3278320"/>
                  <a:pt x="5862175" y="2455863"/>
                  <a:pt x="5432227" y="1882775"/>
                </a:cubicBezTo>
                <a:cubicBezTo>
                  <a:pt x="5002279" y="1309688"/>
                  <a:pt x="4400748" y="1023144"/>
                  <a:pt x="3627636" y="1023144"/>
                </a:cubicBezTo>
                <a:cubicBezTo>
                  <a:pt x="2875161" y="1023144"/>
                  <a:pt x="2282891" y="1309688"/>
                  <a:pt x="1850827" y="1882775"/>
                </a:cubicBezTo>
                <a:cubicBezTo>
                  <a:pt x="1418894" y="2455863"/>
                  <a:pt x="1196710" y="3251399"/>
                  <a:pt x="1184275" y="4269383"/>
                </a:cubicBezTo>
                <a:lnTo>
                  <a:pt x="1184275" y="4933554"/>
                </a:lnTo>
                <a:cubicBezTo>
                  <a:pt x="1184275" y="5972175"/>
                  <a:pt x="1402358" y="6788415"/>
                  <a:pt x="1838523" y="7382272"/>
                </a:cubicBezTo>
                <a:cubicBezTo>
                  <a:pt x="2274689" y="7975997"/>
                  <a:pt x="2875161" y="8272860"/>
                  <a:pt x="3639939" y="8272860"/>
                </a:cubicBezTo>
                <a:cubicBezTo>
                  <a:pt x="4408951" y="8272860"/>
                  <a:pt x="5004263" y="7992534"/>
                  <a:pt x="5425877" y="7431882"/>
                </a:cubicBezTo>
                <a:cubicBezTo>
                  <a:pt x="5847622" y="6871097"/>
                  <a:pt x="6064713" y="6067293"/>
                  <a:pt x="6077148" y="502046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8" name="Freeform 1918"/>
          <p:cNvSpPr/>
          <p:nvPr/>
        </p:nvSpPr>
        <p:spPr>
          <a:xfrm>
            <a:off x="4891182" y="4167668"/>
            <a:ext cx="52436" cy="72237"/>
          </a:xfrm>
          <a:custGeom>
            <a:avLst/>
            <a:gdLst/>
            <a:ahLst/>
            <a:cxnLst/>
            <a:rect l="0" t="0" r="0" b="0"/>
            <a:pathLst>
              <a:path w="6554589" h="9029700">
                <a:moveTo>
                  <a:pt x="3317677" y="5380435"/>
                </a:moveTo>
                <a:lnTo>
                  <a:pt x="1196777" y="5380435"/>
                </a:lnTo>
                <a:lnTo>
                  <a:pt x="1196777" y="9029700"/>
                </a:lnTo>
                <a:lnTo>
                  <a:pt x="0" y="9029700"/>
                </a:lnTo>
                <a:lnTo>
                  <a:pt x="0" y="0"/>
                </a:lnTo>
                <a:lnTo>
                  <a:pt x="2989064" y="0"/>
                </a:lnTo>
                <a:cubicBezTo>
                  <a:pt x="4005990" y="0"/>
                  <a:pt x="4788297" y="231710"/>
                  <a:pt x="5335985" y="695127"/>
                </a:cubicBezTo>
                <a:cubicBezTo>
                  <a:pt x="5883805" y="1158413"/>
                  <a:pt x="6157714" y="1832769"/>
                  <a:pt x="6157714" y="2718197"/>
                </a:cubicBezTo>
                <a:cubicBezTo>
                  <a:pt x="6157714" y="3280834"/>
                  <a:pt x="6005777" y="3771107"/>
                  <a:pt x="5701904" y="4189016"/>
                </a:cubicBezTo>
                <a:cubicBezTo>
                  <a:pt x="5398162" y="4606793"/>
                  <a:pt x="4975490" y="4919134"/>
                  <a:pt x="4433888" y="5126038"/>
                </a:cubicBezTo>
                <a:lnTo>
                  <a:pt x="6554589" y="8955286"/>
                </a:lnTo>
                <a:lnTo>
                  <a:pt x="6554589" y="9029700"/>
                </a:lnTo>
                <a:lnTo>
                  <a:pt x="5277247" y="9029700"/>
                </a:lnTo>
                <a:close/>
                <a:moveTo>
                  <a:pt x="1196777" y="4406900"/>
                </a:moveTo>
                <a:lnTo>
                  <a:pt x="3026172" y="4406900"/>
                </a:lnTo>
                <a:cubicBezTo>
                  <a:pt x="3617384" y="4406900"/>
                  <a:pt x="4087614" y="4253773"/>
                  <a:pt x="4436864" y="3947518"/>
                </a:cubicBezTo>
                <a:cubicBezTo>
                  <a:pt x="4786247" y="3641262"/>
                  <a:pt x="4960938" y="3231489"/>
                  <a:pt x="4960938" y="2718197"/>
                </a:cubicBezTo>
                <a:cubicBezTo>
                  <a:pt x="4960938" y="2159530"/>
                  <a:pt x="4794515" y="1731169"/>
                  <a:pt x="4461669" y="1433116"/>
                </a:cubicBezTo>
                <a:cubicBezTo>
                  <a:pt x="4128956" y="1135063"/>
                  <a:pt x="3648406" y="983986"/>
                  <a:pt x="3020021" y="979885"/>
                </a:cubicBezTo>
                <a:lnTo>
                  <a:pt x="1196777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19" name="Freeform 1919"/>
          <p:cNvSpPr/>
          <p:nvPr/>
        </p:nvSpPr>
        <p:spPr>
          <a:xfrm>
            <a:off x="4953716" y="4167668"/>
            <a:ext cx="45889" cy="72237"/>
          </a:xfrm>
          <a:custGeom>
            <a:avLst/>
            <a:gdLst/>
            <a:ahLst/>
            <a:cxnLst/>
            <a:rect l="0" t="0" r="0" b="0"/>
            <a:pathLst>
              <a:path w="5736233" h="9029700">
                <a:moveTo>
                  <a:pt x="5103614" y="4859735"/>
                </a:moveTo>
                <a:lnTo>
                  <a:pt x="1190625" y="4859735"/>
                </a:lnTo>
                <a:lnTo>
                  <a:pt x="1190625" y="8056166"/>
                </a:lnTo>
                <a:lnTo>
                  <a:pt x="5736233" y="8056166"/>
                </a:lnTo>
                <a:lnTo>
                  <a:pt x="5736233" y="9029700"/>
                </a:lnTo>
                <a:lnTo>
                  <a:pt x="0" y="9029700"/>
                </a:lnTo>
                <a:lnTo>
                  <a:pt x="0" y="0"/>
                </a:lnTo>
                <a:lnTo>
                  <a:pt x="5674122" y="0"/>
                </a:lnTo>
                <a:lnTo>
                  <a:pt x="5674122" y="979885"/>
                </a:lnTo>
                <a:lnTo>
                  <a:pt x="1190625" y="979885"/>
                </a:lnTo>
                <a:lnTo>
                  <a:pt x="1190625" y="3886200"/>
                </a:lnTo>
                <a:lnTo>
                  <a:pt x="5103614" y="38862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0" name="Freeform 1920"/>
          <p:cNvSpPr/>
          <p:nvPr/>
        </p:nvSpPr>
        <p:spPr>
          <a:xfrm>
            <a:off x="5007010" y="4166652"/>
            <a:ext cx="52487" cy="74269"/>
          </a:xfrm>
          <a:custGeom>
            <a:avLst/>
            <a:gdLst/>
            <a:ahLst/>
            <a:cxnLst/>
            <a:rect l="0" t="0" r="0" b="0"/>
            <a:pathLst>
              <a:path w="6560939" h="9283700">
                <a:moveTo>
                  <a:pt x="3212307" y="5131991"/>
                </a:moveTo>
                <a:cubicBezTo>
                  <a:pt x="2191147" y="4838304"/>
                  <a:pt x="1447999" y="4477412"/>
                  <a:pt x="982861" y="4049316"/>
                </a:cubicBezTo>
                <a:cubicBezTo>
                  <a:pt x="517856" y="3621088"/>
                  <a:pt x="285353" y="3092517"/>
                  <a:pt x="285353" y="2463602"/>
                </a:cubicBezTo>
                <a:cubicBezTo>
                  <a:pt x="285353" y="1752005"/>
                  <a:pt x="569516" y="1163505"/>
                  <a:pt x="1137841" y="698104"/>
                </a:cubicBezTo>
                <a:cubicBezTo>
                  <a:pt x="1706298" y="232702"/>
                  <a:pt x="2445279" y="0"/>
                  <a:pt x="3354785" y="0"/>
                </a:cubicBezTo>
                <a:cubicBezTo>
                  <a:pt x="3974968" y="0"/>
                  <a:pt x="4527947" y="119923"/>
                  <a:pt x="5013722" y="359768"/>
                </a:cubicBezTo>
                <a:cubicBezTo>
                  <a:pt x="5499497" y="599480"/>
                  <a:pt x="5875668" y="930210"/>
                  <a:pt x="6142236" y="1351955"/>
                </a:cubicBezTo>
                <a:cubicBezTo>
                  <a:pt x="6408936" y="1773569"/>
                  <a:pt x="6542286" y="2234473"/>
                  <a:pt x="6542286" y="2734668"/>
                </a:cubicBezTo>
                <a:lnTo>
                  <a:pt x="5345510" y="2734668"/>
                </a:lnTo>
                <a:cubicBezTo>
                  <a:pt x="5345510" y="2188965"/>
                  <a:pt x="5171877" y="1760075"/>
                  <a:pt x="4824611" y="1447999"/>
                </a:cubicBezTo>
                <a:cubicBezTo>
                  <a:pt x="4477346" y="1135923"/>
                  <a:pt x="3987403" y="979885"/>
                  <a:pt x="3354785" y="979885"/>
                </a:cubicBezTo>
                <a:cubicBezTo>
                  <a:pt x="2767807" y="979885"/>
                  <a:pt x="2309945" y="1109266"/>
                  <a:pt x="1981200" y="1368029"/>
                </a:cubicBezTo>
                <a:cubicBezTo>
                  <a:pt x="1652588" y="1626659"/>
                  <a:pt x="1488282" y="1985632"/>
                  <a:pt x="1488282" y="2444949"/>
                </a:cubicBezTo>
                <a:cubicBezTo>
                  <a:pt x="1488282" y="2813381"/>
                  <a:pt x="1644319" y="3124862"/>
                  <a:pt x="1956396" y="3379391"/>
                </a:cubicBezTo>
                <a:cubicBezTo>
                  <a:pt x="2268604" y="3633920"/>
                  <a:pt x="2799887" y="3866754"/>
                  <a:pt x="3550246" y="4077891"/>
                </a:cubicBezTo>
                <a:cubicBezTo>
                  <a:pt x="4300604" y="4288896"/>
                  <a:pt x="4887648" y="4521597"/>
                  <a:pt x="5311378" y="4775994"/>
                </a:cubicBezTo>
                <a:cubicBezTo>
                  <a:pt x="5735109" y="5030391"/>
                  <a:pt x="6049302" y="5327187"/>
                  <a:pt x="6253957" y="5666383"/>
                </a:cubicBezTo>
                <a:cubicBezTo>
                  <a:pt x="6458611" y="6005579"/>
                  <a:pt x="6560939" y="6404769"/>
                  <a:pt x="6560939" y="6863954"/>
                </a:cubicBezTo>
                <a:cubicBezTo>
                  <a:pt x="6560939" y="7596056"/>
                  <a:pt x="6275652" y="8182372"/>
                  <a:pt x="5705078" y="8622904"/>
                </a:cubicBezTo>
                <a:cubicBezTo>
                  <a:pt x="5134637" y="9063435"/>
                  <a:pt x="4371909" y="9283700"/>
                  <a:pt x="3416896" y="9283700"/>
                </a:cubicBezTo>
                <a:cubicBezTo>
                  <a:pt x="2796712" y="9283700"/>
                  <a:pt x="2217870" y="9164835"/>
                  <a:pt x="1680369" y="8927108"/>
                </a:cubicBezTo>
                <a:cubicBezTo>
                  <a:pt x="1143000" y="8689380"/>
                  <a:pt x="728597" y="8363810"/>
                  <a:pt x="437158" y="7950399"/>
                </a:cubicBezTo>
                <a:cubicBezTo>
                  <a:pt x="145720" y="7536988"/>
                  <a:pt x="0" y="7067749"/>
                  <a:pt x="0" y="6542683"/>
                </a:cubicBezTo>
                <a:lnTo>
                  <a:pt x="1196777" y="6542683"/>
                </a:lnTo>
                <a:cubicBezTo>
                  <a:pt x="1196777" y="7088386"/>
                  <a:pt x="1398323" y="7519393"/>
                  <a:pt x="1801416" y="7835702"/>
                </a:cubicBezTo>
                <a:cubicBezTo>
                  <a:pt x="2204509" y="8152011"/>
                  <a:pt x="2743002" y="8310166"/>
                  <a:pt x="3416896" y="8310166"/>
                </a:cubicBezTo>
                <a:cubicBezTo>
                  <a:pt x="4045281" y="8310166"/>
                  <a:pt x="4526889" y="8181909"/>
                  <a:pt x="4861719" y="7925396"/>
                </a:cubicBezTo>
                <a:cubicBezTo>
                  <a:pt x="5196549" y="7668750"/>
                  <a:pt x="5363964" y="7319037"/>
                  <a:pt x="5363964" y="6876257"/>
                </a:cubicBezTo>
                <a:cubicBezTo>
                  <a:pt x="5363964" y="6433477"/>
                  <a:pt x="5208918" y="6091040"/>
                  <a:pt x="4898827" y="5848946"/>
                </a:cubicBezTo>
                <a:cubicBezTo>
                  <a:pt x="4588867" y="5606852"/>
                  <a:pt x="4026694" y="5367867"/>
                  <a:pt x="3212307" y="51319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1" name="Freeform 1921"/>
          <p:cNvSpPr/>
          <p:nvPr/>
        </p:nvSpPr>
        <p:spPr>
          <a:xfrm>
            <a:off x="5072369" y="4167668"/>
            <a:ext cx="9525" cy="72237"/>
          </a:xfrm>
          <a:custGeom>
            <a:avLst/>
            <a:gdLst/>
            <a:ahLst/>
            <a:cxnLst/>
            <a:rect l="0" t="0" r="0" b="0"/>
            <a:pathLst>
              <a:path w="1190625" h="9029700">
                <a:moveTo>
                  <a:pt x="1190625" y="9029700"/>
                </a:move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2" name="Freeform 1922"/>
          <p:cNvSpPr/>
          <p:nvPr/>
        </p:nvSpPr>
        <p:spPr>
          <a:xfrm>
            <a:off x="5096876" y="4166652"/>
            <a:ext cx="55660" cy="74269"/>
          </a:xfrm>
          <a:custGeom>
            <a:avLst/>
            <a:gdLst/>
            <a:ahLst/>
            <a:cxnLst/>
            <a:rect l="0" t="0" r="0" b="0"/>
            <a:pathLst>
              <a:path w="6957615" h="9283700">
                <a:moveTo>
                  <a:pt x="6957615" y="7974410"/>
                </a:moveTo>
                <a:cubicBezTo>
                  <a:pt x="6651757" y="8412957"/>
                  <a:pt x="6224918" y="8740842"/>
                  <a:pt x="5677098" y="8958065"/>
                </a:cubicBezTo>
                <a:cubicBezTo>
                  <a:pt x="5129278" y="9175154"/>
                  <a:pt x="4491566" y="9283700"/>
                  <a:pt x="3763962" y="9283700"/>
                </a:cubicBezTo>
                <a:cubicBezTo>
                  <a:pt x="3028156" y="9283700"/>
                  <a:pt x="2374966" y="9110994"/>
                  <a:pt x="1804392" y="8765580"/>
                </a:cubicBezTo>
                <a:cubicBezTo>
                  <a:pt x="1233950" y="8420034"/>
                  <a:pt x="792625" y="7928703"/>
                  <a:pt x="480417" y="7291586"/>
                </a:cubicBezTo>
                <a:cubicBezTo>
                  <a:pt x="168341" y="6654470"/>
                  <a:pt x="8202" y="5916018"/>
                  <a:pt x="0" y="5076230"/>
                </a:cubicBezTo>
                <a:lnTo>
                  <a:pt x="0" y="4288036"/>
                </a:lnTo>
                <a:cubicBezTo>
                  <a:pt x="0" y="2927020"/>
                  <a:pt x="317235" y="1872126"/>
                  <a:pt x="951706" y="1123355"/>
                </a:cubicBezTo>
                <a:cubicBezTo>
                  <a:pt x="1586309" y="374452"/>
                  <a:pt x="2478286" y="0"/>
                  <a:pt x="3627636" y="0"/>
                </a:cubicBezTo>
                <a:cubicBezTo>
                  <a:pt x="4570214" y="0"/>
                  <a:pt x="5328774" y="240838"/>
                  <a:pt x="5903317" y="722511"/>
                </a:cubicBezTo>
                <a:cubicBezTo>
                  <a:pt x="6477992" y="1204053"/>
                  <a:pt x="6829425" y="1887207"/>
                  <a:pt x="6957615" y="2771974"/>
                </a:cubicBezTo>
                <a:lnTo>
                  <a:pt x="5766990" y="2771974"/>
                </a:lnTo>
                <a:cubicBezTo>
                  <a:pt x="5543814" y="1577248"/>
                  <a:pt x="4832747" y="979885"/>
                  <a:pt x="3633787" y="979885"/>
                </a:cubicBezTo>
                <a:cubicBezTo>
                  <a:pt x="2835936" y="979885"/>
                  <a:pt x="2231297" y="1260211"/>
                  <a:pt x="1819870" y="1820863"/>
                </a:cubicBezTo>
                <a:cubicBezTo>
                  <a:pt x="1408575" y="2381515"/>
                  <a:pt x="1200877" y="3193587"/>
                  <a:pt x="1196776" y="4257080"/>
                </a:cubicBezTo>
                <a:lnTo>
                  <a:pt x="1196776" y="4995665"/>
                </a:lnTo>
                <a:cubicBezTo>
                  <a:pt x="1196776" y="6009415"/>
                  <a:pt x="1428287" y="6815270"/>
                  <a:pt x="1891308" y="7413229"/>
                </a:cubicBezTo>
                <a:cubicBezTo>
                  <a:pt x="2354328" y="8011187"/>
                  <a:pt x="2980663" y="8310166"/>
                  <a:pt x="3770312" y="8310166"/>
                </a:cubicBezTo>
                <a:cubicBezTo>
                  <a:pt x="4216797" y="8310166"/>
                  <a:pt x="4607454" y="8260491"/>
                  <a:pt x="4942284" y="8161140"/>
                </a:cubicBezTo>
                <a:cubicBezTo>
                  <a:pt x="5277114" y="8061789"/>
                  <a:pt x="5554067" y="7894175"/>
                  <a:pt x="5773142" y="7658299"/>
                </a:cubicBezTo>
                <a:lnTo>
                  <a:pt x="5773142" y="5628283"/>
                </a:lnTo>
                <a:lnTo>
                  <a:pt x="3683397" y="5628283"/>
                </a:lnTo>
                <a:lnTo>
                  <a:pt x="3683397" y="4660900"/>
                </a:lnTo>
                <a:lnTo>
                  <a:pt x="6957615" y="46609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3" name="Freeform 1923"/>
          <p:cNvSpPr/>
          <p:nvPr/>
        </p:nvSpPr>
        <p:spPr>
          <a:xfrm>
            <a:off x="5168397" y="4167668"/>
            <a:ext cx="55513" cy="72237"/>
          </a:xfrm>
          <a:custGeom>
            <a:avLst/>
            <a:gdLst/>
            <a:ahLst/>
            <a:cxnLst/>
            <a:rect l="0" t="0" r="0" b="0"/>
            <a:pathLst>
              <a:path w="6939161" h="9029700">
                <a:moveTo>
                  <a:pt x="6939161" y="9029700"/>
                </a:moveTo>
                <a:lnTo>
                  <a:pt x="5742384" y="9029700"/>
                </a:lnTo>
                <a:lnTo>
                  <a:pt x="5742384" y="4859735"/>
                </a:lnTo>
                <a:lnTo>
                  <a:pt x="1190625" y="485973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886200"/>
                </a:lnTo>
                <a:lnTo>
                  <a:pt x="5742384" y="3886200"/>
                </a:lnTo>
                <a:lnTo>
                  <a:pt x="5742384" y="0"/>
                </a:lnTo>
                <a:lnTo>
                  <a:pt x="693916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4" name="Freeform 1924"/>
          <p:cNvSpPr/>
          <p:nvPr/>
        </p:nvSpPr>
        <p:spPr>
          <a:xfrm>
            <a:off x="5233360" y="4167668"/>
            <a:ext cx="55860" cy="72237"/>
          </a:xfrm>
          <a:custGeom>
            <a:avLst/>
            <a:gdLst/>
            <a:ahLst/>
            <a:cxnLst/>
            <a:rect l="0" t="0" r="0" b="0"/>
            <a:pathLst>
              <a:path w="6982619" h="9029700">
                <a:moveTo>
                  <a:pt x="6982619" y="979885"/>
                </a:moveTo>
                <a:lnTo>
                  <a:pt x="4080471" y="979885"/>
                </a:lnTo>
                <a:lnTo>
                  <a:pt x="4080471" y="9029700"/>
                </a:lnTo>
                <a:lnTo>
                  <a:pt x="2895997" y="9029700"/>
                </a:lnTo>
                <a:lnTo>
                  <a:pt x="2895997" y="979885"/>
                </a:lnTo>
                <a:lnTo>
                  <a:pt x="0" y="979885"/>
                </a:lnTo>
                <a:lnTo>
                  <a:pt x="0" y="0"/>
                </a:lnTo>
                <a:lnTo>
                  <a:pt x="698261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5" name="Rectangle 1925"/>
          <p:cNvSpPr/>
          <p:nvPr/>
        </p:nvSpPr>
        <p:spPr>
          <a:xfrm>
            <a:off x="3336699" y="4267211"/>
            <a:ext cx="1354409" cy="121919"/>
          </a:xfrm>
          <a:prstGeom prst="rect">
            <a:avLst/>
          </a:prstGeom>
        </p:spPr>
      </p:sp>
      <p:sp>
        <p:nvSpPr>
          <p:cNvPr id="1926" name="Freeform 1926"/>
          <p:cNvSpPr/>
          <p:nvPr/>
        </p:nvSpPr>
        <p:spPr>
          <a:xfrm>
            <a:off x="3344438" y="4310086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7" name="Freeform 1927"/>
          <p:cNvSpPr/>
          <p:nvPr/>
        </p:nvSpPr>
        <p:spPr>
          <a:xfrm>
            <a:off x="3399837" y="430907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8" name="Freeform 1928"/>
          <p:cNvSpPr/>
          <p:nvPr/>
        </p:nvSpPr>
        <p:spPr>
          <a:xfrm>
            <a:off x="3486118" y="4310086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29" name="Freeform 1929"/>
          <p:cNvSpPr/>
          <p:nvPr/>
        </p:nvSpPr>
        <p:spPr>
          <a:xfrm>
            <a:off x="3558228" y="430907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0" name="Freeform 1930"/>
          <p:cNvSpPr/>
          <p:nvPr/>
        </p:nvSpPr>
        <p:spPr>
          <a:xfrm>
            <a:off x="3608838" y="4310086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1" name="Freeform 1931"/>
          <p:cNvSpPr/>
          <p:nvPr/>
        </p:nvSpPr>
        <p:spPr>
          <a:xfrm>
            <a:off x="3658105" y="430907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2" name="Freeform 1932"/>
          <p:cNvSpPr/>
          <p:nvPr/>
        </p:nvSpPr>
        <p:spPr>
          <a:xfrm>
            <a:off x="3710228" y="4310086"/>
            <a:ext cx="55810" cy="69392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3" name="Freeform 1933"/>
          <p:cNvSpPr/>
          <p:nvPr/>
        </p:nvSpPr>
        <p:spPr>
          <a:xfrm>
            <a:off x="3776950" y="4310086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4" name="Freeform 1934"/>
          <p:cNvSpPr/>
          <p:nvPr/>
        </p:nvSpPr>
        <p:spPr>
          <a:xfrm>
            <a:off x="3835573" y="4310086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5" name="Freeform 1935"/>
          <p:cNvSpPr/>
          <p:nvPr/>
        </p:nvSpPr>
        <p:spPr>
          <a:xfrm>
            <a:off x="3886600" y="430907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6" name="Freeform 1936"/>
          <p:cNvSpPr/>
          <p:nvPr/>
        </p:nvSpPr>
        <p:spPr>
          <a:xfrm>
            <a:off x="3964797" y="4290477"/>
            <a:ext cx="52487" cy="74269"/>
          </a:xfrm>
          <a:custGeom>
            <a:avLst/>
            <a:gdLst/>
            <a:ahLst/>
            <a:cxnLst/>
            <a:rect l="0" t="0" r="0" b="0"/>
            <a:pathLst>
              <a:path w="6560939" h="9283700">
                <a:moveTo>
                  <a:pt x="3212307" y="5131991"/>
                </a:moveTo>
                <a:cubicBezTo>
                  <a:pt x="2191147" y="4838304"/>
                  <a:pt x="1447999" y="4477412"/>
                  <a:pt x="982861" y="4049316"/>
                </a:cubicBezTo>
                <a:cubicBezTo>
                  <a:pt x="517856" y="3621088"/>
                  <a:pt x="285353" y="3092517"/>
                  <a:pt x="285353" y="2463602"/>
                </a:cubicBezTo>
                <a:cubicBezTo>
                  <a:pt x="285353" y="1752005"/>
                  <a:pt x="569516" y="1163505"/>
                  <a:pt x="1137841" y="698104"/>
                </a:cubicBezTo>
                <a:cubicBezTo>
                  <a:pt x="1706298" y="232702"/>
                  <a:pt x="2445279" y="0"/>
                  <a:pt x="3354785" y="0"/>
                </a:cubicBezTo>
                <a:cubicBezTo>
                  <a:pt x="3974968" y="0"/>
                  <a:pt x="4527947" y="119923"/>
                  <a:pt x="5013722" y="359768"/>
                </a:cubicBezTo>
                <a:cubicBezTo>
                  <a:pt x="5499497" y="599480"/>
                  <a:pt x="5875668" y="930210"/>
                  <a:pt x="6142236" y="1351955"/>
                </a:cubicBezTo>
                <a:cubicBezTo>
                  <a:pt x="6408936" y="1773569"/>
                  <a:pt x="6542286" y="2234473"/>
                  <a:pt x="6542286" y="2734668"/>
                </a:cubicBezTo>
                <a:lnTo>
                  <a:pt x="5345510" y="2734668"/>
                </a:lnTo>
                <a:cubicBezTo>
                  <a:pt x="5345510" y="2188965"/>
                  <a:pt x="5171877" y="1760075"/>
                  <a:pt x="4824611" y="1447999"/>
                </a:cubicBezTo>
                <a:cubicBezTo>
                  <a:pt x="4477346" y="1135923"/>
                  <a:pt x="3987403" y="979885"/>
                  <a:pt x="3354785" y="979885"/>
                </a:cubicBezTo>
                <a:cubicBezTo>
                  <a:pt x="2767807" y="979885"/>
                  <a:pt x="2309945" y="1109266"/>
                  <a:pt x="1981200" y="1368029"/>
                </a:cubicBezTo>
                <a:cubicBezTo>
                  <a:pt x="1652588" y="1626659"/>
                  <a:pt x="1488282" y="1985632"/>
                  <a:pt x="1488282" y="2444949"/>
                </a:cubicBezTo>
                <a:cubicBezTo>
                  <a:pt x="1488282" y="2813381"/>
                  <a:pt x="1644319" y="3124862"/>
                  <a:pt x="1956396" y="3379391"/>
                </a:cubicBezTo>
                <a:cubicBezTo>
                  <a:pt x="2268604" y="3633920"/>
                  <a:pt x="2799887" y="3866754"/>
                  <a:pt x="3550246" y="4077891"/>
                </a:cubicBezTo>
                <a:cubicBezTo>
                  <a:pt x="4300604" y="4288896"/>
                  <a:pt x="4887648" y="4521597"/>
                  <a:pt x="5311378" y="4775994"/>
                </a:cubicBezTo>
                <a:cubicBezTo>
                  <a:pt x="5735109" y="5030391"/>
                  <a:pt x="6049302" y="5327187"/>
                  <a:pt x="6253957" y="5666383"/>
                </a:cubicBezTo>
                <a:cubicBezTo>
                  <a:pt x="6458611" y="6005579"/>
                  <a:pt x="6560939" y="6404769"/>
                  <a:pt x="6560939" y="6863954"/>
                </a:cubicBezTo>
                <a:cubicBezTo>
                  <a:pt x="6560939" y="7596056"/>
                  <a:pt x="6275652" y="8182372"/>
                  <a:pt x="5705078" y="8622904"/>
                </a:cubicBezTo>
                <a:cubicBezTo>
                  <a:pt x="5134637" y="9063435"/>
                  <a:pt x="4371909" y="9283700"/>
                  <a:pt x="3416896" y="9283700"/>
                </a:cubicBezTo>
                <a:cubicBezTo>
                  <a:pt x="2796712" y="9283700"/>
                  <a:pt x="2217870" y="9164835"/>
                  <a:pt x="1680369" y="8927108"/>
                </a:cubicBezTo>
                <a:cubicBezTo>
                  <a:pt x="1143000" y="8689380"/>
                  <a:pt x="728597" y="8363810"/>
                  <a:pt x="437158" y="7950399"/>
                </a:cubicBezTo>
                <a:cubicBezTo>
                  <a:pt x="145720" y="7536988"/>
                  <a:pt x="0" y="7067749"/>
                  <a:pt x="0" y="6542683"/>
                </a:cubicBezTo>
                <a:lnTo>
                  <a:pt x="1196777" y="6542683"/>
                </a:lnTo>
                <a:cubicBezTo>
                  <a:pt x="1196777" y="7088386"/>
                  <a:pt x="1398323" y="7519393"/>
                  <a:pt x="1801416" y="7835702"/>
                </a:cubicBezTo>
                <a:cubicBezTo>
                  <a:pt x="2204509" y="8152011"/>
                  <a:pt x="2743002" y="8310166"/>
                  <a:pt x="3416896" y="8310166"/>
                </a:cubicBezTo>
                <a:cubicBezTo>
                  <a:pt x="4045281" y="8310166"/>
                  <a:pt x="4526889" y="8181909"/>
                  <a:pt x="4861719" y="7925396"/>
                </a:cubicBezTo>
                <a:cubicBezTo>
                  <a:pt x="5196549" y="7668750"/>
                  <a:pt x="5363964" y="7319037"/>
                  <a:pt x="5363964" y="6876257"/>
                </a:cubicBezTo>
                <a:cubicBezTo>
                  <a:pt x="5363964" y="6433477"/>
                  <a:pt x="5208918" y="6091040"/>
                  <a:pt x="4898827" y="5848946"/>
                </a:cubicBezTo>
                <a:cubicBezTo>
                  <a:pt x="4588867" y="5606852"/>
                  <a:pt x="4026694" y="5367867"/>
                  <a:pt x="3212307" y="51319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7" name="Freeform 1937"/>
          <p:cNvSpPr/>
          <p:nvPr/>
        </p:nvSpPr>
        <p:spPr>
          <a:xfrm>
            <a:off x="4023507" y="4291493"/>
            <a:ext cx="55860" cy="72237"/>
          </a:xfrm>
          <a:custGeom>
            <a:avLst/>
            <a:gdLst/>
            <a:ahLst/>
            <a:cxnLst/>
            <a:rect l="0" t="0" r="0" b="0"/>
            <a:pathLst>
              <a:path w="6982619" h="9029700">
                <a:moveTo>
                  <a:pt x="6982619" y="979885"/>
                </a:moveTo>
                <a:lnTo>
                  <a:pt x="4080471" y="979885"/>
                </a:lnTo>
                <a:lnTo>
                  <a:pt x="4080471" y="9029700"/>
                </a:lnTo>
                <a:lnTo>
                  <a:pt x="2895997" y="9029700"/>
                </a:lnTo>
                <a:lnTo>
                  <a:pt x="2895997" y="979885"/>
                </a:lnTo>
                <a:lnTo>
                  <a:pt x="0" y="979885"/>
                </a:lnTo>
                <a:lnTo>
                  <a:pt x="0" y="0"/>
                </a:lnTo>
                <a:lnTo>
                  <a:pt x="698261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8" name="Freeform 1938"/>
          <p:cNvSpPr/>
          <p:nvPr/>
        </p:nvSpPr>
        <p:spPr>
          <a:xfrm>
            <a:off x="4090014" y="4291493"/>
            <a:ext cx="44748" cy="72237"/>
          </a:xfrm>
          <a:custGeom>
            <a:avLst/>
            <a:gdLst/>
            <a:ahLst/>
            <a:cxnLst/>
            <a:rect l="0" t="0" r="0" b="0"/>
            <a:pathLst>
              <a:path w="5593556" h="9029700">
                <a:moveTo>
                  <a:pt x="4979591" y="5037535"/>
                </a:moveTo>
                <a:lnTo>
                  <a:pt x="1190625" y="503753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5593556" y="0"/>
                </a:lnTo>
                <a:lnTo>
                  <a:pt x="5593556" y="979885"/>
                </a:lnTo>
                <a:lnTo>
                  <a:pt x="1190625" y="979885"/>
                </a:lnTo>
                <a:lnTo>
                  <a:pt x="1190625" y="4064000"/>
                </a:lnTo>
                <a:lnTo>
                  <a:pt x="4979591" y="4064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39" name="Freeform 1939"/>
          <p:cNvSpPr/>
          <p:nvPr/>
        </p:nvSpPr>
        <p:spPr>
          <a:xfrm>
            <a:off x="4138607" y="4291493"/>
            <a:ext cx="37999" cy="78435"/>
          </a:xfrm>
          <a:custGeom>
            <a:avLst/>
            <a:gdLst/>
            <a:ahLst/>
            <a:cxnLst/>
            <a:rect l="0" t="0" r="0" b="0"/>
            <a:pathLst>
              <a:path w="4749998" h="9804400">
                <a:moveTo>
                  <a:pt x="985837" y="9804400"/>
                </a:moveTo>
                <a:lnTo>
                  <a:pt x="0" y="9804400"/>
                </a:lnTo>
                <a:lnTo>
                  <a:pt x="3770312" y="0"/>
                </a:lnTo>
                <a:lnTo>
                  <a:pt x="474999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0" name="Freeform 1940"/>
          <p:cNvSpPr/>
          <p:nvPr/>
        </p:nvSpPr>
        <p:spPr>
          <a:xfrm>
            <a:off x="4188652" y="4291493"/>
            <a:ext cx="9525" cy="72237"/>
          </a:xfrm>
          <a:custGeom>
            <a:avLst/>
            <a:gdLst/>
            <a:ahLst/>
            <a:cxnLst/>
            <a:rect l="0" t="0" r="0" b="0"/>
            <a:pathLst>
              <a:path w="1190625" h="9029700">
                <a:moveTo>
                  <a:pt x="1190625" y="9029700"/>
                </a:move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1" name="Freeform 1941"/>
          <p:cNvSpPr/>
          <p:nvPr/>
        </p:nvSpPr>
        <p:spPr>
          <a:xfrm>
            <a:off x="4215490" y="4291493"/>
            <a:ext cx="43805" cy="72237"/>
          </a:xfrm>
          <a:custGeom>
            <a:avLst/>
            <a:gdLst/>
            <a:ahLst/>
            <a:cxnLst/>
            <a:rect l="0" t="0" r="0" b="0"/>
            <a:pathLst>
              <a:path w="5475684" h="9029700">
                <a:moveTo>
                  <a:pt x="1196975" y="8056166"/>
                </a:moveTo>
                <a:lnTo>
                  <a:pt x="5475684" y="8056166"/>
                </a:lnTo>
                <a:lnTo>
                  <a:pt x="5475684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697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2" name="Freeform 1942"/>
          <p:cNvSpPr/>
          <p:nvPr/>
        </p:nvSpPr>
        <p:spPr>
          <a:xfrm>
            <a:off x="4264473" y="4290477"/>
            <a:ext cx="58091" cy="74269"/>
          </a:xfrm>
          <a:custGeom>
            <a:avLst/>
            <a:gdLst/>
            <a:ahLst/>
            <a:cxnLst/>
            <a:rect l="0" t="0" r="0" b="0"/>
            <a:pathLst>
              <a:path w="7261423" h="9283700">
                <a:moveTo>
                  <a:pt x="7261423" y="4933554"/>
                </a:moveTo>
                <a:cubicBezTo>
                  <a:pt x="7261423" y="5818850"/>
                  <a:pt x="7112595" y="6591433"/>
                  <a:pt x="6814939" y="7251304"/>
                </a:cubicBezTo>
                <a:cubicBezTo>
                  <a:pt x="6517283" y="7911174"/>
                  <a:pt x="6095603" y="8414875"/>
                  <a:pt x="5549900" y="8762405"/>
                </a:cubicBezTo>
                <a:cubicBezTo>
                  <a:pt x="5004197" y="9109935"/>
                  <a:pt x="4367543" y="9283700"/>
                  <a:pt x="3639939" y="9283700"/>
                </a:cubicBezTo>
                <a:cubicBezTo>
                  <a:pt x="2928871" y="9283700"/>
                  <a:pt x="2298435" y="9108943"/>
                  <a:pt x="1748631" y="8759429"/>
                </a:cubicBezTo>
                <a:cubicBezTo>
                  <a:pt x="1198827" y="8409782"/>
                  <a:pt x="771988" y="7911241"/>
                  <a:pt x="468114" y="7263805"/>
                </a:cubicBezTo>
                <a:cubicBezTo>
                  <a:pt x="164240" y="6616370"/>
                  <a:pt x="8202" y="5866475"/>
                  <a:pt x="0" y="5014119"/>
                </a:cubicBezTo>
                <a:lnTo>
                  <a:pt x="0" y="4362649"/>
                </a:lnTo>
                <a:cubicBezTo>
                  <a:pt x="0" y="3493757"/>
                  <a:pt x="150879" y="2726333"/>
                  <a:pt x="452636" y="2060377"/>
                </a:cubicBezTo>
                <a:cubicBezTo>
                  <a:pt x="754393" y="1394288"/>
                  <a:pt x="1181232" y="884371"/>
                  <a:pt x="1733153" y="530622"/>
                </a:cubicBezTo>
                <a:cubicBezTo>
                  <a:pt x="2285074" y="176874"/>
                  <a:pt x="2916568" y="0"/>
                  <a:pt x="3627636" y="0"/>
                </a:cubicBezTo>
                <a:cubicBezTo>
                  <a:pt x="4351139" y="0"/>
                  <a:pt x="4988785" y="174824"/>
                  <a:pt x="5540573" y="524471"/>
                </a:cubicBezTo>
                <a:cubicBezTo>
                  <a:pt x="6092494" y="873985"/>
                  <a:pt x="6517283" y="1380795"/>
                  <a:pt x="6814939" y="2044899"/>
                </a:cubicBezTo>
                <a:cubicBezTo>
                  <a:pt x="7112595" y="2708871"/>
                  <a:pt x="7261423" y="3481454"/>
                  <a:pt x="7261423" y="4362649"/>
                </a:cubicBezTo>
                <a:close/>
                <a:moveTo>
                  <a:pt x="6077148" y="4350147"/>
                </a:moveTo>
                <a:cubicBezTo>
                  <a:pt x="6077148" y="3278320"/>
                  <a:pt x="5862175" y="2455863"/>
                  <a:pt x="5432227" y="1882775"/>
                </a:cubicBezTo>
                <a:cubicBezTo>
                  <a:pt x="5002279" y="1309688"/>
                  <a:pt x="4400748" y="1023144"/>
                  <a:pt x="3627636" y="1023144"/>
                </a:cubicBezTo>
                <a:cubicBezTo>
                  <a:pt x="2875161" y="1023144"/>
                  <a:pt x="2282891" y="1309688"/>
                  <a:pt x="1850827" y="1882775"/>
                </a:cubicBezTo>
                <a:cubicBezTo>
                  <a:pt x="1418894" y="2455863"/>
                  <a:pt x="1196710" y="3251399"/>
                  <a:pt x="1184275" y="4269383"/>
                </a:cubicBezTo>
                <a:lnTo>
                  <a:pt x="1184275" y="4933554"/>
                </a:lnTo>
                <a:cubicBezTo>
                  <a:pt x="1184275" y="5972175"/>
                  <a:pt x="1402358" y="6788415"/>
                  <a:pt x="1838523" y="7382272"/>
                </a:cubicBezTo>
                <a:cubicBezTo>
                  <a:pt x="2274689" y="7975997"/>
                  <a:pt x="2875161" y="8272860"/>
                  <a:pt x="3639939" y="8272860"/>
                </a:cubicBezTo>
                <a:cubicBezTo>
                  <a:pt x="4408951" y="8272860"/>
                  <a:pt x="5004263" y="7992534"/>
                  <a:pt x="5425877" y="7431882"/>
                </a:cubicBezTo>
                <a:cubicBezTo>
                  <a:pt x="5847622" y="6871097"/>
                  <a:pt x="6064713" y="6067293"/>
                  <a:pt x="6077148" y="502046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3" name="Freeform 1943"/>
          <p:cNvSpPr/>
          <p:nvPr/>
        </p:nvSpPr>
        <p:spPr>
          <a:xfrm>
            <a:off x="4360110" y="4282248"/>
            <a:ext cx="26193" cy="104851"/>
          </a:xfrm>
          <a:custGeom>
            <a:avLst/>
            <a:gdLst/>
            <a:ahLst/>
            <a:cxnLst/>
            <a:rect l="0" t="0" r="0" b="0"/>
            <a:pathLst>
              <a:path w="3274219" h="13106400">
                <a:moveTo>
                  <a:pt x="0" y="6525221"/>
                </a:moveTo>
                <a:cubicBezTo>
                  <a:pt x="0" y="5590712"/>
                  <a:pt x="125082" y="4693444"/>
                  <a:pt x="375245" y="3833416"/>
                </a:cubicBezTo>
                <a:cubicBezTo>
                  <a:pt x="625409" y="2973255"/>
                  <a:pt x="998537" y="2191677"/>
                  <a:pt x="1494631" y="1488679"/>
                </a:cubicBezTo>
                <a:cubicBezTo>
                  <a:pt x="1990725" y="785680"/>
                  <a:pt x="2505405" y="289455"/>
                  <a:pt x="3038673" y="0"/>
                </a:cubicBezTo>
                <a:lnTo>
                  <a:pt x="3274219" y="756643"/>
                </a:lnTo>
                <a:cubicBezTo>
                  <a:pt x="2670704" y="1219796"/>
                  <a:pt x="2175669" y="1926961"/>
                  <a:pt x="1789112" y="2878138"/>
                </a:cubicBezTo>
                <a:cubicBezTo>
                  <a:pt x="1402556" y="3829183"/>
                  <a:pt x="1190691" y="4893998"/>
                  <a:pt x="1153517" y="6072585"/>
                </a:cubicBezTo>
                <a:lnTo>
                  <a:pt x="1147365" y="6599635"/>
                </a:lnTo>
                <a:cubicBezTo>
                  <a:pt x="1147365" y="8195866"/>
                  <a:pt x="1438804" y="9581158"/>
                  <a:pt x="2021681" y="10755510"/>
                </a:cubicBezTo>
                <a:cubicBezTo>
                  <a:pt x="2373048" y="11458508"/>
                  <a:pt x="2790560" y="12008511"/>
                  <a:pt x="3274219" y="12405518"/>
                </a:cubicBezTo>
                <a:lnTo>
                  <a:pt x="3038673" y="13106400"/>
                </a:lnTo>
                <a:cubicBezTo>
                  <a:pt x="2488869" y="12800409"/>
                  <a:pt x="1963803" y="12287646"/>
                  <a:pt x="1463476" y="11568112"/>
                </a:cubicBezTo>
                <a:cubicBezTo>
                  <a:pt x="487825" y="10162117"/>
                  <a:pt x="0" y="8481153"/>
                  <a:pt x="0" y="652522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4" name="Freeform 1944"/>
          <p:cNvSpPr/>
          <p:nvPr/>
        </p:nvSpPr>
        <p:spPr>
          <a:xfrm>
            <a:off x="4396541" y="4291493"/>
            <a:ext cx="71885" cy="72237"/>
          </a:xfrm>
          <a:custGeom>
            <a:avLst/>
            <a:gdLst/>
            <a:ahLst/>
            <a:cxnLst/>
            <a:rect l="0" t="0" r="0" b="0"/>
            <a:pathLst>
              <a:path w="8985647" h="9029700">
                <a:moveTo>
                  <a:pt x="1537891" y="0"/>
                </a:moveTo>
                <a:lnTo>
                  <a:pt x="4489648" y="7367588"/>
                </a:lnTo>
                <a:lnTo>
                  <a:pt x="7441406" y="0"/>
                </a:lnTo>
                <a:lnTo>
                  <a:pt x="8985647" y="0"/>
                </a:lnTo>
                <a:lnTo>
                  <a:pt x="8985647" y="9029700"/>
                </a:lnTo>
                <a:lnTo>
                  <a:pt x="7795022" y="9029700"/>
                </a:lnTo>
                <a:lnTo>
                  <a:pt x="7795022" y="5513388"/>
                </a:lnTo>
                <a:lnTo>
                  <a:pt x="7906544" y="1717874"/>
                </a:lnTo>
                <a:lnTo>
                  <a:pt x="4942483" y="9029700"/>
                </a:lnTo>
                <a:lnTo>
                  <a:pt x="4030861" y="9029700"/>
                </a:lnTo>
                <a:lnTo>
                  <a:pt x="1072952" y="1736527"/>
                </a:lnTo>
                <a:lnTo>
                  <a:pt x="1190625" y="55133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5" name="Freeform 1945"/>
          <p:cNvSpPr/>
          <p:nvPr/>
        </p:nvSpPr>
        <p:spPr>
          <a:xfrm>
            <a:off x="4482709" y="4290477"/>
            <a:ext cx="58091" cy="74269"/>
          </a:xfrm>
          <a:custGeom>
            <a:avLst/>
            <a:gdLst/>
            <a:ahLst/>
            <a:cxnLst/>
            <a:rect l="0" t="0" r="0" b="0"/>
            <a:pathLst>
              <a:path w="7261423" h="9283700">
                <a:moveTo>
                  <a:pt x="7261423" y="4933554"/>
                </a:moveTo>
                <a:cubicBezTo>
                  <a:pt x="7261423" y="5818850"/>
                  <a:pt x="7112595" y="6591433"/>
                  <a:pt x="6814939" y="7251304"/>
                </a:cubicBezTo>
                <a:cubicBezTo>
                  <a:pt x="6517283" y="7911174"/>
                  <a:pt x="6095603" y="8414875"/>
                  <a:pt x="5549900" y="8762405"/>
                </a:cubicBezTo>
                <a:cubicBezTo>
                  <a:pt x="5004197" y="9109935"/>
                  <a:pt x="4367543" y="9283700"/>
                  <a:pt x="3639939" y="9283700"/>
                </a:cubicBezTo>
                <a:cubicBezTo>
                  <a:pt x="2928871" y="9283700"/>
                  <a:pt x="2298435" y="9108943"/>
                  <a:pt x="1748631" y="8759429"/>
                </a:cubicBezTo>
                <a:cubicBezTo>
                  <a:pt x="1198827" y="8409782"/>
                  <a:pt x="771988" y="7911241"/>
                  <a:pt x="468114" y="7263805"/>
                </a:cubicBezTo>
                <a:cubicBezTo>
                  <a:pt x="164240" y="6616370"/>
                  <a:pt x="8202" y="5866475"/>
                  <a:pt x="0" y="5014119"/>
                </a:cubicBezTo>
                <a:lnTo>
                  <a:pt x="0" y="4362649"/>
                </a:lnTo>
                <a:cubicBezTo>
                  <a:pt x="0" y="3493757"/>
                  <a:pt x="150879" y="2726333"/>
                  <a:pt x="452636" y="2060377"/>
                </a:cubicBezTo>
                <a:cubicBezTo>
                  <a:pt x="754393" y="1394288"/>
                  <a:pt x="1181232" y="884371"/>
                  <a:pt x="1733153" y="530622"/>
                </a:cubicBezTo>
                <a:cubicBezTo>
                  <a:pt x="2285074" y="176874"/>
                  <a:pt x="2916568" y="0"/>
                  <a:pt x="3627636" y="0"/>
                </a:cubicBezTo>
                <a:cubicBezTo>
                  <a:pt x="4351139" y="0"/>
                  <a:pt x="4988785" y="174824"/>
                  <a:pt x="5540573" y="524471"/>
                </a:cubicBezTo>
                <a:cubicBezTo>
                  <a:pt x="6092494" y="873985"/>
                  <a:pt x="6517283" y="1380795"/>
                  <a:pt x="6814939" y="2044899"/>
                </a:cubicBezTo>
                <a:cubicBezTo>
                  <a:pt x="7112595" y="2708871"/>
                  <a:pt x="7261423" y="3481454"/>
                  <a:pt x="7261423" y="4362649"/>
                </a:cubicBezTo>
                <a:close/>
                <a:moveTo>
                  <a:pt x="6077148" y="4350147"/>
                </a:moveTo>
                <a:cubicBezTo>
                  <a:pt x="6077148" y="3278320"/>
                  <a:pt x="5862175" y="2455863"/>
                  <a:pt x="5432227" y="1882775"/>
                </a:cubicBezTo>
                <a:cubicBezTo>
                  <a:pt x="5002279" y="1309688"/>
                  <a:pt x="4400748" y="1023144"/>
                  <a:pt x="3627636" y="1023144"/>
                </a:cubicBezTo>
                <a:cubicBezTo>
                  <a:pt x="2875161" y="1023144"/>
                  <a:pt x="2282891" y="1309688"/>
                  <a:pt x="1850827" y="1882775"/>
                </a:cubicBezTo>
                <a:cubicBezTo>
                  <a:pt x="1418894" y="2455863"/>
                  <a:pt x="1196710" y="3251399"/>
                  <a:pt x="1184275" y="4269383"/>
                </a:cubicBezTo>
                <a:lnTo>
                  <a:pt x="1184275" y="4933554"/>
                </a:lnTo>
                <a:cubicBezTo>
                  <a:pt x="1184275" y="5972175"/>
                  <a:pt x="1402358" y="6788415"/>
                  <a:pt x="1838523" y="7382272"/>
                </a:cubicBezTo>
                <a:cubicBezTo>
                  <a:pt x="2274689" y="7975997"/>
                  <a:pt x="2875161" y="8272860"/>
                  <a:pt x="3639939" y="8272860"/>
                </a:cubicBezTo>
                <a:cubicBezTo>
                  <a:pt x="4408951" y="8272860"/>
                  <a:pt x="5004263" y="7992534"/>
                  <a:pt x="5425877" y="7431882"/>
                </a:cubicBezTo>
                <a:cubicBezTo>
                  <a:pt x="5847622" y="6871097"/>
                  <a:pt x="6064713" y="6067293"/>
                  <a:pt x="6077148" y="502046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6" name="Freeform 1946"/>
          <p:cNvSpPr/>
          <p:nvPr/>
        </p:nvSpPr>
        <p:spPr>
          <a:xfrm>
            <a:off x="4547763" y="4291493"/>
            <a:ext cx="55860" cy="72237"/>
          </a:xfrm>
          <a:custGeom>
            <a:avLst/>
            <a:gdLst/>
            <a:ahLst/>
            <a:cxnLst/>
            <a:rect l="0" t="0" r="0" b="0"/>
            <a:pathLst>
              <a:path w="6982619" h="9029700">
                <a:moveTo>
                  <a:pt x="6982619" y="979885"/>
                </a:moveTo>
                <a:lnTo>
                  <a:pt x="4080471" y="979885"/>
                </a:lnTo>
                <a:lnTo>
                  <a:pt x="4080471" y="9029700"/>
                </a:lnTo>
                <a:lnTo>
                  <a:pt x="2895997" y="9029700"/>
                </a:lnTo>
                <a:lnTo>
                  <a:pt x="2895997" y="979885"/>
                </a:lnTo>
                <a:lnTo>
                  <a:pt x="0" y="979885"/>
                </a:lnTo>
                <a:lnTo>
                  <a:pt x="0" y="0"/>
                </a:lnTo>
                <a:lnTo>
                  <a:pt x="698261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7" name="Freeform 1947"/>
          <p:cNvSpPr/>
          <p:nvPr/>
        </p:nvSpPr>
        <p:spPr>
          <a:xfrm>
            <a:off x="4607773" y="4282248"/>
            <a:ext cx="26242" cy="104851"/>
          </a:xfrm>
          <a:custGeom>
            <a:avLst/>
            <a:gdLst/>
            <a:ahLst/>
            <a:cxnLst/>
            <a:rect l="0" t="0" r="0" b="0"/>
            <a:pathLst>
              <a:path w="3280371" h="13106400">
                <a:moveTo>
                  <a:pt x="3280371" y="6587332"/>
                </a:moveTo>
                <a:cubicBezTo>
                  <a:pt x="3280371" y="7509405"/>
                  <a:pt x="3159456" y="8393311"/>
                  <a:pt x="2917627" y="9239052"/>
                </a:cubicBezTo>
                <a:cubicBezTo>
                  <a:pt x="2675798" y="10084660"/>
                  <a:pt x="2305778" y="10865114"/>
                  <a:pt x="1807567" y="11580415"/>
                </a:cubicBezTo>
                <a:cubicBezTo>
                  <a:pt x="1309357" y="12295848"/>
                  <a:pt x="787400" y="12804510"/>
                  <a:pt x="241697" y="13106400"/>
                </a:cubicBezTo>
                <a:lnTo>
                  <a:pt x="0" y="12405518"/>
                </a:lnTo>
                <a:cubicBezTo>
                  <a:pt x="636588" y="11917494"/>
                  <a:pt x="1148160" y="11159728"/>
                  <a:pt x="1534716" y="10132219"/>
                </a:cubicBezTo>
                <a:cubicBezTo>
                  <a:pt x="1921272" y="9104578"/>
                  <a:pt x="2118651" y="7964290"/>
                  <a:pt x="2126853" y="6711355"/>
                </a:cubicBezTo>
                <a:lnTo>
                  <a:pt x="2126853" y="6512918"/>
                </a:lnTo>
                <a:cubicBezTo>
                  <a:pt x="2126853" y="5644555"/>
                  <a:pt x="2035903" y="4837179"/>
                  <a:pt x="1854002" y="4090790"/>
                </a:cubicBezTo>
                <a:cubicBezTo>
                  <a:pt x="1672101" y="3344400"/>
                  <a:pt x="1418894" y="2675533"/>
                  <a:pt x="1094383" y="2084190"/>
                </a:cubicBezTo>
                <a:cubicBezTo>
                  <a:pt x="769872" y="1492846"/>
                  <a:pt x="405077" y="1031743"/>
                  <a:pt x="0" y="700882"/>
                </a:cubicBezTo>
                <a:lnTo>
                  <a:pt x="241697" y="0"/>
                </a:lnTo>
                <a:cubicBezTo>
                  <a:pt x="787400" y="301890"/>
                  <a:pt x="1307240" y="806385"/>
                  <a:pt x="1801217" y="1513483"/>
                </a:cubicBezTo>
                <a:cubicBezTo>
                  <a:pt x="2295327" y="2220582"/>
                  <a:pt x="2665347" y="3000045"/>
                  <a:pt x="2911277" y="3851871"/>
                </a:cubicBezTo>
                <a:cubicBezTo>
                  <a:pt x="3157339" y="4703697"/>
                  <a:pt x="3280371" y="5615517"/>
                  <a:pt x="3280371" y="658733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48" name="Rectangle 1948"/>
          <p:cNvSpPr/>
          <p:nvPr/>
        </p:nvSpPr>
        <p:spPr>
          <a:xfrm>
            <a:off x="3185393" y="4514861"/>
            <a:ext cx="1960315" cy="245744"/>
          </a:xfrm>
          <a:prstGeom prst="rect">
            <a:avLst/>
          </a:prstGeom>
        </p:spPr>
      </p:sp>
      <p:sp>
        <p:nvSpPr>
          <p:cNvPr id="1949" name="Freeform 1949"/>
          <p:cNvSpPr/>
          <p:nvPr/>
        </p:nvSpPr>
        <p:spPr>
          <a:xfrm>
            <a:off x="3194224" y="4560878"/>
            <a:ext cx="43705" cy="43707"/>
          </a:xfrm>
          <a:custGeom>
            <a:avLst/>
            <a:gdLst/>
            <a:ahLst/>
            <a:cxnLst/>
            <a:rect l="0" t="0" r="0" b="0"/>
            <a:pathLst>
              <a:path w="5463183" h="5463382">
                <a:moveTo>
                  <a:pt x="2734668" y="0"/>
                </a:moveTo>
                <a:cubicBezTo>
                  <a:pt x="3189354" y="0"/>
                  <a:pt x="3635772" y="117872"/>
                  <a:pt x="4073922" y="353616"/>
                </a:cubicBezTo>
                <a:cubicBezTo>
                  <a:pt x="4512204" y="589228"/>
                  <a:pt x="4853318" y="926174"/>
                  <a:pt x="5097264" y="1364457"/>
                </a:cubicBezTo>
                <a:cubicBezTo>
                  <a:pt x="5341210" y="1802607"/>
                  <a:pt x="5463183" y="2257293"/>
                  <a:pt x="5463183" y="2728516"/>
                </a:cubicBezTo>
                <a:cubicBezTo>
                  <a:pt x="5463183" y="3485092"/>
                  <a:pt x="5196483" y="4130080"/>
                  <a:pt x="4663083" y="4663480"/>
                </a:cubicBezTo>
                <a:cubicBezTo>
                  <a:pt x="4129815" y="5196748"/>
                  <a:pt x="3487010" y="5463382"/>
                  <a:pt x="2734668" y="5463382"/>
                </a:cubicBezTo>
                <a:cubicBezTo>
                  <a:pt x="1978091" y="5463382"/>
                  <a:pt x="1333170" y="5196748"/>
                  <a:pt x="799902" y="4663480"/>
                </a:cubicBezTo>
                <a:cubicBezTo>
                  <a:pt x="266634" y="4130080"/>
                  <a:pt x="0" y="3485092"/>
                  <a:pt x="0" y="2728516"/>
                </a:cubicBezTo>
                <a:cubicBezTo>
                  <a:pt x="0" y="2253192"/>
                  <a:pt x="121907" y="1797447"/>
                  <a:pt x="365721" y="1361282"/>
                </a:cubicBezTo>
                <a:cubicBezTo>
                  <a:pt x="609666" y="925116"/>
                  <a:pt x="950714" y="589228"/>
                  <a:pt x="1388864" y="353616"/>
                </a:cubicBezTo>
                <a:cubicBezTo>
                  <a:pt x="1827147" y="117872"/>
                  <a:pt x="2275748" y="0"/>
                  <a:pt x="2734668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0" name="Freeform 1950"/>
          <p:cNvSpPr/>
          <p:nvPr/>
        </p:nvSpPr>
        <p:spPr>
          <a:xfrm>
            <a:off x="3344984" y="4539042"/>
            <a:ext cx="31451" cy="72339"/>
          </a:xfrm>
          <a:custGeom>
            <a:avLst/>
            <a:gdLst/>
            <a:ahLst/>
            <a:cxnLst/>
            <a:rect l="0" t="0" r="0" b="0"/>
            <a:pathLst>
              <a:path w="3931444" h="9042400">
                <a:moveTo>
                  <a:pt x="3931444" y="9042400"/>
                </a:moveTo>
                <a:lnTo>
                  <a:pt x="2139355" y="9042400"/>
                </a:lnTo>
                <a:lnTo>
                  <a:pt x="2139355" y="2128640"/>
                </a:lnTo>
                <a:lnTo>
                  <a:pt x="0" y="2790825"/>
                </a:lnTo>
                <a:lnTo>
                  <a:pt x="0" y="1333500"/>
                </a:lnTo>
                <a:lnTo>
                  <a:pt x="3739356" y="0"/>
                </a:lnTo>
                <a:lnTo>
                  <a:pt x="393144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1" name="Freeform 1951"/>
          <p:cNvSpPr/>
          <p:nvPr/>
        </p:nvSpPr>
        <p:spPr>
          <a:xfrm>
            <a:off x="3399630" y="4538127"/>
            <a:ext cx="48815" cy="74269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2" name="Freeform 1952"/>
          <p:cNvSpPr/>
          <p:nvPr/>
        </p:nvSpPr>
        <p:spPr>
          <a:xfrm>
            <a:off x="3457846" y="4538127"/>
            <a:ext cx="48815" cy="74269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3" name="Freeform 1953"/>
          <p:cNvSpPr/>
          <p:nvPr/>
        </p:nvSpPr>
        <p:spPr>
          <a:xfrm>
            <a:off x="3544236" y="4557736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4" name="Freeform 1954"/>
          <p:cNvSpPr/>
          <p:nvPr/>
        </p:nvSpPr>
        <p:spPr>
          <a:xfrm>
            <a:off x="3602066" y="4556720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5" name="Freeform 1955"/>
          <p:cNvSpPr/>
          <p:nvPr/>
        </p:nvSpPr>
        <p:spPr>
          <a:xfrm>
            <a:off x="3656633" y="455672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6" name="Freeform 1956"/>
          <p:cNvSpPr/>
          <p:nvPr/>
        </p:nvSpPr>
        <p:spPr>
          <a:xfrm>
            <a:off x="3714991" y="4535181"/>
            <a:ext cx="63747" cy="96824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7" name="Freeform 1957"/>
          <p:cNvSpPr/>
          <p:nvPr/>
        </p:nvSpPr>
        <p:spPr>
          <a:xfrm>
            <a:off x="3788303" y="455672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8" name="Freeform 1958"/>
          <p:cNvSpPr/>
          <p:nvPr/>
        </p:nvSpPr>
        <p:spPr>
          <a:xfrm>
            <a:off x="3842000" y="4556720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59" name="Freeform 1959"/>
          <p:cNvSpPr/>
          <p:nvPr/>
        </p:nvSpPr>
        <p:spPr>
          <a:xfrm>
            <a:off x="3895137" y="4556720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0" name="Freeform 1960"/>
          <p:cNvSpPr/>
          <p:nvPr/>
        </p:nvSpPr>
        <p:spPr>
          <a:xfrm>
            <a:off x="3951449" y="4557736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1" name="Freeform 1961"/>
          <p:cNvSpPr/>
          <p:nvPr/>
        </p:nvSpPr>
        <p:spPr>
          <a:xfrm>
            <a:off x="4010072" y="4538127"/>
            <a:ext cx="43110" cy="7325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2" name="Freeform 1962"/>
          <p:cNvSpPr/>
          <p:nvPr/>
        </p:nvSpPr>
        <p:spPr>
          <a:xfrm>
            <a:off x="4062395" y="4600516"/>
            <a:ext cx="13841" cy="25292"/>
          </a:xfrm>
          <a:custGeom>
            <a:avLst/>
            <a:gdLst/>
            <a:ahLst/>
            <a:cxnLst/>
            <a:rect l="0" t="0" r="0" b="0"/>
            <a:pathLst>
              <a:path w="1730176" h="3161506">
                <a:moveTo>
                  <a:pt x="651272" y="3161506"/>
                </a:moveTo>
                <a:lnTo>
                  <a:pt x="0" y="2714227"/>
                </a:lnTo>
                <a:cubicBezTo>
                  <a:pt x="388673" y="2171832"/>
                  <a:pt x="591277" y="1612833"/>
                  <a:pt x="607814" y="1037233"/>
                </a:cubicBezTo>
                <a:lnTo>
                  <a:pt x="607814" y="0"/>
                </a:lnTo>
                <a:lnTo>
                  <a:pt x="1730176" y="0"/>
                </a:lnTo>
                <a:lnTo>
                  <a:pt x="1730176" y="900708"/>
                </a:lnTo>
                <a:cubicBezTo>
                  <a:pt x="1730176" y="1318882"/>
                  <a:pt x="1627849" y="1737055"/>
                  <a:pt x="1423194" y="2155229"/>
                </a:cubicBezTo>
                <a:cubicBezTo>
                  <a:pt x="1218538" y="2573535"/>
                  <a:pt x="961231" y="2908961"/>
                  <a:pt x="651272" y="316150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3" name="Freeform 1963"/>
          <p:cNvSpPr/>
          <p:nvPr/>
        </p:nvSpPr>
        <p:spPr>
          <a:xfrm>
            <a:off x="4108961" y="4538127"/>
            <a:ext cx="50155" cy="74269"/>
          </a:xfrm>
          <a:custGeom>
            <a:avLst/>
            <a:gdLst/>
            <a:ahLst/>
            <a:cxnLst/>
            <a:rect l="0" t="0" r="0" b="0"/>
            <a:pathLst>
              <a:path w="6269434" h="9283700">
                <a:moveTo>
                  <a:pt x="2040135" y="3848100"/>
                </a:moveTo>
                <a:lnTo>
                  <a:pt x="2995215" y="3848100"/>
                </a:lnTo>
                <a:cubicBezTo>
                  <a:pt x="3449902" y="3848100"/>
                  <a:pt x="3786782" y="3734264"/>
                  <a:pt x="4005857" y="3506590"/>
                </a:cubicBezTo>
                <a:cubicBezTo>
                  <a:pt x="4225064" y="3278915"/>
                  <a:pt x="4334668" y="2976695"/>
                  <a:pt x="4334668" y="2599929"/>
                </a:cubicBezTo>
                <a:cubicBezTo>
                  <a:pt x="4334668" y="2235597"/>
                  <a:pt x="4226123" y="1952030"/>
                  <a:pt x="4009032" y="1749227"/>
                </a:cubicBezTo>
                <a:cubicBezTo>
                  <a:pt x="3792074" y="1546291"/>
                  <a:pt x="3493425" y="1444824"/>
                  <a:pt x="3113087" y="1444824"/>
                </a:cubicBezTo>
                <a:cubicBezTo>
                  <a:pt x="2769922" y="1444824"/>
                  <a:pt x="2482585" y="1539082"/>
                  <a:pt x="2251075" y="1727597"/>
                </a:cubicBezTo>
                <a:cubicBezTo>
                  <a:pt x="2019564" y="1915980"/>
                  <a:pt x="1903809" y="2161316"/>
                  <a:pt x="1903809" y="2463602"/>
                </a:cubicBezTo>
                <a:lnTo>
                  <a:pt x="111720" y="2463602"/>
                </a:lnTo>
                <a:cubicBezTo>
                  <a:pt x="111720" y="1991982"/>
                  <a:pt x="238786" y="1568980"/>
                  <a:pt x="492918" y="1194594"/>
                </a:cubicBezTo>
                <a:cubicBezTo>
                  <a:pt x="747183" y="820209"/>
                  <a:pt x="1102717" y="527513"/>
                  <a:pt x="1559520" y="316508"/>
                </a:cubicBezTo>
                <a:cubicBezTo>
                  <a:pt x="2016455" y="105503"/>
                  <a:pt x="2519825" y="0"/>
                  <a:pt x="3069629" y="0"/>
                </a:cubicBezTo>
                <a:cubicBezTo>
                  <a:pt x="4024643" y="0"/>
                  <a:pt x="4772885" y="228600"/>
                  <a:pt x="5314354" y="685800"/>
                </a:cubicBezTo>
                <a:cubicBezTo>
                  <a:pt x="5855956" y="1142868"/>
                  <a:pt x="6126757" y="1772709"/>
                  <a:pt x="6126757" y="2575322"/>
                </a:cubicBezTo>
                <a:cubicBezTo>
                  <a:pt x="6126757" y="2989131"/>
                  <a:pt x="6000683" y="3369800"/>
                  <a:pt x="5748535" y="3717330"/>
                </a:cubicBezTo>
                <a:cubicBezTo>
                  <a:pt x="5496388" y="4064861"/>
                  <a:pt x="5165658" y="4331693"/>
                  <a:pt x="4756348" y="4517827"/>
                </a:cubicBezTo>
                <a:cubicBezTo>
                  <a:pt x="5264877" y="4699861"/>
                  <a:pt x="5644157" y="4972911"/>
                  <a:pt x="5894189" y="5336977"/>
                </a:cubicBezTo>
                <a:cubicBezTo>
                  <a:pt x="6144352" y="5701044"/>
                  <a:pt x="6269434" y="6131322"/>
                  <a:pt x="6269434" y="6627813"/>
                </a:cubicBezTo>
                <a:cubicBezTo>
                  <a:pt x="6269434" y="7430294"/>
                  <a:pt x="5976937" y="8073562"/>
                  <a:pt x="5391943" y="8557618"/>
                </a:cubicBezTo>
                <a:cubicBezTo>
                  <a:pt x="4806950" y="9041673"/>
                  <a:pt x="4032845" y="9283700"/>
                  <a:pt x="3069629" y="9283700"/>
                </a:cubicBezTo>
                <a:cubicBezTo>
                  <a:pt x="2168326" y="9283700"/>
                  <a:pt x="1431395" y="9045840"/>
                  <a:pt x="858837" y="8570119"/>
                </a:cubicBezTo>
                <a:cubicBezTo>
                  <a:pt x="286279" y="8094266"/>
                  <a:pt x="0" y="7465418"/>
                  <a:pt x="0" y="6683574"/>
                </a:cubicBezTo>
                <a:lnTo>
                  <a:pt x="1792089" y="6683574"/>
                </a:lnTo>
                <a:cubicBezTo>
                  <a:pt x="1792089" y="7023167"/>
                  <a:pt x="1919221" y="7300648"/>
                  <a:pt x="2173485" y="7516019"/>
                </a:cubicBezTo>
                <a:cubicBezTo>
                  <a:pt x="2427750" y="7731258"/>
                  <a:pt x="2740951" y="7838877"/>
                  <a:pt x="3113087" y="7838877"/>
                </a:cubicBezTo>
                <a:cubicBezTo>
                  <a:pt x="3538802" y="7838877"/>
                  <a:pt x="3872574" y="7726098"/>
                  <a:pt x="4114403" y="7500541"/>
                </a:cubicBezTo>
                <a:cubicBezTo>
                  <a:pt x="4356364" y="7274852"/>
                  <a:pt x="4477345" y="6975740"/>
                  <a:pt x="4477345" y="6603207"/>
                </a:cubicBezTo>
                <a:cubicBezTo>
                  <a:pt x="4477345" y="5700845"/>
                  <a:pt x="3981251" y="5249665"/>
                  <a:pt x="2989064" y="5249665"/>
                </a:cubicBezTo>
                <a:lnTo>
                  <a:pt x="2040135" y="524966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4" name="Freeform 1964"/>
          <p:cNvSpPr/>
          <p:nvPr/>
        </p:nvSpPr>
        <p:spPr>
          <a:xfrm>
            <a:off x="4168716" y="4538127"/>
            <a:ext cx="48815" cy="74269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5" name="Freeform 1965"/>
          <p:cNvSpPr/>
          <p:nvPr/>
        </p:nvSpPr>
        <p:spPr>
          <a:xfrm>
            <a:off x="4226933" y="4538127"/>
            <a:ext cx="48815" cy="74269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6" name="Freeform 1966"/>
          <p:cNvSpPr/>
          <p:nvPr/>
        </p:nvSpPr>
        <p:spPr>
          <a:xfrm>
            <a:off x="4283264" y="4551546"/>
            <a:ext cx="49510" cy="52585"/>
          </a:xfrm>
          <a:custGeom>
            <a:avLst/>
            <a:gdLst/>
            <a:ahLst/>
            <a:cxnLst/>
            <a:rect l="0" t="0" r="0" b="0"/>
            <a:pathLst>
              <a:path w="6188868" h="6573242">
                <a:moveTo>
                  <a:pt x="3950295" y="2424707"/>
                </a:moveTo>
                <a:lnTo>
                  <a:pt x="6188868" y="2424707"/>
                </a:lnTo>
                <a:lnTo>
                  <a:pt x="6188868" y="4043164"/>
                </a:lnTo>
                <a:lnTo>
                  <a:pt x="3950295" y="4043164"/>
                </a:lnTo>
                <a:lnTo>
                  <a:pt x="3950295" y="6573242"/>
                </a:lnTo>
                <a:lnTo>
                  <a:pt x="2244923" y="6573242"/>
                </a:lnTo>
                <a:lnTo>
                  <a:pt x="2244923" y="4043164"/>
                </a:lnTo>
                <a:lnTo>
                  <a:pt x="0" y="4043164"/>
                </a:lnTo>
                <a:lnTo>
                  <a:pt x="0" y="2424707"/>
                </a:lnTo>
                <a:lnTo>
                  <a:pt x="2244923" y="2424707"/>
                </a:lnTo>
                <a:lnTo>
                  <a:pt x="2244923" y="0"/>
                </a:lnTo>
                <a:lnTo>
                  <a:pt x="39502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7" name="Freeform 1967"/>
          <p:cNvSpPr/>
          <p:nvPr/>
        </p:nvSpPr>
        <p:spPr>
          <a:xfrm>
            <a:off x="4339084" y="4556720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8" name="Freeform 1968"/>
          <p:cNvSpPr/>
          <p:nvPr/>
        </p:nvSpPr>
        <p:spPr>
          <a:xfrm>
            <a:off x="4393328" y="4557736"/>
            <a:ext cx="48517" cy="53644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69" name="Freeform 1969"/>
          <p:cNvSpPr/>
          <p:nvPr/>
        </p:nvSpPr>
        <p:spPr>
          <a:xfrm>
            <a:off x="4449012" y="4556720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0" name="Freeform 1970"/>
          <p:cNvSpPr/>
          <p:nvPr/>
        </p:nvSpPr>
        <p:spPr>
          <a:xfrm>
            <a:off x="4503977" y="4556720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1" name="Freeform 1971"/>
          <p:cNvSpPr/>
          <p:nvPr/>
        </p:nvSpPr>
        <p:spPr>
          <a:xfrm>
            <a:off x="4558336" y="4556720"/>
            <a:ext cx="47029" cy="5567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2" name="Freeform 1972"/>
          <p:cNvSpPr/>
          <p:nvPr/>
        </p:nvSpPr>
        <p:spPr>
          <a:xfrm>
            <a:off x="4609087" y="4557736"/>
            <a:ext cx="51096" cy="53644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3" name="Freeform 1973"/>
          <p:cNvSpPr/>
          <p:nvPr/>
        </p:nvSpPr>
        <p:spPr>
          <a:xfrm>
            <a:off x="4669276" y="4556720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4" name="Freeform 1974"/>
          <p:cNvSpPr/>
          <p:nvPr/>
        </p:nvSpPr>
        <p:spPr>
          <a:xfrm>
            <a:off x="4727018" y="4557736"/>
            <a:ext cx="47823" cy="53644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5" name="Freeform 1975"/>
          <p:cNvSpPr/>
          <p:nvPr/>
        </p:nvSpPr>
        <p:spPr>
          <a:xfrm>
            <a:off x="4784422" y="4557736"/>
            <a:ext cx="70543" cy="53644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6" name="Freeform 1976"/>
          <p:cNvSpPr/>
          <p:nvPr/>
        </p:nvSpPr>
        <p:spPr>
          <a:xfrm>
            <a:off x="4863036" y="4557736"/>
            <a:ext cx="49907" cy="53644"/>
          </a:xfrm>
          <a:custGeom>
            <a:avLst/>
            <a:gdLst/>
            <a:ahLst/>
            <a:cxnLst/>
            <a:rect l="0" t="0" r="0" b="0"/>
            <a:pathLst>
              <a:path w="6238478" h="6705600">
                <a:moveTo>
                  <a:pt x="3113087" y="2001838"/>
                </a:moveTo>
                <a:lnTo>
                  <a:pt x="4241601" y="0"/>
                </a:lnTo>
                <a:lnTo>
                  <a:pt x="6157912" y="0"/>
                </a:lnTo>
                <a:lnTo>
                  <a:pt x="4247951" y="3284538"/>
                </a:lnTo>
                <a:lnTo>
                  <a:pt x="6238478" y="6705600"/>
                </a:lnTo>
                <a:lnTo>
                  <a:pt x="4316015" y="6705600"/>
                </a:lnTo>
                <a:lnTo>
                  <a:pt x="3119239" y="4598393"/>
                </a:lnTo>
                <a:lnTo>
                  <a:pt x="1928614" y="6705600"/>
                </a:lnTo>
                <a:lnTo>
                  <a:pt x="0" y="6705600"/>
                </a:lnTo>
                <a:lnTo>
                  <a:pt x="1990725" y="3284538"/>
                </a:lnTo>
                <a:lnTo>
                  <a:pt x="86915" y="0"/>
                </a:lnTo>
                <a:lnTo>
                  <a:pt x="200917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7" name="Freeform 1977"/>
          <p:cNvSpPr/>
          <p:nvPr/>
        </p:nvSpPr>
        <p:spPr>
          <a:xfrm>
            <a:off x="3341660" y="4680545"/>
            <a:ext cx="44251" cy="55676"/>
          </a:xfrm>
          <a:custGeom>
            <a:avLst/>
            <a:gdLst/>
            <a:ahLst/>
            <a:cxnLst/>
            <a:rect l="0" t="0" r="0" b="0"/>
            <a:pathLst>
              <a:path w="5531445" h="6959600">
                <a:moveTo>
                  <a:pt x="2604492" y="942579"/>
                </a:moveTo>
                <a:cubicBezTo>
                  <a:pt x="2195181" y="942579"/>
                  <a:pt x="1840640" y="1072886"/>
                  <a:pt x="1540867" y="1333500"/>
                </a:cubicBezTo>
                <a:cubicBezTo>
                  <a:pt x="1241226" y="1593983"/>
                  <a:pt x="1091406" y="1902090"/>
                  <a:pt x="1091406" y="2257822"/>
                </a:cubicBezTo>
                <a:lnTo>
                  <a:pt x="0" y="2257822"/>
                </a:lnTo>
                <a:cubicBezTo>
                  <a:pt x="0" y="1873250"/>
                  <a:pt x="121973" y="1505215"/>
                  <a:pt x="365918" y="1153716"/>
                </a:cubicBezTo>
                <a:cubicBezTo>
                  <a:pt x="609864" y="802217"/>
                  <a:pt x="934376" y="522090"/>
                  <a:pt x="1339453" y="313333"/>
                </a:cubicBezTo>
                <a:cubicBezTo>
                  <a:pt x="1744662" y="104445"/>
                  <a:pt x="2166342" y="0"/>
                  <a:pt x="2604492" y="0"/>
                </a:cubicBezTo>
                <a:cubicBezTo>
                  <a:pt x="3476823" y="0"/>
                  <a:pt x="4182732" y="315318"/>
                  <a:pt x="4722217" y="945952"/>
                </a:cubicBezTo>
                <a:cubicBezTo>
                  <a:pt x="5261702" y="1576586"/>
                  <a:pt x="5531445" y="2400499"/>
                  <a:pt x="5531445" y="3417690"/>
                </a:cubicBezTo>
                <a:lnTo>
                  <a:pt x="5531445" y="3609975"/>
                </a:lnTo>
                <a:cubicBezTo>
                  <a:pt x="5531445" y="4238625"/>
                  <a:pt x="5408414" y="4812441"/>
                  <a:pt x="5162351" y="5331421"/>
                </a:cubicBezTo>
                <a:cubicBezTo>
                  <a:pt x="4916421" y="5850401"/>
                  <a:pt x="4571272" y="6251509"/>
                  <a:pt x="4126904" y="6534746"/>
                </a:cubicBezTo>
                <a:cubicBezTo>
                  <a:pt x="3682537" y="6817982"/>
                  <a:pt x="3175066" y="6959600"/>
                  <a:pt x="2604492" y="6959600"/>
                </a:cubicBezTo>
                <a:cubicBezTo>
                  <a:pt x="1860351" y="6959600"/>
                  <a:pt x="1240234" y="6728024"/>
                  <a:pt x="744140" y="6264871"/>
                </a:cubicBezTo>
                <a:cubicBezTo>
                  <a:pt x="248047" y="5801718"/>
                  <a:pt x="0" y="5224860"/>
                  <a:pt x="0" y="4534297"/>
                </a:cubicBezTo>
                <a:lnTo>
                  <a:pt x="1091406" y="4534297"/>
                </a:lnTo>
                <a:cubicBezTo>
                  <a:pt x="1091406" y="4956175"/>
                  <a:pt x="1238184" y="5310849"/>
                  <a:pt x="1531739" y="5598319"/>
                </a:cubicBezTo>
                <a:cubicBezTo>
                  <a:pt x="1825294" y="5885657"/>
                  <a:pt x="2182878" y="6029325"/>
                  <a:pt x="2604492" y="6029325"/>
                </a:cubicBezTo>
                <a:cubicBezTo>
                  <a:pt x="3096485" y="6029325"/>
                  <a:pt x="3501628" y="5839090"/>
                  <a:pt x="3819922" y="5458619"/>
                </a:cubicBezTo>
                <a:cubicBezTo>
                  <a:pt x="4138215" y="5078016"/>
                  <a:pt x="4322167" y="4554803"/>
                  <a:pt x="4371776" y="3888979"/>
                </a:cubicBezTo>
                <a:lnTo>
                  <a:pt x="1854200" y="3888979"/>
                </a:lnTo>
                <a:lnTo>
                  <a:pt x="1854200" y="2946400"/>
                </a:lnTo>
                <a:lnTo>
                  <a:pt x="4359473" y="2946400"/>
                </a:lnTo>
                <a:cubicBezTo>
                  <a:pt x="4301529" y="2342621"/>
                  <a:pt x="4117512" y="1857706"/>
                  <a:pt x="3807420" y="1491655"/>
                </a:cubicBezTo>
                <a:cubicBezTo>
                  <a:pt x="3497461" y="1125604"/>
                  <a:pt x="3096485" y="942579"/>
                  <a:pt x="2604492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8" name="Freeform 1978"/>
          <p:cNvSpPr/>
          <p:nvPr/>
        </p:nvSpPr>
        <p:spPr>
          <a:xfrm>
            <a:off x="3398997" y="4681561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79" name="Freeform 1979"/>
          <p:cNvSpPr/>
          <p:nvPr/>
        </p:nvSpPr>
        <p:spPr>
          <a:xfrm>
            <a:off x="3449975" y="4680545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0" name="Freeform 1980"/>
          <p:cNvSpPr/>
          <p:nvPr/>
        </p:nvSpPr>
        <p:spPr>
          <a:xfrm>
            <a:off x="3506287" y="468156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1" name="Freeform 1981"/>
          <p:cNvSpPr/>
          <p:nvPr/>
        </p:nvSpPr>
        <p:spPr>
          <a:xfrm>
            <a:off x="3561785" y="4680545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2" name="Freeform 1982"/>
          <p:cNvSpPr/>
          <p:nvPr/>
        </p:nvSpPr>
        <p:spPr>
          <a:xfrm>
            <a:off x="3617863" y="4680545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3" name="Freeform 1983"/>
          <p:cNvSpPr/>
          <p:nvPr/>
        </p:nvSpPr>
        <p:spPr>
          <a:xfrm>
            <a:off x="3665937" y="4681561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4" name="Freeform 1984"/>
          <p:cNvSpPr/>
          <p:nvPr/>
        </p:nvSpPr>
        <p:spPr>
          <a:xfrm>
            <a:off x="3715204" y="468054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5" name="Freeform 1985"/>
          <p:cNvSpPr/>
          <p:nvPr/>
        </p:nvSpPr>
        <p:spPr>
          <a:xfrm>
            <a:off x="3776389" y="4681561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6" name="Freeform 1986"/>
          <p:cNvSpPr/>
          <p:nvPr/>
        </p:nvSpPr>
        <p:spPr>
          <a:xfrm>
            <a:off x="3828053" y="4724341"/>
            <a:ext cx="13841" cy="25292"/>
          </a:xfrm>
          <a:custGeom>
            <a:avLst/>
            <a:gdLst/>
            <a:ahLst/>
            <a:cxnLst/>
            <a:rect l="0" t="0" r="0" b="0"/>
            <a:pathLst>
              <a:path w="1730176" h="3161506">
                <a:moveTo>
                  <a:pt x="651272" y="3161506"/>
                </a:moveTo>
                <a:lnTo>
                  <a:pt x="0" y="2714227"/>
                </a:lnTo>
                <a:cubicBezTo>
                  <a:pt x="388673" y="2171832"/>
                  <a:pt x="591277" y="1612833"/>
                  <a:pt x="607814" y="1037233"/>
                </a:cubicBezTo>
                <a:lnTo>
                  <a:pt x="607814" y="0"/>
                </a:lnTo>
                <a:lnTo>
                  <a:pt x="1730176" y="0"/>
                </a:lnTo>
                <a:lnTo>
                  <a:pt x="1730176" y="900708"/>
                </a:lnTo>
                <a:cubicBezTo>
                  <a:pt x="1730176" y="1318882"/>
                  <a:pt x="1627849" y="1737055"/>
                  <a:pt x="1423194" y="2155229"/>
                </a:cubicBezTo>
                <a:cubicBezTo>
                  <a:pt x="1218538" y="2573535"/>
                  <a:pt x="961231" y="2908961"/>
                  <a:pt x="651272" y="316150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7" name="Freeform 1987"/>
          <p:cNvSpPr/>
          <p:nvPr/>
        </p:nvSpPr>
        <p:spPr>
          <a:xfrm>
            <a:off x="3876565" y="4662968"/>
            <a:ext cx="48866" cy="73253"/>
          </a:xfrm>
          <a:custGeom>
            <a:avLst/>
            <a:gdLst/>
            <a:ahLst/>
            <a:cxnLst/>
            <a:rect l="0" t="0" r="0" b="0"/>
            <a:pathLst>
              <a:path w="6108303" h="9156700">
                <a:moveTo>
                  <a:pt x="229592" y="4592836"/>
                </a:moveTo>
                <a:lnTo>
                  <a:pt x="750491" y="0"/>
                </a:lnTo>
                <a:lnTo>
                  <a:pt x="5810647" y="0"/>
                </a:lnTo>
                <a:lnTo>
                  <a:pt x="5810647" y="1494433"/>
                </a:lnTo>
                <a:lnTo>
                  <a:pt x="2220119" y="1494433"/>
                </a:lnTo>
                <a:lnTo>
                  <a:pt x="1996877" y="3439915"/>
                </a:lnTo>
                <a:cubicBezTo>
                  <a:pt x="2422723" y="3212505"/>
                  <a:pt x="2875426" y="3098800"/>
                  <a:pt x="3354983" y="3098800"/>
                </a:cubicBezTo>
                <a:cubicBezTo>
                  <a:pt x="4214879" y="3098800"/>
                  <a:pt x="4888706" y="3365434"/>
                  <a:pt x="5376466" y="3898702"/>
                </a:cubicBezTo>
                <a:cubicBezTo>
                  <a:pt x="5864357" y="4431970"/>
                  <a:pt x="6108303" y="5178095"/>
                  <a:pt x="6108303" y="6137077"/>
                </a:cubicBezTo>
                <a:cubicBezTo>
                  <a:pt x="6108303" y="6719954"/>
                  <a:pt x="5985272" y="7241845"/>
                  <a:pt x="5739209" y="7702749"/>
                </a:cubicBezTo>
                <a:cubicBezTo>
                  <a:pt x="5493279" y="8163653"/>
                  <a:pt x="5140854" y="8521237"/>
                  <a:pt x="4681934" y="8775502"/>
                </a:cubicBezTo>
                <a:cubicBezTo>
                  <a:pt x="4223015" y="9029634"/>
                  <a:pt x="3681479" y="9156700"/>
                  <a:pt x="3057327" y="9156700"/>
                </a:cubicBezTo>
                <a:cubicBezTo>
                  <a:pt x="2511623" y="9156700"/>
                  <a:pt x="2005145" y="9046170"/>
                  <a:pt x="1537891" y="8825111"/>
                </a:cubicBezTo>
                <a:cubicBezTo>
                  <a:pt x="1070769" y="8603920"/>
                  <a:pt x="701807" y="8292836"/>
                  <a:pt x="431006" y="7891860"/>
                </a:cubicBezTo>
                <a:cubicBezTo>
                  <a:pt x="160205" y="7490884"/>
                  <a:pt x="16536" y="7034081"/>
                  <a:pt x="0" y="6521450"/>
                </a:cubicBezTo>
                <a:lnTo>
                  <a:pt x="1773634" y="6521450"/>
                </a:lnTo>
                <a:cubicBezTo>
                  <a:pt x="1810808" y="6897556"/>
                  <a:pt x="1942042" y="7189986"/>
                  <a:pt x="2167334" y="7398743"/>
                </a:cubicBezTo>
                <a:cubicBezTo>
                  <a:pt x="2392627" y="7607499"/>
                  <a:pt x="2687174" y="7711877"/>
                  <a:pt x="3050977" y="7711877"/>
                </a:cubicBezTo>
                <a:cubicBezTo>
                  <a:pt x="3456186" y="7711877"/>
                  <a:pt x="3768328" y="7566224"/>
                  <a:pt x="3987403" y="7274918"/>
                </a:cubicBezTo>
                <a:cubicBezTo>
                  <a:pt x="4206478" y="6983479"/>
                  <a:pt x="4316016" y="6571126"/>
                  <a:pt x="4316016" y="6037858"/>
                </a:cubicBezTo>
                <a:cubicBezTo>
                  <a:pt x="4316016" y="5525361"/>
                  <a:pt x="4189941" y="5132719"/>
                  <a:pt x="3937794" y="4859933"/>
                </a:cubicBezTo>
                <a:cubicBezTo>
                  <a:pt x="3685646" y="4587148"/>
                  <a:pt x="3328062" y="4450755"/>
                  <a:pt x="2865041" y="4450755"/>
                </a:cubicBezTo>
                <a:cubicBezTo>
                  <a:pt x="2439194" y="4450755"/>
                  <a:pt x="2093979" y="4562343"/>
                  <a:pt x="1829395" y="4785519"/>
                </a:cubicBezTo>
                <a:lnTo>
                  <a:pt x="1655762" y="494665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8" name="Freeform 1988"/>
          <p:cNvSpPr/>
          <p:nvPr/>
        </p:nvSpPr>
        <p:spPr>
          <a:xfrm>
            <a:off x="3934286" y="4661952"/>
            <a:ext cx="48815" cy="74269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89" name="Freeform 1989"/>
          <p:cNvSpPr/>
          <p:nvPr/>
        </p:nvSpPr>
        <p:spPr>
          <a:xfrm>
            <a:off x="3992503" y="4661952"/>
            <a:ext cx="48815" cy="74269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0" name="Freeform 1990"/>
          <p:cNvSpPr/>
          <p:nvPr/>
        </p:nvSpPr>
        <p:spPr>
          <a:xfrm>
            <a:off x="4078893" y="4681561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1" name="Freeform 1991"/>
          <p:cNvSpPr/>
          <p:nvPr/>
        </p:nvSpPr>
        <p:spPr>
          <a:xfrm>
            <a:off x="4129516" y="468054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2" name="Freeform 1992"/>
          <p:cNvSpPr/>
          <p:nvPr/>
        </p:nvSpPr>
        <p:spPr>
          <a:xfrm>
            <a:off x="4190702" y="4681561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3" name="Freeform 1993"/>
          <p:cNvSpPr/>
          <p:nvPr/>
        </p:nvSpPr>
        <p:spPr>
          <a:xfrm>
            <a:off x="4265938" y="468156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4" name="Freeform 1994"/>
          <p:cNvSpPr/>
          <p:nvPr/>
        </p:nvSpPr>
        <p:spPr>
          <a:xfrm>
            <a:off x="4322229" y="4680545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5" name="Freeform 1995"/>
          <p:cNvSpPr/>
          <p:nvPr/>
        </p:nvSpPr>
        <p:spPr>
          <a:xfrm>
            <a:off x="4379730" y="4681561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6" name="Freeform 1996"/>
          <p:cNvSpPr/>
          <p:nvPr/>
        </p:nvSpPr>
        <p:spPr>
          <a:xfrm>
            <a:off x="4438252" y="468156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7" name="Freeform 1997"/>
          <p:cNvSpPr/>
          <p:nvPr/>
        </p:nvSpPr>
        <p:spPr>
          <a:xfrm>
            <a:off x="4496875" y="4661952"/>
            <a:ext cx="43110" cy="7325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8" name="Freeform 1998"/>
          <p:cNvSpPr/>
          <p:nvPr/>
        </p:nvSpPr>
        <p:spPr>
          <a:xfrm>
            <a:off x="4549197" y="4724341"/>
            <a:ext cx="13841" cy="25292"/>
          </a:xfrm>
          <a:custGeom>
            <a:avLst/>
            <a:gdLst/>
            <a:ahLst/>
            <a:cxnLst/>
            <a:rect l="0" t="0" r="0" b="0"/>
            <a:pathLst>
              <a:path w="1730176" h="3161506">
                <a:moveTo>
                  <a:pt x="651272" y="3161506"/>
                </a:moveTo>
                <a:lnTo>
                  <a:pt x="0" y="2714227"/>
                </a:lnTo>
                <a:cubicBezTo>
                  <a:pt x="388673" y="2171832"/>
                  <a:pt x="591277" y="1612833"/>
                  <a:pt x="607814" y="1037233"/>
                </a:cubicBezTo>
                <a:lnTo>
                  <a:pt x="607814" y="0"/>
                </a:lnTo>
                <a:lnTo>
                  <a:pt x="1730176" y="0"/>
                </a:lnTo>
                <a:lnTo>
                  <a:pt x="1730176" y="900708"/>
                </a:lnTo>
                <a:cubicBezTo>
                  <a:pt x="1730176" y="1318882"/>
                  <a:pt x="1627849" y="1737055"/>
                  <a:pt x="1423194" y="2155229"/>
                </a:cubicBezTo>
                <a:cubicBezTo>
                  <a:pt x="1218538" y="2573535"/>
                  <a:pt x="961231" y="2908961"/>
                  <a:pt x="651272" y="316150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9" name="Freeform 1999"/>
          <p:cNvSpPr/>
          <p:nvPr/>
        </p:nvSpPr>
        <p:spPr>
          <a:xfrm>
            <a:off x="4597873" y="4662968"/>
            <a:ext cx="48866" cy="73253"/>
          </a:xfrm>
          <a:custGeom>
            <a:avLst/>
            <a:gdLst/>
            <a:ahLst/>
            <a:cxnLst/>
            <a:rect l="0" t="0" r="0" b="0"/>
            <a:pathLst>
              <a:path w="6108303" h="9156700">
                <a:moveTo>
                  <a:pt x="229592" y="4592836"/>
                </a:moveTo>
                <a:lnTo>
                  <a:pt x="750491" y="0"/>
                </a:lnTo>
                <a:lnTo>
                  <a:pt x="5810647" y="0"/>
                </a:lnTo>
                <a:lnTo>
                  <a:pt x="5810647" y="1494433"/>
                </a:lnTo>
                <a:lnTo>
                  <a:pt x="2220119" y="1494433"/>
                </a:lnTo>
                <a:lnTo>
                  <a:pt x="1996877" y="3439915"/>
                </a:lnTo>
                <a:cubicBezTo>
                  <a:pt x="2422723" y="3212505"/>
                  <a:pt x="2875426" y="3098800"/>
                  <a:pt x="3354983" y="3098800"/>
                </a:cubicBezTo>
                <a:cubicBezTo>
                  <a:pt x="4214879" y="3098800"/>
                  <a:pt x="4888706" y="3365434"/>
                  <a:pt x="5376466" y="3898702"/>
                </a:cubicBezTo>
                <a:cubicBezTo>
                  <a:pt x="5864357" y="4431970"/>
                  <a:pt x="6108303" y="5178095"/>
                  <a:pt x="6108303" y="6137077"/>
                </a:cubicBezTo>
                <a:cubicBezTo>
                  <a:pt x="6108303" y="6719954"/>
                  <a:pt x="5985272" y="7241845"/>
                  <a:pt x="5739209" y="7702749"/>
                </a:cubicBezTo>
                <a:cubicBezTo>
                  <a:pt x="5493279" y="8163653"/>
                  <a:pt x="5140854" y="8521237"/>
                  <a:pt x="4681934" y="8775502"/>
                </a:cubicBezTo>
                <a:cubicBezTo>
                  <a:pt x="4223015" y="9029634"/>
                  <a:pt x="3681479" y="9156700"/>
                  <a:pt x="3057327" y="9156700"/>
                </a:cubicBezTo>
                <a:cubicBezTo>
                  <a:pt x="2511623" y="9156700"/>
                  <a:pt x="2005145" y="9046170"/>
                  <a:pt x="1537891" y="8825111"/>
                </a:cubicBezTo>
                <a:cubicBezTo>
                  <a:pt x="1070769" y="8603920"/>
                  <a:pt x="701807" y="8292836"/>
                  <a:pt x="431006" y="7891860"/>
                </a:cubicBezTo>
                <a:cubicBezTo>
                  <a:pt x="160205" y="7490884"/>
                  <a:pt x="16536" y="7034081"/>
                  <a:pt x="0" y="6521450"/>
                </a:cubicBezTo>
                <a:lnTo>
                  <a:pt x="1773634" y="6521450"/>
                </a:lnTo>
                <a:cubicBezTo>
                  <a:pt x="1810808" y="6897556"/>
                  <a:pt x="1942042" y="7189986"/>
                  <a:pt x="2167334" y="7398743"/>
                </a:cubicBezTo>
                <a:cubicBezTo>
                  <a:pt x="2392627" y="7607499"/>
                  <a:pt x="2687174" y="7711877"/>
                  <a:pt x="3050977" y="7711877"/>
                </a:cubicBezTo>
                <a:cubicBezTo>
                  <a:pt x="3456186" y="7711877"/>
                  <a:pt x="3768328" y="7566224"/>
                  <a:pt x="3987403" y="7274918"/>
                </a:cubicBezTo>
                <a:cubicBezTo>
                  <a:pt x="4206478" y="6983479"/>
                  <a:pt x="4316016" y="6571126"/>
                  <a:pt x="4316016" y="6037858"/>
                </a:cubicBezTo>
                <a:cubicBezTo>
                  <a:pt x="4316016" y="5525361"/>
                  <a:pt x="4189941" y="5132719"/>
                  <a:pt x="3937794" y="4859933"/>
                </a:cubicBezTo>
                <a:cubicBezTo>
                  <a:pt x="3685646" y="4587148"/>
                  <a:pt x="3328062" y="4450755"/>
                  <a:pt x="2865041" y="4450755"/>
                </a:cubicBezTo>
                <a:cubicBezTo>
                  <a:pt x="2439194" y="4450755"/>
                  <a:pt x="2093979" y="4562343"/>
                  <a:pt x="1829395" y="4785519"/>
                </a:cubicBezTo>
                <a:lnTo>
                  <a:pt x="1655762" y="494665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0" name="Freeform 2000"/>
          <p:cNvSpPr/>
          <p:nvPr/>
        </p:nvSpPr>
        <p:spPr>
          <a:xfrm>
            <a:off x="4655595" y="4661952"/>
            <a:ext cx="48815" cy="74269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1" name="Freeform 2001"/>
          <p:cNvSpPr/>
          <p:nvPr/>
        </p:nvSpPr>
        <p:spPr>
          <a:xfrm>
            <a:off x="4742612" y="4662968"/>
            <a:ext cx="49163" cy="72237"/>
          </a:xfrm>
          <a:custGeom>
            <a:avLst/>
            <a:gdLst/>
            <a:ahLst/>
            <a:cxnLst/>
            <a:rect l="0" t="0" r="0" b="0"/>
            <a:pathLst>
              <a:path w="6145411" h="9029700">
                <a:moveTo>
                  <a:pt x="0" y="9029700"/>
                </a:moveTo>
                <a:lnTo>
                  <a:pt x="0" y="0"/>
                </a:lnTo>
                <a:lnTo>
                  <a:pt x="2951758" y="0"/>
                </a:lnTo>
                <a:cubicBezTo>
                  <a:pt x="3931642" y="0"/>
                  <a:pt x="4668573" y="202473"/>
                  <a:pt x="5162550" y="607418"/>
                </a:cubicBezTo>
                <a:cubicBezTo>
                  <a:pt x="5656527" y="1012230"/>
                  <a:pt x="5903516" y="1611247"/>
                  <a:pt x="5903516" y="2404468"/>
                </a:cubicBezTo>
                <a:cubicBezTo>
                  <a:pt x="5903516" y="2825817"/>
                  <a:pt x="5783593" y="3198681"/>
                  <a:pt x="5543748" y="3523060"/>
                </a:cubicBezTo>
                <a:cubicBezTo>
                  <a:pt x="5304036" y="3847307"/>
                  <a:pt x="4977474" y="4098264"/>
                  <a:pt x="4564062" y="4275932"/>
                </a:cubicBezTo>
                <a:cubicBezTo>
                  <a:pt x="5051954" y="4412457"/>
                  <a:pt x="5437452" y="4672079"/>
                  <a:pt x="5720556" y="5054799"/>
                </a:cubicBezTo>
                <a:cubicBezTo>
                  <a:pt x="6003792" y="5437519"/>
                  <a:pt x="6145411" y="5893660"/>
                  <a:pt x="6145411" y="6423224"/>
                </a:cubicBezTo>
                <a:cubicBezTo>
                  <a:pt x="6145411" y="7234172"/>
                  <a:pt x="5882878" y="7871355"/>
                  <a:pt x="5357812" y="8334772"/>
                </a:cubicBezTo>
                <a:cubicBezTo>
                  <a:pt x="4832879" y="8798058"/>
                  <a:pt x="4090855" y="9029700"/>
                  <a:pt x="3131741" y="9029700"/>
                </a:cubicBezTo>
                <a:close/>
                <a:moveTo>
                  <a:pt x="1190625" y="4803180"/>
                </a:moveTo>
                <a:lnTo>
                  <a:pt x="1190625" y="8056166"/>
                </a:lnTo>
                <a:lnTo>
                  <a:pt x="3156545" y="8056166"/>
                </a:lnTo>
                <a:cubicBezTo>
                  <a:pt x="3710451" y="8056166"/>
                  <a:pt x="4147608" y="7912365"/>
                  <a:pt x="4468019" y="7624763"/>
                </a:cubicBezTo>
                <a:cubicBezTo>
                  <a:pt x="4788429" y="7337029"/>
                  <a:pt x="4948634" y="6940749"/>
                  <a:pt x="4948634" y="6435924"/>
                </a:cubicBezTo>
                <a:cubicBezTo>
                  <a:pt x="4948634" y="5347428"/>
                  <a:pt x="4357423" y="4803180"/>
                  <a:pt x="3175000" y="4803180"/>
                </a:cubicBezTo>
                <a:close/>
                <a:moveTo>
                  <a:pt x="1190625" y="3848100"/>
                </a:moveTo>
                <a:lnTo>
                  <a:pt x="2989064" y="3848100"/>
                </a:lnTo>
                <a:cubicBezTo>
                  <a:pt x="3509896" y="3848100"/>
                  <a:pt x="3926351" y="3718058"/>
                  <a:pt x="4238427" y="3457972"/>
                </a:cubicBezTo>
                <a:cubicBezTo>
                  <a:pt x="4550635" y="3197755"/>
                  <a:pt x="4706739" y="2844602"/>
                  <a:pt x="4706739" y="2398515"/>
                </a:cubicBezTo>
                <a:cubicBezTo>
                  <a:pt x="4706739" y="1902950"/>
                  <a:pt x="4562012" y="1542654"/>
                  <a:pt x="4272558" y="1317625"/>
                </a:cubicBezTo>
                <a:cubicBezTo>
                  <a:pt x="3983236" y="1092465"/>
                  <a:pt x="3542969" y="979885"/>
                  <a:pt x="2951758" y="979885"/>
                </a:cubicBezTo>
                <a:lnTo>
                  <a:pt x="1190625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2" name="Freeform 2002"/>
          <p:cNvSpPr/>
          <p:nvPr/>
        </p:nvSpPr>
        <p:spPr>
          <a:xfrm>
            <a:off x="4800633" y="4662968"/>
            <a:ext cx="57051" cy="73253"/>
          </a:xfrm>
          <a:custGeom>
            <a:avLst/>
            <a:gdLst/>
            <a:ahLst/>
            <a:cxnLst/>
            <a:rect l="0" t="0" r="0" b="0"/>
            <a:pathLst>
              <a:path w="7131447" h="9156700">
                <a:moveTo>
                  <a:pt x="3671094" y="5238552"/>
                </a:moveTo>
                <a:lnTo>
                  <a:pt x="5748536" y="0"/>
                </a:lnTo>
                <a:lnTo>
                  <a:pt x="7131447" y="0"/>
                </a:lnTo>
                <a:lnTo>
                  <a:pt x="3937794" y="7519988"/>
                </a:lnTo>
                <a:cubicBezTo>
                  <a:pt x="3722820" y="7999413"/>
                  <a:pt x="3522332" y="8339403"/>
                  <a:pt x="3336330" y="8539957"/>
                </a:cubicBezTo>
                <a:cubicBezTo>
                  <a:pt x="3150328" y="8740379"/>
                  <a:pt x="2932245" y="8893308"/>
                  <a:pt x="2682081" y="8998744"/>
                </a:cubicBezTo>
                <a:cubicBezTo>
                  <a:pt x="2431918" y="9104047"/>
                  <a:pt x="2118783" y="9156700"/>
                  <a:pt x="1742678" y="9156700"/>
                </a:cubicBezTo>
                <a:cubicBezTo>
                  <a:pt x="1416050" y="9156700"/>
                  <a:pt x="1207228" y="9138113"/>
                  <a:pt x="1116211" y="9100939"/>
                </a:cubicBezTo>
                <a:lnTo>
                  <a:pt x="1153517" y="8158361"/>
                </a:lnTo>
                <a:lnTo>
                  <a:pt x="1717874" y="8183166"/>
                </a:lnTo>
                <a:cubicBezTo>
                  <a:pt x="2151922" y="8183166"/>
                  <a:pt x="2474383" y="7974476"/>
                  <a:pt x="2685256" y="7557096"/>
                </a:cubicBezTo>
                <a:lnTo>
                  <a:pt x="2840236" y="7234833"/>
                </a:lnTo>
                <a:lnTo>
                  <a:pt x="3075781" y="6683177"/>
                </a:lnTo>
                <a:lnTo>
                  <a:pt x="0" y="0"/>
                </a:lnTo>
                <a:lnTo>
                  <a:pt x="133330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3" name="Freeform 2003"/>
          <p:cNvSpPr/>
          <p:nvPr/>
        </p:nvSpPr>
        <p:spPr>
          <a:xfrm>
            <a:off x="4864587" y="4661952"/>
            <a:ext cx="52090" cy="74269"/>
          </a:xfrm>
          <a:custGeom>
            <a:avLst/>
            <a:gdLst/>
            <a:ahLst/>
            <a:cxnLst/>
            <a:rect l="0" t="0" r="0" b="0"/>
            <a:pathLst>
              <a:path w="6511330" h="9283700">
                <a:moveTo>
                  <a:pt x="5184180" y="2549922"/>
                </a:moveTo>
                <a:cubicBezTo>
                  <a:pt x="5184180" y="2069968"/>
                  <a:pt x="5009489" y="1688307"/>
                  <a:pt x="4660107" y="1404938"/>
                </a:cubicBezTo>
                <a:cubicBezTo>
                  <a:pt x="4310857" y="1121569"/>
                  <a:pt x="3819988" y="979885"/>
                  <a:pt x="3187502" y="979885"/>
                </a:cubicBezTo>
                <a:cubicBezTo>
                  <a:pt x="2658335" y="979885"/>
                  <a:pt x="2214894" y="1125604"/>
                  <a:pt x="1857177" y="1417043"/>
                </a:cubicBezTo>
                <a:cubicBezTo>
                  <a:pt x="1499592" y="1708481"/>
                  <a:pt x="1320800" y="2069174"/>
                  <a:pt x="1320800" y="2499122"/>
                </a:cubicBezTo>
                <a:lnTo>
                  <a:pt x="130175" y="2499122"/>
                </a:lnTo>
                <a:cubicBezTo>
                  <a:pt x="130175" y="2019565"/>
                  <a:pt x="261409" y="1589617"/>
                  <a:pt x="523875" y="1209279"/>
                </a:cubicBezTo>
                <a:cubicBezTo>
                  <a:pt x="786474" y="828940"/>
                  <a:pt x="1153385" y="532342"/>
                  <a:pt x="1624608" y="319485"/>
                </a:cubicBezTo>
                <a:cubicBezTo>
                  <a:pt x="2095963" y="106496"/>
                  <a:pt x="2616928" y="0"/>
                  <a:pt x="3187502" y="0"/>
                </a:cubicBezTo>
                <a:cubicBezTo>
                  <a:pt x="4196226" y="0"/>
                  <a:pt x="4979591" y="226484"/>
                  <a:pt x="5537597" y="679450"/>
                </a:cubicBezTo>
                <a:cubicBezTo>
                  <a:pt x="6095736" y="1132285"/>
                  <a:pt x="6374805" y="1761993"/>
                  <a:pt x="6374805" y="2568575"/>
                </a:cubicBezTo>
                <a:cubicBezTo>
                  <a:pt x="6374805" y="2986353"/>
                  <a:pt x="6246614" y="3366890"/>
                  <a:pt x="5990233" y="3710186"/>
                </a:cubicBezTo>
                <a:cubicBezTo>
                  <a:pt x="5733984" y="4053483"/>
                  <a:pt x="5376400" y="4324417"/>
                  <a:pt x="4917480" y="4522986"/>
                </a:cubicBezTo>
                <a:cubicBezTo>
                  <a:pt x="5980046" y="4878851"/>
                  <a:pt x="6511330" y="5584362"/>
                  <a:pt x="6511330" y="6639521"/>
                </a:cubicBezTo>
                <a:cubicBezTo>
                  <a:pt x="6511330" y="7450601"/>
                  <a:pt x="6209507" y="8094068"/>
                  <a:pt x="5605860" y="8569921"/>
                </a:cubicBezTo>
                <a:cubicBezTo>
                  <a:pt x="5002345" y="9045774"/>
                  <a:pt x="4196226" y="9283700"/>
                  <a:pt x="3187502" y="9283700"/>
                </a:cubicBezTo>
                <a:cubicBezTo>
                  <a:pt x="2587956" y="9283700"/>
                  <a:pt x="2043245" y="9177271"/>
                  <a:pt x="1553369" y="8964415"/>
                </a:cubicBezTo>
                <a:cubicBezTo>
                  <a:pt x="1063493" y="8751425"/>
                  <a:pt x="682096" y="8448609"/>
                  <a:pt x="409178" y="8055968"/>
                </a:cubicBezTo>
                <a:cubicBezTo>
                  <a:pt x="136393" y="7663194"/>
                  <a:pt x="0" y="7196006"/>
                  <a:pt x="0" y="6654404"/>
                </a:cubicBezTo>
                <a:lnTo>
                  <a:pt x="1190625" y="6654404"/>
                </a:lnTo>
                <a:cubicBezTo>
                  <a:pt x="1190625" y="7129860"/>
                  <a:pt x="1378744" y="7525743"/>
                  <a:pt x="1754982" y="7842052"/>
                </a:cubicBezTo>
                <a:cubicBezTo>
                  <a:pt x="2131219" y="8158229"/>
                  <a:pt x="2608726" y="8316318"/>
                  <a:pt x="3187502" y="8316318"/>
                </a:cubicBezTo>
                <a:cubicBezTo>
                  <a:pt x="3836525" y="8316318"/>
                  <a:pt x="4354314" y="8165241"/>
                  <a:pt x="4740871" y="7863086"/>
                </a:cubicBezTo>
                <a:cubicBezTo>
                  <a:pt x="5127427" y="7560800"/>
                  <a:pt x="5320705" y="7161279"/>
                  <a:pt x="5320705" y="6664524"/>
                </a:cubicBezTo>
                <a:cubicBezTo>
                  <a:pt x="5320705" y="5604736"/>
                  <a:pt x="4665398" y="5064522"/>
                  <a:pt x="3354785" y="5043885"/>
                </a:cubicBezTo>
                <a:lnTo>
                  <a:pt x="2238574" y="5043885"/>
                </a:lnTo>
                <a:lnTo>
                  <a:pt x="2238574" y="4064000"/>
                </a:lnTo>
                <a:lnTo>
                  <a:pt x="3348633" y="4064000"/>
                </a:lnTo>
                <a:cubicBezTo>
                  <a:pt x="3952280" y="4051565"/>
                  <a:pt x="4409083" y="3915040"/>
                  <a:pt x="4719042" y="3654425"/>
                </a:cubicBezTo>
                <a:cubicBezTo>
                  <a:pt x="5029134" y="3393811"/>
                  <a:pt x="5184180" y="3025643"/>
                  <a:pt x="5184180" y="254992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4" name="Freeform 2004"/>
          <p:cNvSpPr/>
          <p:nvPr/>
        </p:nvSpPr>
        <p:spPr>
          <a:xfrm>
            <a:off x="4925382" y="468054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5" name="Freeform 2005"/>
          <p:cNvSpPr/>
          <p:nvPr/>
        </p:nvSpPr>
        <p:spPr>
          <a:xfrm>
            <a:off x="4986568" y="4681561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6" name="Freeform 2006"/>
          <p:cNvSpPr/>
          <p:nvPr/>
        </p:nvSpPr>
        <p:spPr>
          <a:xfrm>
            <a:off x="5069627" y="468156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7" name="Rectangle 2007"/>
          <p:cNvSpPr/>
          <p:nvPr/>
        </p:nvSpPr>
        <p:spPr>
          <a:xfrm>
            <a:off x="3336699" y="4762511"/>
            <a:ext cx="712215" cy="121919"/>
          </a:xfrm>
          <a:prstGeom prst="rect">
            <a:avLst/>
          </a:prstGeom>
        </p:spPr>
      </p:sp>
      <p:sp>
        <p:nvSpPr>
          <p:cNvPr id="2008" name="Freeform 2008"/>
          <p:cNvSpPr/>
          <p:nvPr/>
        </p:nvSpPr>
        <p:spPr>
          <a:xfrm>
            <a:off x="3344438" y="4805386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09" name="Freeform 2009"/>
          <p:cNvSpPr/>
          <p:nvPr/>
        </p:nvSpPr>
        <p:spPr>
          <a:xfrm>
            <a:off x="3395062" y="480437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10" name="Freeform 2010"/>
          <p:cNvSpPr/>
          <p:nvPr/>
        </p:nvSpPr>
        <p:spPr>
          <a:xfrm>
            <a:off x="3449931" y="4805386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11" name="Freeform 2011"/>
          <p:cNvSpPr/>
          <p:nvPr/>
        </p:nvSpPr>
        <p:spPr>
          <a:xfrm>
            <a:off x="3508656" y="4805386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12" name="Freeform 2012"/>
          <p:cNvSpPr/>
          <p:nvPr/>
        </p:nvSpPr>
        <p:spPr>
          <a:xfrm>
            <a:off x="3569811" y="480437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13" name="Freeform 2013"/>
          <p:cNvSpPr/>
          <p:nvPr/>
        </p:nvSpPr>
        <p:spPr>
          <a:xfrm>
            <a:off x="3621227" y="4805386"/>
            <a:ext cx="55810" cy="69392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14" name="Freeform 2014"/>
          <p:cNvSpPr/>
          <p:nvPr/>
        </p:nvSpPr>
        <p:spPr>
          <a:xfrm>
            <a:off x="3681250" y="4805386"/>
            <a:ext cx="75357" cy="53644"/>
          </a:xfrm>
          <a:custGeom>
            <a:avLst/>
            <a:gdLst/>
            <a:ahLst/>
            <a:cxnLst/>
            <a:rect l="0" t="0" r="0" b="0"/>
            <a:pathLst>
              <a:path w="9419629" h="6705600">
                <a:moveTo>
                  <a:pt x="6089650" y="3785593"/>
                </a:moveTo>
                <a:lnTo>
                  <a:pt x="5283398" y="3785593"/>
                </a:lnTo>
                <a:lnTo>
                  <a:pt x="5283398" y="6705600"/>
                </a:lnTo>
                <a:lnTo>
                  <a:pt x="4136231" y="6705600"/>
                </a:lnTo>
                <a:lnTo>
                  <a:pt x="4136231" y="3785593"/>
                </a:lnTo>
                <a:lnTo>
                  <a:pt x="3330178" y="3785593"/>
                </a:lnTo>
                <a:lnTo>
                  <a:pt x="1451173" y="6705600"/>
                </a:lnTo>
                <a:lnTo>
                  <a:pt x="0" y="6705600"/>
                </a:lnTo>
                <a:lnTo>
                  <a:pt x="2399903" y="3227388"/>
                </a:lnTo>
                <a:lnTo>
                  <a:pt x="229592" y="0"/>
                </a:lnTo>
                <a:lnTo>
                  <a:pt x="1618654" y="0"/>
                </a:lnTo>
                <a:lnTo>
                  <a:pt x="3348632" y="2768600"/>
                </a:lnTo>
                <a:lnTo>
                  <a:pt x="4136231" y="2768600"/>
                </a:lnTo>
                <a:lnTo>
                  <a:pt x="4136231" y="0"/>
                </a:lnTo>
                <a:lnTo>
                  <a:pt x="5283398" y="0"/>
                </a:lnTo>
                <a:lnTo>
                  <a:pt x="5283398" y="2768600"/>
                </a:lnTo>
                <a:lnTo>
                  <a:pt x="6064845" y="2768600"/>
                </a:lnTo>
                <a:lnTo>
                  <a:pt x="7807325" y="0"/>
                </a:lnTo>
                <a:lnTo>
                  <a:pt x="9196387" y="0"/>
                </a:lnTo>
                <a:lnTo>
                  <a:pt x="7019726" y="3233738"/>
                </a:lnTo>
                <a:lnTo>
                  <a:pt x="9419629" y="6705600"/>
                </a:lnTo>
                <a:lnTo>
                  <a:pt x="7968654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15" name="Freeform 2015"/>
          <p:cNvSpPr/>
          <p:nvPr/>
        </p:nvSpPr>
        <p:spPr>
          <a:xfrm>
            <a:off x="3761632" y="480437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16" name="Freeform 2016"/>
          <p:cNvSpPr/>
          <p:nvPr/>
        </p:nvSpPr>
        <p:spPr>
          <a:xfrm>
            <a:off x="3818504" y="4785777"/>
            <a:ext cx="43110" cy="7325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17" name="Freeform 2017"/>
          <p:cNvSpPr/>
          <p:nvPr/>
        </p:nvSpPr>
        <p:spPr>
          <a:xfrm>
            <a:off x="3902867" y="4786793"/>
            <a:ext cx="51941" cy="72237"/>
          </a:xfrm>
          <a:custGeom>
            <a:avLst/>
            <a:gdLst/>
            <a:ahLst/>
            <a:cxnLst/>
            <a:rect l="0" t="0" r="0" b="0"/>
            <a:pathLst>
              <a:path w="6492677" h="9029700">
                <a:moveTo>
                  <a:pt x="1190625" y="5494735"/>
                </a:move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3330178" y="0"/>
                </a:lnTo>
                <a:cubicBezTo>
                  <a:pt x="4318132" y="0"/>
                  <a:pt x="5092171" y="252215"/>
                  <a:pt x="5652294" y="756643"/>
                </a:cubicBezTo>
                <a:cubicBezTo>
                  <a:pt x="6212549" y="1261071"/>
                  <a:pt x="6492677" y="1928813"/>
                  <a:pt x="6492677" y="2759869"/>
                </a:cubicBezTo>
                <a:cubicBezTo>
                  <a:pt x="6492677" y="3636301"/>
                  <a:pt x="6218767" y="4311254"/>
                  <a:pt x="5670947" y="4784725"/>
                </a:cubicBezTo>
                <a:cubicBezTo>
                  <a:pt x="5123259" y="5258065"/>
                  <a:pt x="4338836" y="5494735"/>
                  <a:pt x="3317677" y="5494735"/>
                </a:cubicBezTo>
                <a:close/>
                <a:moveTo>
                  <a:pt x="1190625" y="4521200"/>
                </a:moveTo>
                <a:lnTo>
                  <a:pt x="3330178" y="4521200"/>
                </a:lnTo>
                <a:cubicBezTo>
                  <a:pt x="3966766" y="4521200"/>
                  <a:pt x="4454525" y="4371314"/>
                  <a:pt x="4793456" y="4071541"/>
                </a:cubicBezTo>
                <a:cubicBezTo>
                  <a:pt x="5132520" y="3771768"/>
                  <a:pt x="5302052" y="3338645"/>
                  <a:pt x="5302052" y="2772172"/>
                </a:cubicBezTo>
                <a:cubicBezTo>
                  <a:pt x="5302052" y="2234671"/>
                  <a:pt x="5132520" y="1804724"/>
                  <a:pt x="4793456" y="1482329"/>
                </a:cubicBezTo>
                <a:cubicBezTo>
                  <a:pt x="4454525" y="1159802"/>
                  <a:pt x="3989454" y="992321"/>
                  <a:pt x="3398242" y="979885"/>
                </a:cubicBezTo>
                <a:lnTo>
                  <a:pt x="1190625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18" name="Freeform 2018"/>
          <p:cNvSpPr/>
          <p:nvPr/>
        </p:nvSpPr>
        <p:spPr>
          <a:xfrm>
            <a:off x="3967322" y="4786793"/>
            <a:ext cx="56107" cy="72237"/>
          </a:xfrm>
          <a:custGeom>
            <a:avLst/>
            <a:gdLst/>
            <a:ahLst/>
            <a:cxnLst/>
            <a:rect l="0" t="0" r="0" b="0"/>
            <a:pathLst>
              <a:path w="7013377" h="9029700">
                <a:moveTo>
                  <a:pt x="2288183" y="4967288"/>
                </a:moveTo>
                <a:lnTo>
                  <a:pt x="1190625" y="49672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975100"/>
                </a:lnTo>
                <a:lnTo>
                  <a:pt x="2120702" y="3975100"/>
                </a:lnTo>
                <a:lnTo>
                  <a:pt x="5277049" y="0"/>
                </a:lnTo>
                <a:lnTo>
                  <a:pt x="6759178" y="0"/>
                </a:lnTo>
                <a:lnTo>
                  <a:pt x="3311327" y="4371975"/>
                </a:lnTo>
                <a:lnTo>
                  <a:pt x="7013377" y="9029700"/>
                </a:lnTo>
                <a:lnTo>
                  <a:pt x="5556250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96" name="Прямоугольник 595">
            <a:extLst>
              <a:ext uri="{FF2B5EF4-FFF2-40B4-BE49-F238E27FC236}">
                <a16:creationId xmlns:a16="http://schemas.microsoft.com/office/drawing/2014/main" xmlns="" id="{6C8CC94F-64F9-4A6D-BCA6-650EC699B674}"/>
              </a:ext>
            </a:extLst>
          </p:cNvPr>
          <p:cNvSpPr/>
          <p:nvPr/>
        </p:nvSpPr>
        <p:spPr>
          <a:xfrm>
            <a:off x="749061" y="156509"/>
            <a:ext cx="8032576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lvl="0"/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dirty="0">
                <a:solidFill>
                  <a:srgbClr val="295E7E"/>
                </a:solidFill>
              </a:rPr>
              <a:t>3.</a:t>
            </a:r>
            <a:r>
              <a:rPr lang="ru-RU" dirty="0">
                <a:solidFill>
                  <a:srgbClr val="295E7E"/>
                </a:solidFill>
              </a:rPr>
              <a:t> Развитие инструментария сферы занятости</a:t>
            </a:r>
            <a:endParaRPr lang="x-none" dirty="0">
              <a:solidFill>
                <a:srgbClr val="295E7E"/>
              </a:solidFill>
            </a:endParaRPr>
          </a:p>
        </p:txBody>
      </p:sp>
      <p:sp>
        <p:nvSpPr>
          <p:cNvPr id="597" name="TextBox 596">
            <a:extLst>
              <a:ext uri="{FF2B5EF4-FFF2-40B4-BE49-F238E27FC236}">
                <a16:creationId xmlns:a16="http://schemas.microsoft.com/office/drawing/2014/main" xmlns="" id="{EB0976E6-C800-4A97-A34F-69FB07A8DAD1}"/>
              </a:ext>
            </a:extLst>
          </p:cNvPr>
          <p:cNvSpPr txBox="1"/>
          <p:nvPr/>
        </p:nvSpPr>
        <p:spPr>
          <a:xfrm>
            <a:off x="2557791" y="568823"/>
            <a:ext cx="6696744" cy="307766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0070C0"/>
                </a:solidFill>
              </a:rPr>
              <a:t> </a:t>
            </a:r>
            <a:r>
              <a:rPr lang="ru-RU" sz="1400" dirty="0">
                <a:solidFill>
                  <a:srgbClr val="6666FF"/>
                </a:solidFill>
              </a:rPr>
              <a:t>3.2</a:t>
            </a:r>
            <a:r>
              <a:rPr lang="en-US" sz="1400" dirty="0">
                <a:solidFill>
                  <a:srgbClr val="6666FF"/>
                </a:solidFill>
              </a:rPr>
              <a:t> </a:t>
            </a:r>
            <a:r>
              <a:rPr lang="ru-RU" sz="1400" dirty="0">
                <a:solidFill>
                  <a:srgbClr val="6666FF"/>
                </a:solidFill>
              </a:rPr>
              <a:t>Атлас новых профессии</a:t>
            </a:r>
          </a:p>
        </p:txBody>
      </p:sp>
    </p:spTree>
    <p:extLst>
      <p:ext uri="{BB962C8B-B14F-4D97-AF65-F5344CB8AC3E}">
        <p14:creationId xmlns:p14="http://schemas.microsoft.com/office/powerpoint/2010/main" val="3476754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0" name="Freeform 2020"/>
          <p:cNvSpPr/>
          <p:nvPr/>
        </p:nvSpPr>
        <p:spPr>
          <a:xfrm flipV="1">
            <a:off x="0" y="237369"/>
            <a:ext cx="333299" cy="0"/>
          </a:xfrm>
          <a:custGeom>
            <a:avLst/>
            <a:gdLst/>
            <a:ahLst/>
            <a:cxnLst/>
            <a:rect l="0" t="0" r="0" b="0"/>
            <a:pathLst>
              <a:path w="169316400">
                <a:moveTo>
                  <a:pt x="0" y="0"/>
                </a:moveTo>
                <a:lnTo>
                  <a:pt x="1693164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2021" name="Picture 202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99269"/>
            <a:ext cx="371400" cy="76200"/>
          </a:xfrm>
          <a:prstGeom prst="rect">
            <a:avLst/>
          </a:prstGeom>
          <a:noFill/>
        </p:spPr>
      </p:pic>
      <p:sp>
        <p:nvSpPr>
          <p:cNvPr id="2022" name="Freeform 2022"/>
          <p:cNvSpPr/>
          <p:nvPr/>
        </p:nvSpPr>
        <p:spPr>
          <a:xfrm flipV="1">
            <a:off x="8810624" y="237369"/>
            <a:ext cx="333299" cy="0"/>
          </a:xfrm>
          <a:custGeom>
            <a:avLst/>
            <a:gdLst/>
            <a:ahLst/>
            <a:cxnLst/>
            <a:rect l="0" t="0" r="0" b="0"/>
            <a:pathLst>
              <a:path w="169316400">
                <a:moveTo>
                  <a:pt x="0" y="0"/>
                </a:moveTo>
                <a:lnTo>
                  <a:pt x="1693164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2023" name="Picture 202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72525" y="199269"/>
            <a:ext cx="371475" cy="76200"/>
          </a:xfrm>
          <a:prstGeom prst="rect">
            <a:avLst/>
          </a:prstGeom>
          <a:noFill/>
        </p:spPr>
      </p:pic>
      <p:sp>
        <p:nvSpPr>
          <p:cNvPr id="2024" name="Freeform 2024"/>
          <p:cNvSpPr/>
          <p:nvPr/>
        </p:nvSpPr>
        <p:spPr>
          <a:xfrm flipV="1">
            <a:off x="372299" y="129600"/>
            <a:ext cx="6167999" cy="215399"/>
          </a:xfrm>
          <a:custGeom>
            <a:avLst/>
            <a:gdLst/>
            <a:ahLst/>
            <a:cxnLst/>
            <a:rect l="0" t="0" r="0" b="0"/>
            <a:pathLst>
              <a:path w="6167999" h="215399">
                <a:moveTo>
                  <a:pt x="0" y="215399"/>
                </a:moveTo>
                <a:lnTo>
                  <a:pt x="6167999" y="215399"/>
                </a:lnTo>
                <a:lnTo>
                  <a:pt x="6167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26" name="Freeform 2026"/>
          <p:cNvSpPr/>
          <p:nvPr/>
        </p:nvSpPr>
        <p:spPr>
          <a:xfrm flipV="1">
            <a:off x="203999" y="2257200"/>
            <a:ext cx="2328599" cy="314699"/>
          </a:xfrm>
          <a:custGeom>
            <a:avLst/>
            <a:gdLst/>
            <a:ahLst/>
            <a:cxnLst/>
            <a:rect l="0" t="0" r="0" b="0"/>
            <a:pathLst>
              <a:path w="1182928800" h="159867600">
                <a:moveTo>
                  <a:pt x="0" y="159867600"/>
                </a:moveTo>
                <a:lnTo>
                  <a:pt x="1182928800" y="159867600"/>
                </a:lnTo>
                <a:lnTo>
                  <a:pt x="11829288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9900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27" name="Freeform 2027"/>
          <p:cNvSpPr/>
          <p:nvPr/>
        </p:nvSpPr>
        <p:spPr>
          <a:xfrm flipV="1">
            <a:off x="203999" y="2257200"/>
            <a:ext cx="2328599" cy="314699"/>
          </a:xfrm>
          <a:custGeom>
            <a:avLst/>
            <a:gdLst/>
            <a:ahLst/>
            <a:cxnLst/>
            <a:rect l="0" t="0" r="0" b="0"/>
            <a:pathLst>
              <a:path w="1182928800" h="159867600">
                <a:moveTo>
                  <a:pt x="0" y="159867600"/>
                </a:moveTo>
                <a:lnTo>
                  <a:pt x="1182928800" y="159867600"/>
                </a:lnTo>
                <a:lnTo>
                  <a:pt x="11829288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D3D2D9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28" name="Freeform 2028"/>
          <p:cNvSpPr/>
          <p:nvPr/>
        </p:nvSpPr>
        <p:spPr>
          <a:xfrm flipV="1">
            <a:off x="6813549" y="943825"/>
            <a:ext cx="2039999" cy="307199"/>
          </a:xfrm>
          <a:custGeom>
            <a:avLst/>
            <a:gdLst/>
            <a:ahLst/>
            <a:cxnLst/>
            <a:rect l="0" t="0" r="0" b="0"/>
            <a:pathLst>
              <a:path w="1036320000" h="156057600">
                <a:moveTo>
                  <a:pt x="0" y="156057600"/>
                </a:moveTo>
                <a:lnTo>
                  <a:pt x="1036320000" y="1560576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E8E8EC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29" name="Freeform 2029"/>
          <p:cNvSpPr/>
          <p:nvPr/>
        </p:nvSpPr>
        <p:spPr>
          <a:xfrm flipV="1">
            <a:off x="6813549" y="943825"/>
            <a:ext cx="2039999" cy="307199"/>
          </a:xfrm>
          <a:custGeom>
            <a:avLst/>
            <a:gdLst/>
            <a:ahLst/>
            <a:cxnLst/>
            <a:rect l="0" t="0" r="0" b="0"/>
            <a:pathLst>
              <a:path w="1036320000" h="156057600">
                <a:moveTo>
                  <a:pt x="0" y="156057600"/>
                </a:moveTo>
                <a:lnTo>
                  <a:pt x="1036320000" y="1560576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D3D2D9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0" name="Freeform 2030"/>
          <p:cNvSpPr/>
          <p:nvPr/>
        </p:nvSpPr>
        <p:spPr>
          <a:xfrm flipV="1">
            <a:off x="6799149" y="1888700"/>
            <a:ext cx="2039999" cy="215399"/>
          </a:xfrm>
          <a:custGeom>
            <a:avLst/>
            <a:gdLst/>
            <a:ahLst/>
            <a:cxnLst/>
            <a:rect l="0" t="0" r="0" b="0"/>
            <a:pathLst>
              <a:path w="1036320000" h="109423200">
                <a:moveTo>
                  <a:pt x="0" y="109423200"/>
                </a:moveTo>
                <a:lnTo>
                  <a:pt x="1036320000" y="1094232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E8E8EC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1" name="Freeform 2031"/>
          <p:cNvSpPr/>
          <p:nvPr/>
        </p:nvSpPr>
        <p:spPr>
          <a:xfrm flipV="1">
            <a:off x="6799149" y="1888700"/>
            <a:ext cx="2039999" cy="215399"/>
          </a:xfrm>
          <a:custGeom>
            <a:avLst/>
            <a:gdLst/>
            <a:ahLst/>
            <a:cxnLst/>
            <a:rect l="0" t="0" r="0" b="0"/>
            <a:pathLst>
              <a:path w="1036320000" h="109423200">
                <a:moveTo>
                  <a:pt x="0" y="109423200"/>
                </a:moveTo>
                <a:lnTo>
                  <a:pt x="1036320000" y="1094232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D3D2D9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2" name="Freeform 2032"/>
          <p:cNvSpPr/>
          <p:nvPr/>
        </p:nvSpPr>
        <p:spPr>
          <a:xfrm flipV="1">
            <a:off x="6799150" y="3746513"/>
            <a:ext cx="2039999" cy="335099"/>
          </a:xfrm>
          <a:custGeom>
            <a:avLst/>
            <a:gdLst/>
            <a:ahLst/>
            <a:cxnLst/>
            <a:rect l="0" t="0" r="0" b="0"/>
            <a:pathLst>
              <a:path w="1036320000" h="170230800">
                <a:moveTo>
                  <a:pt x="0" y="170230800"/>
                </a:moveTo>
                <a:lnTo>
                  <a:pt x="1036320000" y="1702308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FD8F9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3" name="Freeform 2033"/>
          <p:cNvSpPr/>
          <p:nvPr/>
        </p:nvSpPr>
        <p:spPr>
          <a:xfrm flipV="1">
            <a:off x="6799150" y="3746513"/>
            <a:ext cx="2039999" cy="335099"/>
          </a:xfrm>
          <a:custGeom>
            <a:avLst/>
            <a:gdLst/>
            <a:ahLst/>
            <a:cxnLst/>
            <a:rect l="0" t="0" r="0" b="0"/>
            <a:pathLst>
              <a:path w="1036320000" h="170230800">
                <a:moveTo>
                  <a:pt x="0" y="170230800"/>
                </a:moveTo>
                <a:lnTo>
                  <a:pt x="1036320000" y="1702308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4" name="Freeform 2034"/>
          <p:cNvSpPr/>
          <p:nvPr/>
        </p:nvSpPr>
        <p:spPr>
          <a:xfrm flipV="1">
            <a:off x="6799149" y="2981851"/>
            <a:ext cx="2039999" cy="259199"/>
          </a:xfrm>
          <a:custGeom>
            <a:avLst/>
            <a:gdLst/>
            <a:ahLst/>
            <a:cxnLst/>
            <a:rect l="0" t="0" r="0" b="0"/>
            <a:pathLst>
              <a:path w="1036320000" h="131673600">
                <a:moveTo>
                  <a:pt x="0" y="131673600"/>
                </a:moveTo>
                <a:lnTo>
                  <a:pt x="1036320000" y="1316736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FD8F9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5" name="Freeform 2035"/>
          <p:cNvSpPr/>
          <p:nvPr/>
        </p:nvSpPr>
        <p:spPr>
          <a:xfrm flipV="1">
            <a:off x="6799149" y="2981851"/>
            <a:ext cx="2039999" cy="259199"/>
          </a:xfrm>
          <a:custGeom>
            <a:avLst/>
            <a:gdLst/>
            <a:ahLst/>
            <a:cxnLst/>
            <a:rect l="0" t="0" r="0" b="0"/>
            <a:pathLst>
              <a:path w="1036320000" h="131673600">
                <a:moveTo>
                  <a:pt x="0" y="131673600"/>
                </a:moveTo>
                <a:lnTo>
                  <a:pt x="1036320000" y="1316736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6" name="Freeform 2036"/>
          <p:cNvSpPr/>
          <p:nvPr/>
        </p:nvSpPr>
        <p:spPr>
          <a:xfrm flipV="1">
            <a:off x="6813549" y="1559325"/>
            <a:ext cx="2039999" cy="259199"/>
          </a:xfrm>
          <a:custGeom>
            <a:avLst/>
            <a:gdLst/>
            <a:ahLst/>
            <a:cxnLst/>
            <a:rect l="0" t="0" r="0" b="0"/>
            <a:pathLst>
              <a:path w="1036320000" h="131673600">
                <a:moveTo>
                  <a:pt x="0" y="131673600"/>
                </a:moveTo>
                <a:lnTo>
                  <a:pt x="1036320000" y="1316736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EEFFA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7" name="Freeform 2037"/>
          <p:cNvSpPr/>
          <p:nvPr/>
        </p:nvSpPr>
        <p:spPr>
          <a:xfrm flipV="1">
            <a:off x="6813549" y="1559325"/>
            <a:ext cx="2039999" cy="259199"/>
          </a:xfrm>
          <a:custGeom>
            <a:avLst/>
            <a:gdLst/>
            <a:ahLst/>
            <a:cxnLst/>
            <a:rect l="0" t="0" r="0" b="0"/>
            <a:pathLst>
              <a:path w="1036320000" h="131673600">
                <a:moveTo>
                  <a:pt x="0" y="131673600"/>
                </a:moveTo>
                <a:lnTo>
                  <a:pt x="1036320000" y="1316736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9FE1F5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8" name="Freeform 2038"/>
          <p:cNvSpPr/>
          <p:nvPr/>
        </p:nvSpPr>
        <p:spPr>
          <a:xfrm flipV="1">
            <a:off x="6799149" y="3364202"/>
            <a:ext cx="2039999" cy="259199"/>
          </a:xfrm>
          <a:custGeom>
            <a:avLst/>
            <a:gdLst/>
            <a:ahLst/>
            <a:cxnLst/>
            <a:rect l="0" t="0" r="0" b="0"/>
            <a:pathLst>
              <a:path w="1036320000" h="131673600">
                <a:moveTo>
                  <a:pt x="0" y="131673600"/>
                </a:moveTo>
                <a:lnTo>
                  <a:pt x="1036320000" y="1316736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EEFFA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39" name="Freeform 2039"/>
          <p:cNvSpPr/>
          <p:nvPr/>
        </p:nvSpPr>
        <p:spPr>
          <a:xfrm flipV="1">
            <a:off x="6799149" y="3364202"/>
            <a:ext cx="2039999" cy="259199"/>
          </a:xfrm>
          <a:custGeom>
            <a:avLst/>
            <a:gdLst/>
            <a:ahLst/>
            <a:cxnLst/>
            <a:rect l="0" t="0" r="0" b="0"/>
            <a:pathLst>
              <a:path w="1036320000" h="131673600">
                <a:moveTo>
                  <a:pt x="0" y="131673600"/>
                </a:moveTo>
                <a:lnTo>
                  <a:pt x="1036320000" y="1316736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9FE1F5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40" name="Freeform 2040"/>
          <p:cNvSpPr/>
          <p:nvPr/>
        </p:nvSpPr>
        <p:spPr>
          <a:xfrm flipV="1">
            <a:off x="6813549" y="1253250"/>
            <a:ext cx="2039999" cy="215399"/>
          </a:xfrm>
          <a:custGeom>
            <a:avLst/>
            <a:gdLst/>
            <a:ahLst/>
            <a:cxnLst/>
            <a:rect l="0" t="0" r="0" b="0"/>
            <a:pathLst>
              <a:path w="1036320000" h="109423200">
                <a:moveTo>
                  <a:pt x="0" y="109423200"/>
                </a:moveTo>
                <a:lnTo>
                  <a:pt x="1036320000" y="1094232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C5C00">
              <a:alpha val="5059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41" name="Freeform 2041"/>
          <p:cNvSpPr/>
          <p:nvPr/>
        </p:nvSpPr>
        <p:spPr>
          <a:xfrm flipV="1">
            <a:off x="6813549" y="1253250"/>
            <a:ext cx="2039999" cy="215399"/>
          </a:xfrm>
          <a:custGeom>
            <a:avLst/>
            <a:gdLst/>
            <a:ahLst/>
            <a:cxnLst/>
            <a:rect l="0" t="0" r="0" b="0"/>
            <a:pathLst>
              <a:path w="1036320000" h="109423200">
                <a:moveTo>
                  <a:pt x="0" y="109423200"/>
                </a:moveTo>
                <a:lnTo>
                  <a:pt x="1036320000" y="1094232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FC5C0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42" name="Freeform 2042"/>
          <p:cNvSpPr/>
          <p:nvPr/>
        </p:nvSpPr>
        <p:spPr>
          <a:xfrm flipV="1">
            <a:off x="6799149" y="2175075"/>
            <a:ext cx="2039999" cy="215399"/>
          </a:xfrm>
          <a:custGeom>
            <a:avLst/>
            <a:gdLst/>
            <a:ahLst/>
            <a:cxnLst/>
            <a:rect l="0" t="0" r="0" b="0"/>
            <a:pathLst>
              <a:path w="1036320000" h="109423200">
                <a:moveTo>
                  <a:pt x="0" y="109423200"/>
                </a:moveTo>
                <a:lnTo>
                  <a:pt x="1036320000" y="1094232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C5C00">
              <a:alpha val="5059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43" name="Freeform 2043"/>
          <p:cNvSpPr/>
          <p:nvPr/>
        </p:nvSpPr>
        <p:spPr>
          <a:xfrm flipV="1">
            <a:off x="6799149" y="2175075"/>
            <a:ext cx="2039999" cy="215399"/>
          </a:xfrm>
          <a:custGeom>
            <a:avLst/>
            <a:gdLst/>
            <a:ahLst/>
            <a:cxnLst/>
            <a:rect l="0" t="0" r="0" b="0"/>
            <a:pathLst>
              <a:path w="1036320000" h="109423200">
                <a:moveTo>
                  <a:pt x="0" y="109423200"/>
                </a:moveTo>
                <a:lnTo>
                  <a:pt x="1036320000" y="1094232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FC5C0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2044" name="Picture 2044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0215" y="389440"/>
            <a:ext cx="5461625" cy="1360325"/>
          </a:xfrm>
          <a:prstGeom prst="rect">
            <a:avLst/>
          </a:prstGeom>
          <a:noFill/>
        </p:spPr>
      </p:pic>
      <p:sp>
        <p:nvSpPr>
          <p:cNvPr id="2045" name="Freeform 2045"/>
          <p:cNvSpPr/>
          <p:nvPr/>
        </p:nvSpPr>
        <p:spPr>
          <a:xfrm flipV="1">
            <a:off x="182174" y="431400"/>
            <a:ext cx="5198099" cy="1096799"/>
          </a:xfrm>
          <a:custGeom>
            <a:avLst/>
            <a:gdLst/>
            <a:ahLst/>
            <a:cxnLst/>
            <a:rect l="0" t="0" r="0" b="0"/>
            <a:pathLst>
              <a:path w="5198099" h="1096799">
                <a:moveTo>
                  <a:pt x="0" y="1096799"/>
                </a:moveTo>
                <a:lnTo>
                  <a:pt x="5198099" y="1096799"/>
                </a:lnTo>
                <a:lnTo>
                  <a:pt x="51980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46" name="Freeform 2046"/>
          <p:cNvSpPr/>
          <p:nvPr/>
        </p:nvSpPr>
        <p:spPr>
          <a:xfrm flipV="1">
            <a:off x="182174" y="431400"/>
            <a:ext cx="5198099" cy="1096799"/>
          </a:xfrm>
          <a:custGeom>
            <a:avLst/>
            <a:gdLst/>
            <a:ahLst/>
            <a:cxnLst/>
            <a:rect l="0" t="0" r="0" b="0"/>
            <a:pathLst>
              <a:path w="5198099" h="1096799">
                <a:moveTo>
                  <a:pt x="0" y="1096799"/>
                </a:moveTo>
                <a:lnTo>
                  <a:pt x="5198099" y="1096799"/>
                </a:lnTo>
                <a:lnTo>
                  <a:pt x="5198099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F2F2F2">
                <a:alpha val="9804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47" name="Freeform 2047"/>
          <p:cNvSpPr/>
          <p:nvPr/>
        </p:nvSpPr>
        <p:spPr>
          <a:xfrm flipV="1">
            <a:off x="181949" y="475400"/>
            <a:ext cx="5198099" cy="1052699"/>
          </a:xfrm>
          <a:custGeom>
            <a:avLst/>
            <a:gdLst/>
            <a:ahLst/>
            <a:cxnLst/>
            <a:rect l="0" t="0" r="0" b="0"/>
            <a:pathLst>
              <a:path w="5198099" h="1052699">
                <a:moveTo>
                  <a:pt x="0" y="1052699"/>
                </a:moveTo>
                <a:lnTo>
                  <a:pt x="5198099" y="1052699"/>
                </a:lnTo>
                <a:lnTo>
                  <a:pt x="51980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48" name="Freeform 2048"/>
          <p:cNvSpPr/>
          <p:nvPr/>
        </p:nvSpPr>
        <p:spPr>
          <a:xfrm flipV="1">
            <a:off x="179349" y="1563850"/>
            <a:ext cx="0" cy="3450599"/>
          </a:xfrm>
          <a:custGeom>
            <a:avLst/>
            <a:gdLst/>
            <a:ahLst/>
            <a:cxnLst/>
            <a:rect l="0" t="0" r="0" b="0"/>
            <a:pathLst>
              <a:path h="1752904800">
                <a:moveTo>
                  <a:pt x="0" y="1752904800"/>
                </a:moveTo>
                <a:lnTo>
                  <a:pt x="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49" name="Freeform 2049"/>
          <p:cNvSpPr/>
          <p:nvPr/>
        </p:nvSpPr>
        <p:spPr>
          <a:xfrm flipV="1">
            <a:off x="179349" y="1563850"/>
            <a:ext cx="0" cy="3450599"/>
          </a:xfrm>
          <a:custGeom>
            <a:avLst/>
            <a:gdLst/>
            <a:ahLst/>
            <a:cxnLst/>
            <a:rect l="0" t="0" r="0" b="0"/>
            <a:pathLst>
              <a:path h="1752904800">
                <a:moveTo>
                  <a:pt x="0" y="1752904800"/>
                </a:moveTo>
                <a:lnTo>
                  <a:pt x="0" y="0"/>
                </a:lnTo>
              </a:path>
            </a:pathLst>
          </a:custGeom>
          <a:noFill/>
          <a:ln w="15874" cap="flat" cmpd="sng">
            <a:solidFill>
              <a:srgbClr val="19B4E4">
                <a:alpha val="100000"/>
              </a:srgbClr>
            </a:solidFill>
            <a:custDash>
              <a:ds d="1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50" name="Freeform 2050"/>
          <p:cNvSpPr/>
          <p:nvPr/>
        </p:nvSpPr>
        <p:spPr>
          <a:xfrm flipV="1">
            <a:off x="166424" y="5000025"/>
            <a:ext cx="5229599" cy="28799"/>
          </a:xfrm>
          <a:custGeom>
            <a:avLst/>
            <a:gdLst/>
            <a:ahLst/>
            <a:cxnLst/>
            <a:rect l="0" t="0" r="0" b="0"/>
            <a:pathLst>
              <a:path w="5229599" h="28799">
                <a:moveTo>
                  <a:pt x="5229599" y="28799"/>
                </a:moveTo>
                <a:lnTo>
                  <a:pt x="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51" name="Freeform 2051"/>
          <p:cNvSpPr/>
          <p:nvPr/>
        </p:nvSpPr>
        <p:spPr>
          <a:xfrm flipV="1">
            <a:off x="166424" y="5000025"/>
            <a:ext cx="5229599" cy="28799"/>
          </a:xfrm>
          <a:custGeom>
            <a:avLst/>
            <a:gdLst/>
            <a:ahLst/>
            <a:cxnLst/>
            <a:rect l="0" t="0" r="0" b="0"/>
            <a:pathLst>
              <a:path w="5229599" h="28799">
                <a:moveTo>
                  <a:pt x="5229599" y="28799"/>
                </a:moveTo>
                <a:lnTo>
                  <a:pt x="0" y="0"/>
                </a:lnTo>
              </a:path>
            </a:pathLst>
          </a:custGeom>
          <a:noFill/>
          <a:ln w="15874" cap="flat" cmpd="sng">
            <a:solidFill>
              <a:srgbClr val="19B4E4">
                <a:alpha val="100000"/>
              </a:srgbClr>
            </a:solidFill>
            <a:custDash>
              <a:ds d="1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52" name="Freeform 2052"/>
          <p:cNvSpPr/>
          <p:nvPr/>
        </p:nvSpPr>
        <p:spPr>
          <a:xfrm flipV="1">
            <a:off x="5380224" y="1585375"/>
            <a:ext cx="28799" cy="3414599"/>
          </a:xfrm>
          <a:custGeom>
            <a:avLst/>
            <a:gdLst/>
            <a:ahLst/>
            <a:cxnLst/>
            <a:rect l="0" t="0" r="0" b="0"/>
            <a:pathLst>
              <a:path w="14630400" h="1734616800">
                <a:moveTo>
                  <a:pt x="0" y="1734616800"/>
                </a:moveTo>
                <a:lnTo>
                  <a:pt x="146304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53" name="Freeform 2053"/>
          <p:cNvSpPr/>
          <p:nvPr/>
        </p:nvSpPr>
        <p:spPr>
          <a:xfrm flipV="1">
            <a:off x="5380224" y="1585375"/>
            <a:ext cx="28799" cy="3414599"/>
          </a:xfrm>
          <a:custGeom>
            <a:avLst/>
            <a:gdLst/>
            <a:ahLst/>
            <a:cxnLst/>
            <a:rect l="0" t="0" r="0" b="0"/>
            <a:pathLst>
              <a:path w="14630400" h="1734616800">
                <a:moveTo>
                  <a:pt x="0" y="1734616800"/>
                </a:moveTo>
                <a:lnTo>
                  <a:pt x="14630400" y="0"/>
                </a:lnTo>
              </a:path>
            </a:pathLst>
          </a:custGeom>
          <a:noFill/>
          <a:ln w="15874" cap="flat" cmpd="sng">
            <a:solidFill>
              <a:srgbClr val="19B4E4">
                <a:alpha val="100000"/>
              </a:srgbClr>
            </a:solidFill>
            <a:custDash>
              <a:ds d="1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54" name="Freeform 2054"/>
          <p:cNvSpPr/>
          <p:nvPr/>
        </p:nvSpPr>
        <p:spPr>
          <a:xfrm flipV="1">
            <a:off x="2568763" y="1559313"/>
            <a:ext cx="35399" cy="3469499"/>
          </a:xfrm>
          <a:custGeom>
            <a:avLst/>
            <a:gdLst/>
            <a:ahLst/>
            <a:cxnLst/>
            <a:rect l="0" t="0" r="0" b="0"/>
            <a:pathLst>
              <a:path w="17983200" h="1762505950">
                <a:moveTo>
                  <a:pt x="0" y="1762505950"/>
                </a:moveTo>
                <a:lnTo>
                  <a:pt x="179832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55" name="Freeform 2055"/>
          <p:cNvSpPr/>
          <p:nvPr/>
        </p:nvSpPr>
        <p:spPr>
          <a:xfrm flipV="1">
            <a:off x="2568763" y="1559313"/>
            <a:ext cx="35399" cy="3469499"/>
          </a:xfrm>
          <a:custGeom>
            <a:avLst/>
            <a:gdLst/>
            <a:ahLst/>
            <a:cxnLst/>
            <a:rect l="0" t="0" r="0" b="0"/>
            <a:pathLst>
              <a:path w="17983200" h="1762505950">
                <a:moveTo>
                  <a:pt x="0" y="1762505950"/>
                </a:moveTo>
                <a:lnTo>
                  <a:pt x="17983200" y="0"/>
                </a:lnTo>
              </a:path>
            </a:pathLst>
          </a:custGeom>
          <a:noFill/>
          <a:ln w="15874" cap="flat" cmpd="sng">
            <a:solidFill>
              <a:srgbClr val="19B4E4">
                <a:alpha val="100000"/>
              </a:srgbClr>
            </a:solidFill>
            <a:custDash>
              <a:ds d="1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56" name="Freeform 2056"/>
          <p:cNvSpPr/>
          <p:nvPr/>
        </p:nvSpPr>
        <p:spPr>
          <a:xfrm flipV="1">
            <a:off x="209774" y="2819050"/>
            <a:ext cx="2328599" cy="1646699"/>
          </a:xfrm>
          <a:custGeom>
            <a:avLst/>
            <a:gdLst/>
            <a:ahLst/>
            <a:cxnLst/>
            <a:rect l="0" t="0" r="0" b="0"/>
            <a:pathLst>
              <a:path w="1182928800" h="836523600">
                <a:moveTo>
                  <a:pt x="0" y="836523600"/>
                </a:moveTo>
                <a:lnTo>
                  <a:pt x="1182928800" y="836523600"/>
                </a:lnTo>
                <a:lnTo>
                  <a:pt x="11829288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57" name="Freeform 2057"/>
          <p:cNvSpPr/>
          <p:nvPr/>
        </p:nvSpPr>
        <p:spPr>
          <a:xfrm flipV="1">
            <a:off x="209774" y="2819050"/>
            <a:ext cx="2328599" cy="1646699"/>
          </a:xfrm>
          <a:custGeom>
            <a:avLst/>
            <a:gdLst/>
            <a:ahLst/>
            <a:cxnLst/>
            <a:rect l="0" t="0" r="0" b="0"/>
            <a:pathLst>
              <a:path w="1182928800" h="836523600">
                <a:moveTo>
                  <a:pt x="0" y="836523600"/>
                </a:moveTo>
                <a:lnTo>
                  <a:pt x="1182928800" y="836523600"/>
                </a:lnTo>
                <a:lnTo>
                  <a:pt x="11829288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00B0F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58" name="Freeform 2058"/>
          <p:cNvSpPr/>
          <p:nvPr/>
        </p:nvSpPr>
        <p:spPr>
          <a:xfrm flipV="1">
            <a:off x="3156837" y="1614550"/>
            <a:ext cx="598905" cy="618874"/>
          </a:xfrm>
          <a:custGeom>
            <a:avLst/>
            <a:gdLst/>
            <a:ahLst/>
            <a:cxnLst/>
            <a:rect l="0" t="0" r="0" b="0"/>
            <a:pathLst>
              <a:path w="304243779" h="314388301">
                <a:moveTo>
                  <a:pt x="0" y="314388301"/>
                </a:moveTo>
                <a:lnTo>
                  <a:pt x="304243779" y="314388301"/>
                </a:lnTo>
                <a:lnTo>
                  <a:pt x="30424377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2059" name="Picture 1477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156837" y="1614550"/>
            <a:ext cx="598905" cy="618874"/>
          </a:xfrm>
          <a:prstGeom prst="rect">
            <a:avLst/>
          </a:prstGeom>
          <a:noFill/>
        </p:spPr>
      </p:pic>
      <p:sp>
        <p:nvSpPr>
          <p:cNvPr id="2060" name="Freeform 2060"/>
          <p:cNvSpPr/>
          <p:nvPr/>
        </p:nvSpPr>
        <p:spPr>
          <a:xfrm flipV="1">
            <a:off x="2622649" y="2257100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E8E8EC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61" name="Freeform 2061"/>
          <p:cNvSpPr/>
          <p:nvPr/>
        </p:nvSpPr>
        <p:spPr>
          <a:xfrm flipV="1">
            <a:off x="2622649" y="2257100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D3D2D9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62" name="Freeform 2062"/>
          <p:cNvSpPr/>
          <p:nvPr/>
        </p:nvSpPr>
        <p:spPr>
          <a:xfrm flipV="1">
            <a:off x="2615824" y="2820425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FD8F9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63" name="Freeform 2063"/>
          <p:cNvSpPr/>
          <p:nvPr/>
        </p:nvSpPr>
        <p:spPr>
          <a:xfrm flipV="1">
            <a:off x="2615824" y="2820425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64" name="Freeform 2064"/>
          <p:cNvSpPr/>
          <p:nvPr/>
        </p:nvSpPr>
        <p:spPr>
          <a:xfrm flipV="1">
            <a:off x="2615824" y="3093550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FD8F9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65" name="Freeform 2065"/>
          <p:cNvSpPr/>
          <p:nvPr/>
        </p:nvSpPr>
        <p:spPr>
          <a:xfrm flipV="1">
            <a:off x="2615824" y="3093550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66" name="Freeform 2066"/>
          <p:cNvSpPr/>
          <p:nvPr/>
        </p:nvSpPr>
        <p:spPr>
          <a:xfrm flipV="1">
            <a:off x="2622649" y="2538775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E8E8EC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67" name="Freeform 2067"/>
          <p:cNvSpPr/>
          <p:nvPr/>
        </p:nvSpPr>
        <p:spPr>
          <a:xfrm flipV="1">
            <a:off x="2622649" y="2538775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D3D2D9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68" name="Freeform 2068"/>
          <p:cNvSpPr/>
          <p:nvPr/>
        </p:nvSpPr>
        <p:spPr>
          <a:xfrm flipV="1">
            <a:off x="2615824" y="3366675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EEFFA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69" name="Freeform 2069"/>
          <p:cNvSpPr/>
          <p:nvPr/>
        </p:nvSpPr>
        <p:spPr>
          <a:xfrm flipV="1">
            <a:off x="2615824" y="3366675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9FE1F5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0" name="Freeform 2070"/>
          <p:cNvSpPr/>
          <p:nvPr/>
        </p:nvSpPr>
        <p:spPr>
          <a:xfrm flipV="1">
            <a:off x="2622649" y="3639800"/>
            <a:ext cx="2628299" cy="156299"/>
          </a:xfrm>
          <a:custGeom>
            <a:avLst/>
            <a:gdLst/>
            <a:ahLst/>
            <a:cxnLst/>
            <a:rect l="0" t="0" r="0" b="0"/>
            <a:pathLst>
              <a:path w="1335176400" h="79400400">
                <a:moveTo>
                  <a:pt x="0" y="79400400"/>
                </a:moveTo>
                <a:lnTo>
                  <a:pt x="1335176400" y="794004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EEFFA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1" name="Freeform 2071"/>
          <p:cNvSpPr/>
          <p:nvPr/>
        </p:nvSpPr>
        <p:spPr>
          <a:xfrm flipV="1">
            <a:off x="2622649" y="3639800"/>
            <a:ext cx="2628299" cy="156299"/>
          </a:xfrm>
          <a:custGeom>
            <a:avLst/>
            <a:gdLst/>
            <a:ahLst/>
            <a:cxnLst/>
            <a:rect l="0" t="0" r="0" b="0"/>
            <a:pathLst>
              <a:path w="1335176400" h="79400400">
                <a:moveTo>
                  <a:pt x="0" y="79400400"/>
                </a:moveTo>
                <a:lnTo>
                  <a:pt x="1335176400" y="794004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9FE1F5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2" name="Freeform 2072"/>
          <p:cNvSpPr/>
          <p:nvPr/>
        </p:nvSpPr>
        <p:spPr>
          <a:xfrm flipV="1">
            <a:off x="2622649" y="3853825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C5C00">
              <a:alpha val="5059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3" name="Freeform 2073"/>
          <p:cNvSpPr/>
          <p:nvPr/>
        </p:nvSpPr>
        <p:spPr>
          <a:xfrm flipV="1">
            <a:off x="2622649" y="3853825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FC5C0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4" name="Freeform 2074"/>
          <p:cNvSpPr/>
          <p:nvPr/>
        </p:nvSpPr>
        <p:spPr>
          <a:xfrm flipV="1">
            <a:off x="2622649" y="4126950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C5C00">
              <a:alpha val="5059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5" name="Freeform 2075"/>
          <p:cNvSpPr/>
          <p:nvPr/>
        </p:nvSpPr>
        <p:spPr>
          <a:xfrm flipV="1">
            <a:off x="2622649" y="4126950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FC5C0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6" name="Freeform 2076"/>
          <p:cNvSpPr/>
          <p:nvPr/>
        </p:nvSpPr>
        <p:spPr>
          <a:xfrm flipV="1">
            <a:off x="2622649" y="4524372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7" name="Freeform 2077"/>
          <p:cNvSpPr/>
          <p:nvPr/>
        </p:nvSpPr>
        <p:spPr>
          <a:xfrm flipV="1">
            <a:off x="2622649" y="4524372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19B3E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8" name="Freeform 2078"/>
          <p:cNvSpPr/>
          <p:nvPr/>
        </p:nvSpPr>
        <p:spPr>
          <a:xfrm flipV="1">
            <a:off x="2622649" y="4799050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79" name="Freeform 2079"/>
          <p:cNvSpPr/>
          <p:nvPr/>
        </p:nvSpPr>
        <p:spPr>
          <a:xfrm flipV="1">
            <a:off x="2622649" y="4799050"/>
            <a:ext cx="2628299" cy="215399"/>
          </a:xfrm>
          <a:custGeom>
            <a:avLst/>
            <a:gdLst/>
            <a:ahLst/>
            <a:cxnLst/>
            <a:rect l="0" t="0" r="0" b="0"/>
            <a:pathLst>
              <a:path w="1335176400" h="109423200">
                <a:moveTo>
                  <a:pt x="0" y="109423200"/>
                </a:moveTo>
                <a:lnTo>
                  <a:pt x="1335176400" y="109423200"/>
                </a:lnTo>
                <a:lnTo>
                  <a:pt x="13351764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19B3E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0" name="Freeform 2080"/>
          <p:cNvSpPr/>
          <p:nvPr/>
        </p:nvSpPr>
        <p:spPr>
          <a:xfrm flipV="1">
            <a:off x="5669949" y="367238"/>
            <a:ext cx="3183599" cy="554399"/>
          </a:xfrm>
          <a:custGeom>
            <a:avLst/>
            <a:gdLst/>
            <a:ahLst/>
            <a:cxnLst/>
            <a:rect l="0" t="0" r="0" b="0"/>
            <a:pathLst>
              <a:path w="1617268800" h="281635200">
                <a:moveTo>
                  <a:pt x="0" y="281635200"/>
                </a:moveTo>
                <a:lnTo>
                  <a:pt x="1617268800" y="281635200"/>
                </a:lnTo>
                <a:lnTo>
                  <a:pt x="16172688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1" name="Freeform 2081"/>
          <p:cNvSpPr/>
          <p:nvPr/>
        </p:nvSpPr>
        <p:spPr>
          <a:xfrm flipV="1">
            <a:off x="5669999" y="943850"/>
            <a:ext cx="1129199" cy="528299"/>
          </a:xfrm>
          <a:custGeom>
            <a:avLst/>
            <a:gdLst/>
            <a:ahLst/>
            <a:cxnLst/>
            <a:rect l="0" t="0" r="0" b="0"/>
            <a:pathLst>
              <a:path w="573633600" h="268376400">
                <a:moveTo>
                  <a:pt x="0" y="268376400"/>
                </a:moveTo>
                <a:lnTo>
                  <a:pt x="573633600" y="2683764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2" name="Freeform 2082"/>
          <p:cNvSpPr/>
          <p:nvPr/>
        </p:nvSpPr>
        <p:spPr>
          <a:xfrm flipV="1">
            <a:off x="5669999" y="943850"/>
            <a:ext cx="1129199" cy="528299"/>
          </a:xfrm>
          <a:custGeom>
            <a:avLst/>
            <a:gdLst/>
            <a:ahLst/>
            <a:cxnLst/>
            <a:rect l="0" t="0" r="0" b="0"/>
            <a:pathLst>
              <a:path w="573633600" h="268376400">
                <a:moveTo>
                  <a:pt x="0" y="268376400"/>
                </a:moveTo>
                <a:lnTo>
                  <a:pt x="573633600" y="2683764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3" name="Freeform 2083"/>
          <p:cNvSpPr/>
          <p:nvPr/>
        </p:nvSpPr>
        <p:spPr>
          <a:xfrm flipV="1">
            <a:off x="5669949" y="1559325"/>
            <a:ext cx="1129199" cy="830999"/>
          </a:xfrm>
          <a:custGeom>
            <a:avLst/>
            <a:gdLst/>
            <a:ahLst/>
            <a:cxnLst/>
            <a:rect l="0" t="0" r="0" b="0"/>
            <a:pathLst>
              <a:path w="573633600" h="422148000">
                <a:moveTo>
                  <a:pt x="0" y="422148000"/>
                </a:moveTo>
                <a:lnTo>
                  <a:pt x="573633600" y="4221480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4" name="Freeform 2084"/>
          <p:cNvSpPr/>
          <p:nvPr/>
        </p:nvSpPr>
        <p:spPr>
          <a:xfrm flipV="1">
            <a:off x="5669949" y="1559325"/>
            <a:ext cx="1129199" cy="830999"/>
          </a:xfrm>
          <a:custGeom>
            <a:avLst/>
            <a:gdLst/>
            <a:ahLst/>
            <a:cxnLst/>
            <a:rect l="0" t="0" r="0" b="0"/>
            <a:pathLst>
              <a:path w="573633600" h="422148000">
                <a:moveTo>
                  <a:pt x="0" y="422148000"/>
                </a:moveTo>
                <a:lnTo>
                  <a:pt x="573633600" y="4221480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5" name="Freeform 2085"/>
          <p:cNvSpPr/>
          <p:nvPr/>
        </p:nvSpPr>
        <p:spPr>
          <a:xfrm flipV="1">
            <a:off x="6799149" y="2481850"/>
            <a:ext cx="2039999" cy="413399"/>
          </a:xfrm>
          <a:custGeom>
            <a:avLst/>
            <a:gdLst/>
            <a:ahLst/>
            <a:cxnLst/>
            <a:rect l="0" t="0" r="0" b="0"/>
            <a:pathLst>
              <a:path w="1036320000" h="210007200">
                <a:moveTo>
                  <a:pt x="0" y="210007200"/>
                </a:moveTo>
                <a:lnTo>
                  <a:pt x="1036320000" y="2100072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FE2F3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6" name="Freeform 2086"/>
          <p:cNvSpPr/>
          <p:nvPr/>
        </p:nvSpPr>
        <p:spPr>
          <a:xfrm flipV="1">
            <a:off x="6799149" y="2481850"/>
            <a:ext cx="2039999" cy="413399"/>
          </a:xfrm>
          <a:custGeom>
            <a:avLst/>
            <a:gdLst/>
            <a:ahLst/>
            <a:cxnLst/>
            <a:rect l="0" t="0" r="0" b="0"/>
            <a:pathLst>
              <a:path w="1036320000" h="210007200">
                <a:moveTo>
                  <a:pt x="0" y="210007200"/>
                </a:moveTo>
                <a:lnTo>
                  <a:pt x="1036320000" y="2100072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FC5C0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7" name="Freeform 2087"/>
          <p:cNvSpPr/>
          <p:nvPr/>
        </p:nvSpPr>
        <p:spPr>
          <a:xfrm flipV="1">
            <a:off x="5669949" y="2480875"/>
            <a:ext cx="1129199" cy="413399"/>
          </a:xfrm>
          <a:custGeom>
            <a:avLst/>
            <a:gdLst/>
            <a:ahLst/>
            <a:cxnLst/>
            <a:rect l="0" t="0" r="0" b="0"/>
            <a:pathLst>
              <a:path w="573633600" h="210007200">
                <a:moveTo>
                  <a:pt x="0" y="210007200"/>
                </a:moveTo>
                <a:lnTo>
                  <a:pt x="573633600" y="2100072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8" name="Freeform 2088"/>
          <p:cNvSpPr/>
          <p:nvPr/>
        </p:nvSpPr>
        <p:spPr>
          <a:xfrm flipV="1">
            <a:off x="5669949" y="2480875"/>
            <a:ext cx="1129199" cy="413399"/>
          </a:xfrm>
          <a:custGeom>
            <a:avLst/>
            <a:gdLst/>
            <a:ahLst/>
            <a:cxnLst/>
            <a:rect l="0" t="0" r="0" b="0"/>
            <a:pathLst>
              <a:path w="573633600" h="210007200">
                <a:moveTo>
                  <a:pt x="0" y="210007200"/>
                </a:moveTo>
                <a:lnTo>
                  <a:pt x="573633600" y="2100072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89" name="Freeform 2089"/>
          <p:cNvSpPr/>
          <p:nvPr/>
        </p:nvSpPr>
        <p:spPr>
          <a:xfrm flipV="1">
            <a:off x="5669949" y="2984825"/>
            <a:ext cx="1129199" cy="1096799"/>
          </a:xfrm>
          <a:custGeom>
            <a:avLst/>
            <a:gdLst/>
            <a:ahLst/>
            <a:cxnLst/>
            <a:rect l="0" t="0" r="0" b="0"/>
            <a:pathLst>
              <a:path w="573633600" h="557174400">
                <a:moveTo>
                  <a:pt x="0" y="557174400"/>
                </a:moveTo>
                <a:lnTo>
                  <a:pt x="573633600" y="5571744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90" name="Freeform 2090"/>
          <p:cNvSpPr/>
          <p:nvPr/>
        </p:nvSpPr>
        <p:spPr>
          <a:xfrm flipV="1">
            <a:off x="5669949" y="2984825"/>
            <a:ext cx="1129199" cy="1096799"/>
          </a:xfrm>
          <a:custGeom>
            <a:avLst/>
            <a:gdLst/>
            <a:ahLst/>
            <a:cxnLst/>
            <a:rect l="0" t="0" r="0" b="0"/>
            <a:pathLst>
              <a:path w="573633600" h="557174400">
                <a:moveTo>
                  <a:pt x="0" y="557174400"/>
                </a:moveTo>
                <a:lnTo>
                  <a:pt x="573633600" y="5571744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91" name="Freeform 2091"/>
          <p:cNvSpPr/>
          <p:nvPr/>
        </p:nvSpPr>
        <p:spPr>
          <a:xfrm flipV="1">
            <a:off x="5669999" y="4184000"/>
            <a:ext cx="1129199" cy="780299"/>
          </a:xfrm>
          <a:custGeom>
            <a:avLst/>
            <a:gdLst/>
            <a:ahLst/>
            <a:cxnLst/>
            <a:rect l="0" t="0" r="0" b="0"/>
            <a:pathLst>
              <a:path w="573633600" h="396392400">
                <a:moveTo>
                  <a:pt x="0" y="396392400"/>
                </a:moveTo>
                <a:lnTo>
                  <a:pt x="573633600" y="3963924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92" name="Freeform 2092"/>
          <p:cNvSpPr/>
          <p:nvPr/>
        </p:nvSpPr>
        <p:spPr>
          <a:xfrm flipV="1">
            <a:off x="5669999" y="4184000"/>
            <a:ext cx="1129199" cy="780299"/>
          </a:xfrm>
          <a:custGeom>
            <a:avLst/>
            <a:gdLst/>
            <a:ahLst/>
            <a:cxnLst/>
            <a:rect l="0" t="0" r="0" b="0"/>
            <a:pathLst>
              <a:path w="573633600" h="396392400">
                <a:moveTo>
                  <a:pt x="0" y="396392400"/>
                </a:moveTo>
                <a:lnTo>
                  <a:pt x="573633600" y="3963924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93" name="Freeform 2093"/>
          <p:cNvSpPr/>
          <p:nvPr/>
        </p:nvSpPr>
        <p:spPr>
          <a:xfrm flipV="1">
            <a:off x="6799149" y="4184000"/>
            <a:ext cx="2039999" cy="780299"/>
          </a:xfrm>
          <a:custGeom>
            <a:avLst/>
            <a:gdLst/>
            <a:ahLst/>
            <a:cxnLst/>
            <a:rect l="0" t="0" r="0" b="0"/>
            <a:pathLst>
              <a:path w="1036320000" h="396392400">
                <a:moveTo>
                  <a:pt x="0" y="396392400"/>
                </a:moveTo>
                <a:lnTo>
                  <a:pt x="1036320000" y="3963924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CFD8F9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94" name="Freeform 2094"/>
          <p:cNvSpPr/>
          <p:nvPr/>
        </p:nvSpPr>
        <p:spPr>
          <a:xfrm flipV="1">
            <a:off x="6799149" y="4184000"/>
            <a:ext cx="2039999" cy="780299"/>
          </a:xfrm>
          <a:custGeom>
            <a:avLst/>
            <a:gdLst/>
            <a:ahLst/>
            <a:cxnLst/>
            <a:rect l="0" t="0" r="0" b="0"/>
            <a:pathLst>
              <a:path w="1036320000" h="396392400">
                <a:moveTo>
                  <a:pt x="0" y="396392400"/>
                </a:moveTo>
                <a:lnTo>
                  <a:pt x="1036320000" y="396392400"/>
                </a:lnTo>
                <a:lnTo>
                  <a:pt x="10363200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A2B3F3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95" name="Freeform 2095"/>
          <p:cNvSpPr/>
          <p:nvPr/>
        </p:nvSpPr>
        <p:spPr>
          <a:xfrm flipV="1">
            <a:off x="3427599" y="4326438"/>
            <a:ext cx="1129199" cy="215399"/>
          </a:xfrm>
          <a:custGeom>
            <a:avLst/>
            <a:gdLst/>
            <a:ahLst/>
            <a:cxnLst/>
            <a:rect l="0" t="0" r="0" b="0"/>
            <a:pathLst>
              <a:path w="573633600" h="109423200">
                <a:moveTo>
                  <a:pt x="0" y="109423200"/>
                </a:moveTo>
                <a:lnTo>
                  <a:pt x="573633600" y="109423200"/>
                </a:lnTo>
                <a:lnTo>
                  <a:pt x="573633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96" name="Freeform 2096"/>
          <p:cNvSpPr/>
          <p:nvPr/>
        </p:nvSpPr>
        <p:spPr>
          <a:xfrm flipV="1">
            <a:off x="809462" y="2566189"/>
            <a:ext cx="1129199" cy="215399"/>
          </a:xfrm>
          <a:custGeom>
            <a:avLst/>
            <a:gdLst/>
            <a:ahLst/>
            <a:cxnLst/>
            <a:rect l="0" t="0" r="0" b="0"/>
            <a:pathLst>
              <a:path w="573633550" h="109423200">
                <a:moveTo>
                  <a:pt x="0" y="109423200"/>
                </a:moveTo>
                <a:lnTo>
                  <a:pt x="573633550" y="109423200"/>
                </a:lnTo>
                <a:lnTo>
                  <a:pt x="57363355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097" name="Freeform 2097"/>
          <p:cNvSpPr/>
          <p:nvPr/>
        </p:nvSpPr>
        <p:spPr>
          <a:xfrm flipV="1">
            <a:off x="4000962" y="1591571"/>
            <a:ext cx="1063275" cy="602052"/>
          </a:xfrm>
          <a:custGeom>
            <a:avLst/>
            <a:gdLst/>
            <a:ahLst/>
            <a:cxnLst/>
            <a:rect l="0" t="0" r="0" b="0"/>
            <a:pathLst>
              <a:path w="540144096" h="305842789">
                <a:moveTo>
                  <a:pt x="0" y="305842789"/>
                </a:moveTo>
                <a:lnTo>
                  <a:pt x="540144096" y="305842789"/>
                </a:lnTo>
                <a:lnTo>
                  <a:pt x="540144096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2098" name="Picture 2098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00962" y="1591571"/>
            <a:ext cx="1063275" cy="602052"/>
          </a:xfrm>
          <a:prstGeom prst="rect">
            <a:avLst/>
          </a:prstGeom>
          <a:noFill/>
        </p:spPr>
      </p:pic>
      <p:sp>
        <p:nvSpPr>
          <p:cNvPr id="2099" name="Freeform 2099"/>
          <p:cNvSpPr/>
          <p:nvPr/>
        </p:nvSpPr>
        <p:spPr>
          <a:xfrm flipV="1">
            <a:off x="209773" y="1583265"/>
            <a:ext cx="1063275" cy="618859"/>
          </a:xfrm>
          <a:custGeom>
            <a:avLst/>
            <a:gdLst/>
            <a:ahLst/>
            <a:cxnLst/>
            <a:rect l="0" t="0" r="0" b="0"/>
            <a:pathLst>
              <a:path w="540143973" h="314380662">
                <a:moveTo>
                  <a:pt x="0" y="314380662"/>
                </a:moveTo>
                <a:lnTo>
                  <a:pt x="540143973" y="314380662"/>
                </a:lnTo>
                <a:lnTo>
                  <a:pt x="540143973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2100" name="Picture 2100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9773" y="1583265"/>
            <a:ext cx="1063275" cy="618859"/>
          </a:xfrm>
          <a:prstGeom prst="rect">
            <a:avLst/>
          </a:prstGeom>
          <a:noFill/>
        </p:spPr>
      </p:pic>
      <p:sp>
        <p:nvSpPr>
          <p:cNvPr id="2101" name="Freeform 2101"/>
          <p:cNvSpPr/>
          <p:nvPr/>
        </p:nvSpPr>
        <p:spPr>
          <a:xfrm flipV="1">
            <a:off x="1081749" y="1717175"/>
            <a:ext cx="1487025" cy="413402"/>
          </a:xfrm>
          <a:custGeom>
            <a:avLst/>
            <a:gdLst/>
            <a:ahLst/>
            <a:cxnLst/>
            <a:rect l="0" t="0" r="0" b="0"/>
            <a:pathLst>
              <a:path w="755408997" h="210008589">
                <a:moveTo>
                  <a:pt x="0" y="210008589"/>
                </a:moveTo>
                <a:lnTo>
                  <a:pt x="755408997" y="210008589"/>
                </a:lnTo>
                <a:lnTo>
                  <a:pt x="755408997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2102" name="Picture 2102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69050" y="1704476"/>
            <a:ext cx="1512425" cy="438802"/>
          </a:xfrm>
          <a:prstGeom prst="rect">
            <a:avLst/>
          </a:prstGeom>
          <a:noFill/>
        </p:spPr>
      </p:pic>
      <p:sp>
        <p:nvSpPr>
          <p:cNvPr id="2103" name="Rectangle 2103"/>
          <p:cNvSpPr/>
          <p:nvPr/>
        </p:nvSpPr>
        <p:spPr>
          <a:xfrm>
            <a:off x="372299" y="131886"/>
            <a:ext cx="8339941" cy="274320"/>
          </a:xfrm>
          <a:prstGeom prst="rect">
            <a:avLst/>
          </a:prstGeom>
        </p:spPr>
      </p:sp>
      <p:sp>
        <p:nvSpPr>
          <p:cNvPr id="2104" name="Freeform 2104"/>
          <p:cNvSpPr/>
          <p:nvPr/>
        </p:nvSpPr>
        <p:spPr>
          <a:xfrm>
            <a:off x="382861" y="230019"/>
            <a:ext cx="87386" cy="120688"/>
          </a:xfrm>
          <a:custGeom>
            <a:avLst/>
            <a:gdLst/>
            <a:ahLst/>
            <a:cxnLst/>
            <a:rect l="0" t="0" r="0" b="0"/>
            <a:pathLst>
              <a:path w="6722070" h="9283700">
                <a:moveTo>
                  <a:pt x="6722070" y="6344246"/>
                </a:moveTo>
                <a:cubicBezTo>
                  <a:pt x="6618750" y="7295158"/>
                  <a:pt x="6278695" y="8022829"/>
                  <a:pt x="5701903" y="8527257"/>
                </a:cubicBezTo>
                <a:cubicBezTo>
                  <a:pt x="5125243" y="9031553"/>
                  <a:pt x="4357357" y="9283700"/>
                  <a:pt x="3398242" y="9283700"/>
                </a:cubicBezTo>
                <a:cubicBezTo>
                  <a:pt x="2728449" y="9283700"/>
                  <a:pt x="2136179" y="9116153"/>
                  <a:pt x="1621432" y="8781058"/>
                </a:cubicBezTo>
                <a:cubicBezTo>
                  <a:pt x="1106818" y="8445964"/>
                  <a:pt x="708951" y="7971235"/>
                  <a:pt x="427831" y="7356872"/>
                </a:cubicBezTo>
                <a:cubicBezTo>
                  <a:pt x="146711" y="6742510"/>
                  <a:pt x="4101" y="6040240"/>
                  <a:pt x="0" y="5250061"/>
                </a:cubicBezTo>
                <a:lnTo>
                  <a:pt x="0" y="4077097"/>
                </a:lnTo>
                <a:cubicBezTo>
                  <a:pt x="0" y="3274484"/>
                  <a:pt x="140560" y="2562887"/>
                  <a:pt x="421679" y="1942307"/>
                </a:cubicBezTo>
                <a:cubicBezTo>
                  <a:pt x="702799" y="1321727"/>
                  <a:pt x="1106884" y="842897"/>
                  <a:pt x="1633934" y="505818"/>
                </a:cubicBezTo>
                <a:cubicBezTo>
                  <a:pt x="2161116" y="168606"/>
                  <a:pt x="2767806" y="0"/>
                  <a:pt x="3454003" y="0"/>
                </a:cubicBezTo>
                <a:cubicBezTo>
                  <a:pt x="4421452" y="0"/>
                  <a:pt x="5185238" y="261475"/>
                  <a:pt x="5745361" y="784424"/>
                </a:cubicBezTo>
                <a:cubicBezTo>
                  <a:pt x="6305484" y="1307373"/>
                  <a:pt x="6631053" y="2029818"/>
                  <a:pt x="6722070" y="2951758"/>
                </a:cubicBezTo>
                <a:lnTo>
                  <a:pt x="5953125" y="2951758"/>
                </a:lnTo>
                <a:cubicBezTo>
                  <a:pt x="5762889" y="1417969"/>
                  <a:pt x="4929849" y="651074"/>
                  <a:pt x="3454003" y="651074"/>
                </a:cubicBezTo>
                <a:cubicBezTo>
                  <a:pt x="2635514" y="651074"/>
                  <a:pt x="1983382" y="957263"/>
                  <a:pt x="1497607" y="1569641"/>
                </a:cubicBezTo>
                <a:cubicBezTo>
                  <a:pt x="1011832" y="2182019"/>
                  <a:pt x="768945" y="3028157"/>
                  <a:pt x="768945" y="4108054"/>
                </a:cubicBezTo>
                <a:lnTo>
                  <a:pt x="768945" y="5212755"/>
                </a:lnTo>
                <a:cubicBezTo>
                  <a:pt x="768945" y="6255478"/>
                  <a:pt x="1005615" y="7087196"/>
                  <a:pt x="1478954" y="7707908"/>
                </a:cubicBezTo>
                <a:cubicBezTo>
                  <a:pt x="1952294" y="8328488"/>
                  <a:pt x="2592057" y="8638779"/>
                  <a:pt x="3398242" y="8638779"/>
                </a:cubicBezTo>
                <a:cubicBezTo>
                  <a:pt x="4196093" y="8638779"/>
                  <a:pt x="4797557" y="8447617"/>
                  <a:pt x="5202634" y="8065294"/>
                </a:cubicBezTo>
                <a:cubicBezTo>
                  <a:pt x="5607843" y="7682839"/>
                  <a:pt x="5858007" y="7109156"/>
                  <a:pt x="5953125" y="6344246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05" name="Freeform 2105"/>
          <p:cNvSpPr/>
          <p:nvPr/>
        </p:nvSpPr>
        <p:spPr>
          <a:xfrm>
            <a:off x="483319" y="261884"/>
            <a:ext cx="72393" cy="87172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06" name="Freeform 2106"/>
          <p:cNvSpPr/>
          <p:nvPr/>
        </p:nvSpPr>
        <p:spPr>
          <a:xfrm>
            <a:off x="565459" y="260233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07" name="Freeform 2107"/>
          <p:cNvSpPr/>
          <p:nvPr/>
        </p:nvSpPr>
        <p:spPr>
          <a:xfrm>
            <a:off x="657017" y="261884"/>
            <a:ext cx="93836" cy="87172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08" name="Freeform 2108"/>
          <p:cNvSpPr/>
          <p:nvPr/>
        </p:nvSpPr>
        <p:spPr>
          <a:xfrm>
            <a:off x="771978" y="260233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09" name="Freeform 2109"/>
          <p:cNvSpPr/>
          <p:nvPr/>
        </p:nvSpPr>
        <p:spPr>
          <a:xfrm>
            <a:off x="904861" y="260233"/>
            <a:ext cx="70216" cy="122339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0" name="Freeform 2110"/>
          <p:cNvSpPr/>
          <p:nvPr/>
        </p:nvSpPr>
        <p:spPr>
          <a:xfrm>
            <a:off x="991087" y="260233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1" name="Freeform 2111"/>
          <p:cNvSpPr/>
          <p:nvPr/>
        </p:nvSpPr>
        <p:spPr>
          <a:xfrm>
            <a:off x="1077083" y="260233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2" name="Freeform 2112"/>
          <p:cNvSpPr/>
          <p:nvPr/>
        </p:nvSpPr>
        <p:spPr>
          <a:xfrm>
            <a:off x="1160897" y="261884"/>
            <a:ext cx="76100" cy="87172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3" name="Freeform 2113"/>
          <p:cNvSpPr/>
          <p:nvPr/>
        </p:nvSpPr>
        <p:spPr>
          <a:xfrm>
            <a:off x="1263357" y="261884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4" name="Freeform 2114"/>
          <p:cNvSpPr/>
          <p:nvPr/>
        </p:nvSpPr>
        <p:spPr>
          <a:xfrm>
            <a:off x="1350824" y="260233"/>
            <a:ext cx="67071" cy="90309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5" name="Freeform 2115"/>
          <p:cNvSpPr/>
          <p:nvPr/>
        </p:nvSpPr>
        <p:spPr>
          <a:xfrm>
            <a:off x="1434525" y="260233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6" name="Freeform 2116"/>
          <p:cNvSpPr/>
          <p:nvPr/>
        </p:nvSpPr>
        <p:spPr>
          <a:xfrm>
            <a:off x="1528012" y="261884"/>
            <a:ext cx="75213" cy="113093"/>
          </a:xfrm>
          <a:custGeom>
            <a:avLst/>
            <a:gdLst/>
            <a:ahLst/>
            <a:cxnLst/>
            <a:rect l="0" t="0" r="0" b="0"/>
            <a:pathLst>
              <a:path w="5785643" h="8699500">
                <a:moveTo>
                  <a:pt x="0" y="0"/>
                </a:moveTo>
                <a:lnTo>
                  <a:pt x="744140" y="0"/>
                </a:lnTo>
                <a:lnTo>
                  <a:pt x="744140" y="6079332"/>
                </a:lnTo>
                <a:lnTo>
                  <a:pt x="4359473" y="6079332"/>
                </a:lnTo>
                <a:lnTo>
                  <a:pt x="4359473" y="0"/>
                </a:lnTo>
                <a:lnTo>
                  <a:pt x="5103614" y="0"/>
                </a:lnTo>
                <a:lnTo>
                  <a:pt x="5103614" y="6079332"/>
                </a:lnTo>
                <a:lnTo>
                  <a:pt x="5785643" y="6079332"/>
                </a:lnTo>
                <a:lnTo>
                  <a:pt x="5729883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7" name="Freeform 2117"/>
          <p:cNvSpPr/>
          <p:nvPr/>
        </p:nvSpPr>
        <p:spPr>
          <a:xfrm>
            <a:off x="1621954" y="261884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8" name="Freeform 2118"/>
          <p:cNvSpPr/>
          <p:nvPr/>
        </p:nvSpPr>
        <p:spPr>
          <a:xfrm>
            <a:off x="1714741" y="261884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19" name="Freeform 2119"/>
          <p:cNvSpPr/>
          <p:nvPr/>
        </p:nvSpPr>
        <p:spPr>
          <a:xfrm>
            <a:off x="1847646" y="261884"/>
            <a:ext cx="66346" cy="87172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20" name="Freeform 2120"/>
          <p:cNvSpPr/>
          <p:nvPr/>
        </p:nvSpPr>
        <p:spPr>
          <a:xfrm>
            <a:off x="1939707" y="260233"/>
            <a:ext cx="70216" cy="122339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21" name="Freeform 2121"/>
          <p:cNvSpPr/>
          <p:nvPr/>
        </p:nvSpPr>
        <p:spPr>
          <a:xfrm>
            <a:off x="2025933" y="260233"/>
            <a:ext cx="77873" cy="90474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22" name="Freeform 2122"/>
          <p:cNvSpPr/>
          <p:nvPr/>
        </p:nvSpPr>
        <p:spPr>
          <a:xfrm>
            <a:off x="2118389" y="260233"/>
            <a:ext cx="71826" cy="9047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23" name="Freeform 2123"/>
          <p:cNvSpPr/>
          <p:nvPr/>
        </p:nvSpPr>
        <p:spPr>
          <a:xfrm>
            <a:off x="2209465" y="261884"/>
            <a:ext cx="71101" cy="87172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24" name="Freeform 2124"/>
          <p:cNvSpPr/>
          <p:nvPr/>
        </p:nvSpPr>
        <p:spPr>
          <a:xfrm>
            <a:off x="2285071" y="261884"/>
            <a:ext cx="71988" cy="87172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25" name="Freeform 2125"/>
          <p:cNvSpPr/>
          <p:nvPr/>
        </p:nvSpPr>
        <p:spPr>
          <a:xfrm>
            <a:off x="2367174" y="260233"/>
            <a:ext cx="69894" cy="9047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27" name="Rectangle 2127"/>
          <p:cNvSpPr/>
          <p:nvPr/>
        </p:nvSpPr>
        <p:spPr>
          <a:xfrm>
            <a:off x="270674" y="2326336"/>
            <a:ext cx="2163813" cy="167639"/>
          </a:xfrm>
          <a:prstGeom prst="rect">
            <a:avLst/>
          </a:prstGeom>
        </p:spPr>
      </p:sp>
      <p:sp>
        <p:nvSpPr>
          <p:cNvPr id="2128" name="Freeform 2128"/>
          <p:cNvSpPr/>
          <p:nvPr/>
        </p:nvSpPr>
        <p:spPr>
          <a:xfrm>
            <a:off x="283293" y="2359725"/>
            <a:ext cx="59892" cy="99326"/>
          </a:xfrm>
          <a:custGeom>
            <a:avLst/>
            <a:gdLst/>
            <a:ahLst/>
            <a:cxnLst/>
            <a:rect l="0" t="0" r="0" b="0"/>
            <a:pathLst>
              <a:path w="5444728" h="9029700">
                <a:moveTo>
                  <a:pt x="5444728" y="651074"/>
                </a:moveTo>
                <a:lnTo>
                  <a:pt x="762793" y="651074"/>
                </a:lnTo>
                <a:lnTo>
                  <a:pt x="762793" y="9029700"/>
                </a:lnTo>
                <a:lnTo>
                  <a:pt x="0" y="9029700"/>
                </a:lnTo>
                <a:lnTo>
                  <a:pt x="0" y="0"/>
                </a:lnTo>
                <a:lnTo>
                  <a:pt x="5444728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29" name="Freeform 2129"/>
          <p:cNvSpPr/>
          <p:nvPr/>
        </p:nvSpPr>
        <p:spPr>
          <a:xfrm>
            <a:off x="341077" y="23838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0" name="Freeform 2130"/>
          <p:cNvSpPr/>
          <p:nvPr/>
        </p:nvSpPr>
        <p:spPr>
          <a:xfrm>
            <a:off x="423742" y="23838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1" name="Freeform 2131"/>
          <p:cNvSpPr/>
          <p:nvPr/>
        </p:nvSpPr>
        <p:spPr>
          <a:xfrm>
            <a:off x="501749" y="23852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2" name="Freeform 2132"/>
          <p:cNvSpPr/>
          <p:nvPr/>
        </p:nvSpPr>
        <p:spPr>
          <a:xfrm>
            <a:off x="575214" y="23838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3" name="Freeform 2133"/>
          <p:cNvSpPr/>
          <p:nvPr/>
        </p:nvSpPr>
        <p:spPr>
          <a:xfrm>
            <a:off x="650648" y="2411833"/>
            <a:ext cx="32674" cy="6888"/>
          </a:xfrm>
          <a:custGeom>
            <a:avLst/>
            <a:gdLst/>
            <a:ahLst/>
            <a:cxnLst/>
            <a:rect l="0" t="0" r="0" b="0"/>
            <a:pathLst>
              <a:path w="2970411" h="626269">
                <a:moveTo>
                  <a:pt x="2970411" y="626269"/>
                </a:moveTo>
                <a:lnTo>
                  <a:pt x="0" y="626269"/>
                </a:lnTo>
                <a:lnTo>
                  <a:pt x="0" y="0"/>
                </a:lnTo>
                <a:lnTo>
                  <a:pt x="29704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4" name="Freeform 2134"/>
          <p:cNvSpPr/>
          <p:nvPr/>
        </p:nvSpPr>
        <p:spPr>
          <a:xfrm>
            <a:off x="698787" y="2385290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5" name="Freeform 2135"/>
          <p:cNvSpPr/>
          <p:nvPr/>
        </p:nvSpPr>
        <p:spPr>
          <a:xfrm>
            <a:off x="795381" y="23838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6" name="Freeform 2136"/>
          <p:cNvSpPr/>
          <p:nvPr/>
        </p:nvSpPr>
        <p:spPr>
          <a:xfrm>
            <a:off x="863356" y="23852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7" name="Freeform 2137"/>
          <p:cNvSpPr/>
          <p:nvPr/>
        </p:nvSpPr>
        <p:spPr>
          <a:xfrm>
            <a:off x="932829" y="23838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8" name="Freeform 2138"/>
          <p:cNvSpPr/>
          <p:nvPr/>
        </p:nvSpPr>
        <p:spPr>
          <a:xfrm>
            <a:off x="1003748" y="23852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39" name="Freeform 2139"/>
          <p:cNvSpPr/>
          <p:nvPr/>
        </p:nvSpPr>
        <p:spPr>
          <a:xfrm>
            <a:off x="1082260" y="23852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0" name="Freeform 2140"/>
          <p:cNvSpPr/>
          <p:nvPr/>
        </p:nvSpPr>
        <p:spPr>
          <a:xfrm>
            <a:off x="1159952" y="2385290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1" name="Freeform 2141"/>
          <p:cNvSpPr/>
          <p:nvPr/>
        </p:nvSpPr>
        <p:spPr>
          <a:xfrm>
            <a:off x="1234700" y="23838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2" name="Freeform 2142"/>
          <p:cNvSpPr/>
          <p:nvPr/>
        </p:nvSpPr>
        <p:spPr>
          <a:xfrm>
            <a:off x="1312640" y="2385290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3" name="Freeform 2143"/>
          <p:cNvSpPr/>
          <p:nvPr/>
        </p:nvSpPr>
        <p:spPr>
          <a:xfrm>
            <a:off x="1371521" y="23852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4" name="Freeform 2144"/>
          <p:cNvSpPr/>
          <p:nvPr/>
        </p:nvSpPr>
        <p:spPr>
          <a:xfrm>
            <a:off x="1446350" y="2385290"/>
            <a:ext cx="55661" cy="73761"/>
          </a:xfrm>
          <a:custGeom>
            <a:avLst/>
            <a:gdLst/>
            <a:ahLst/>
            <a:cxnLst/>
            <a:rect l="0" t="0" r="0" b="0"/>
            <a:pathLst>
              <a:path w="5060156" h="6705600">
                <a:moveTo>
                  <a:pt x="5060156" y="6705600"/>
                </a:moveTo>
                <a:lnTo>
                  <a:pt x="4316015" y="6705600"/>
                </a:lnTo>
                <a:lnTo>
                  <a:pt x="4316015" y="3885208"/>
                </a:lnTo>
                <a:cubicBezTo>
                  <a:pt x="3704166" y="4108517"/>
                  <a:pt x="3119172" y="4220171"/>
                  <a:pt x="2561034" y="4220171"/>
                </a:cubicBezTo>
                <a:cubicBezTo>
                  <a:pt x="1672166" y="4220171"/>
                  <a:pt x="1027244" y="4024974"/>
                  <a:pt x="626268" y="3634582"/>
                </a:cubicBezTo>
                <a:cubicBezTo>
                  <a:pt x="225292" y="3244189"/>
                  <a:pt x="16536" y="2635846"/>
                  <a:pt x="0" y="1809552"/>
                </a:cubicBezTo>
                <a:lnTo>
                  <a:pt x="0" y="0"/>
                </a:lnTo>
                <a:lnTo>
                  <a:pt x="737790" y="0"/>
                </a:lnTo>
                <a:lnTo>
                  <a:pt x="737790" y="1772047"/>
                </a:lnTo>
                <a:cubicBezTo>
                  <a:pt x="746125" y="2412339"/>
                  <a:pt x="887743" y="2873971"/>
                  <a:pt x="1162645" y="3156943"/>
                </a:cubicBezTo>
                <a:cubicBezTo>
                  <a:pt x="1437547" y="3439915"/>
                  <a:pt x="1903677" y="3581400"/>
                  <a:pt x="2561034" y="3581400"/>
                </a:cubicBezTo>
                <a:cubicBezTo>
                  <a:pt x="3160447" y="3564864"/>
                  <a:pt x="3745441" y="3457443"/>
                  <a:pt x="4316015" y="3259138"/>
                </a:cubicBezTo>
                <a:lnTo>
                  <a:pt x="4316015" y="0"/>
                </a:lnTo>
                <a:lnTo>
                  <a:pt x="5060156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5" name="Freeform 2145"/>
          <p:cNvSpPr/>
          <p:nvPr/>
        </p:nvSpPr>
        <p:spPr>
          <a:xfrm>
            <a:off x="1519307" y="23838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6" name="Freeform 2146"/>
          <p:cNvSpPr/>
          <p:nvPr/>
        </p:nvSpPr>
        <p:spPr>
          <a:xfrm>
            <a:off x="1591665" y="238389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7" name="Freeform 2147"/>
          <p:cNvSpPr/>
          <p:nvPr/>
        </p:nvSpPr>
        <p:spPr>
          <a:xfrm>
            <a:off x="1668316" y="23852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8" name="Freeform 2148"/>
          <p:cNvSpPr/>
          <p:nvPr/>
        </p:nvSpPr>
        <p:spPr>
          <a:xfrm>
            <a:off x="1736383" y="23838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49" name="Freeform 2149"/>
          <p:cNvSpPr/>
          <p:nvPr/>
        </p:nvSpPr>
        <p:spPr>
          <a:xfrm>
            <a:off x="1810644" y="2385290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50" name="Freeform 2150"/>
          <p:cNvSpPr/>
          <p:nvPr/>
        </p:nvSpPr>
        <p:spPr>
          <a:xfrm>
            <a:off x="1920106" y="23838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51" name="Freeform 2151"/>
          <p:cNvSpPr/>
          <p:nvPr/>
        </p:nvSpPr>
        <p:spPr>
          <a:xfrm>
            <a:off x="1993529" y="23852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52" name="Freeform 2152"/>
          <p:cNvSpPr/>
          <p:nvPr/>
        </p:nvSpPr>
        <p:spPr>
          <a:xfrm>
            <a:off x="2067732" y="23838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53" name="Freeform 2153"/>
          <p:cNvSpPr/>
          <p:nvPr/>
        </p:nvSpPr>
        <p:spPr>
          <a:xfrm>
            <a:off x="2141373" y="23838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54" name="Freeform 2154"/>
          <p:cNvSpPr/>
          <p:nvPr/>
        </p:nvSpPr>
        <p:spPr>
          <a:xfrm>
            <a:off x="2215704" y="238389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55" name="Freeform 2155"/>
          <p:cNvSpPr/>
          <p:nvPr/>
        </p:nvSpPr>
        <p:spPr>
          <a:xfrm>
            <a:off x="2284238" y="23852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56" name="Freeform 2156"/>
          <p:cNvSpPr/>
          <p:nvPr/>
        </p:nvSpPr>
        <p:spPr>
          <a:xfrm>
            <a:off x="2371276" y="2385290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57" name="Rectangle 2157"/>
          <p:cNvSpPr/>
          <p:nvPr/>
        </p:nvSpPr>
        <p:spPr>
          <a:xfrm>
            <a:off x="6880225" y="1009211"/>
            <a:ext cx="1854238" cy="167639"/>
          </a:xfrm>
          <a:prstGeom prst="rect">
            <a:avLst/>
          </a:prstGeom>
        </p:spPr>
      </p:sp>
      <p:sp>
        <p:nvSpPr>
          <p:cNvPr id="2158" name="Freeform 2158"/>
          <p:cNvSpPr/>
          <p:nvPr/>
        </p:nvSpPr>
        <p:spPr>
          <a:xfrm>
            <a:off x="6892776" y="1042599"/>
            <a:ext cx="73602" cy="99326"/>
          </a:xfrm>
          <a:custGeom>
            <a:avLst/>
            <a:gdLst/>
            <a:ahLst/>
            <a:cxnLst/>
            <a:rect l="0" t="0" r="0" b="0"/>
            <a:pathLst>
              <a:path w="6691114" h="9029700">
                <a:moveTo>
                  <a:pt x="6691114" y="9029700"/>
                </a:moveTo>
                <a:lnTo>
                  <a:pt x="5922169" y="9029700"/>
                </a:lnTo>
                <a:lnTo>
                  <a:pt x="5922169" y="4696222"/>
                </a:lnTo>
                <a:lnTo>
                  <a:pt x="762794" y="4696222"/>
                </a:lnTo>
                <a:lnTo>
                  <a:pt x="762794" y="9029700"/>
                </a:lnTo>
                <a:lnTo>
                  <a:pt x="0" y="9029700"/>
                </a:lnTo>
                <a:lnTo>
                  <a:pt x="0" y="0"/>
                </a:lnTo>
                <a:lnTo>
                  <a:pt x="762794" y="0"/>
                </a:lnTo>
                <a:lnTo>
                  <a:pt x="762794" y="4051300"/>
                </a:lnTo>
                <a:lnTo>
                  <a:pt x="5922169" y="4051300"/>
                </a:lnTo>
                <a:lnTo>
                  <a:pt x="5922169" y="0"/>
                </a:lnTo>
                <a:lnTo>
                  <a:pt x="66911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59" name="Freeform 2159"/>
          <p:cNvSpPr/>
          <p:nvPr/>
        </p:nvSpPr>
        <p:spPr>
          <a:xfrm>
            <a:off x="6985132" y="106676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0" name="Freeform 2160"/>
          <p:cNvSpPr/>
          <p:nvPr/>
        </p:nvSpPr>
        <p:spPr>
          <a:xfrm>
            <a:off x="7058650" y="1037151"/>
            <a:ext cx="86083" cy="133134"/>
          </a:xfrm>
          <a:custGeom>
            <a:avLst/>
            <a:gdLst/>
            <a:ahLst/>
            <a:cxnLst/>
            <a:rect l="0" t="0" r="0" b="0"/>
            <a:pathLst>
              <a:path w="7825780" h="12103100">
                <a:moveTo>
                  <a:pt x="0" y="6224786"/>
                </a:moveTo>
                <a:cubicBezTo>
                  <a:pt x="0" y="5134174"/>
                  <a:pt x="213916" y="4272823"/>
                  <a:pt x="641747" y="3640733"/>
                </a:cubicBezTo>
                <a:cubicBezTo>
                  <a:pt x="1069711" y="3008511"/>
                  <a:pt x="1661914" y="2692400"/>
                  <a:pt x="2418358" y="2692400"/>
                </a:cubicBezTo>
                <a:cubicBezTo>
                  <a:pt x="2852539" y="2692400"/>
                  <a:pt x="3220509" y="2789569"/>
                  <a:pt x="3522266" y="2983905"/>
                </a:cubicBezTo>
                <a:lnTo>
                  <a:pt x="3522266" y="0"/>
                </a:lnTo>
                <a:lnTo>
                  <a:pt x="4260255" y="0"/>
                </a:lnTo>
                <a:lnTo>
                  <a:pt x="4260255" y="3008710"/>
                </a:lnTo>
                <a:cubicBezTo>
                  <a:pt x="4566113" y="2797837"/>
                  <a:pt x="4946452" y="2692400"/>
                  <a:pt x="5401271" y="2692400"/>
                </a:cubicBezTo>
                <a:cubicBezTo>
                  <a:pt x="6116439" y="2692400"/>
                  <a:pt x="6688997" y="2979540"/>
                  <a:pt x="7118946" y="3553818"/>
                </a:cubicBezTo>
                <a:cubicBezTo>
                  <a:pt x="7548894" y="4128096"/>
                  <a:pt x="7782455" y="4927534"/>
                  <a:pt x="7819628" y="5952133"/>
                </a:cubicBezTo>
                <a:lnTo>
                  <a:pt x="7825780" y="6354961"/>
                </a:lnTo>
                <a:cubicBezTo>
                  <a:pt x="7825780" y="7375459"/>
                  <a:pt x="7610806" y="8180123"/>
                  <a:pt x="7180858" y="8768954"/>
                </a:cubicBezTo>
                <a:cubicBezTo>
                  <a:pt x="6750910" y="9357652"/>
                  <a:pt x="6161816" y="9652000"/>
                  <a:pt x="5413574" y="9652000"/>
                </a:cubicBezTo>
                <a:cubicBezTo>
                  <a:pt x="4967089" y="9652000"/>
                  <a:pt x="4582650" y="9554831"/>
                  <a:pt x="4260255" y="9360496"/>
                </a:cubicBezTo>
                <a:lnTo>
                  <a:pt x="4260255" y="12103100"/>
                </a:lnTo>
                <a:lnTo>
                  <a:pt x="3522266" y="12103100"/>
                </a:lnTo>
                <a:lnTo>
                  <a:pt x="3522266" y="9366846"/>
                </a:lnTo>
                <a:cubicBezTo>
                  <a:pt x="3203972" y="9556948"/>
                  <a:pt x="2831902" y="9652000"/>
                  <a:pt x="2406055" y="9652000"/>
                </a:cubicBezTo>
                <a:cubicBezTo>
                  <a:pt x="1699088" y="9652000"/>
                  <a:pt x="1132681" y="9384507"/>
                  <a:pt x="706835" y="8849519"/>
                </a:cubicBezTo>
                <a:cubicBezTo>
                  <a:pt x="281120" y="8314399"/>
                  <a:pt x="47559" y="7573765"/>
                  <a:pt x="6152" y="6627615"/>
                </a:cubicBezTo>
                <a:close/>
                <a:moveTo>
                  <a:pt x="7087989" y="6224985"/>
                </a:moveTo>
                <a:cubicBezTo>
                  <a:pt x="7087989" y="5324475"/>
                  <a:pt x="6925667" y="4616054"/>
                  <a:pt x="6601024" y="4099719"/>
                </a:cubicBezTo>
                <a:cubicBezTo>
                  <a:pt x="6276512" y="3583253"/>
                  <a:pt x="5822818" y="3325019"/>
                  <a:pt x="5239941" y="3325019"/>
                </a:cubicBezTo>
                <a:cubicBezTo>
                  <a:pt x="4818327" y="3325019"/>
                  <a:pt x="4491765" y="3415904"/>
                  <a:pt x="4260255" y="3597672"/>
                </a:cubicBezTo>
                <a:lnTo>
                  <a:pt x="4260255" y="8784035"/>
                </a:lnTo>
                <a:cubicBezTo>
                  <a:pt x="4520605" y="8945166"/>
                  <a:pt x="4851334" y="9025732"/>
                  <a:pt x="5252442" y="9025732"/>
                </a:cubicBezTo>
                <a:cubicBezTo>
                  <a:pt x="5831219" y="9025732"/>
                  <a:pt x="6281804" y="8793361"/>
                  <a:pt x="6604199" y="8328621"/>
                </a:cubicBezTo>
                <a:cubicBezTo>
                  <a:pt x="6926725" y="7863880"/>
                  <a:pt x="7087989" y="7162668"/>
                  <a:pt x="7087989" y="6224985"/>
                </a:cubicBezTo>
                <a:close/>
                <a:moveTo>
                  <a:pt x="744141" y="6355160"/>
                </a:moveTo>
                <a:cubicBezTo>
                  <a:pt x="744141" y="7197858"/>
                  <a:pt x="899121" y="7853628"/>
                  <a:pt x="1209080" y="8322469"/>
                </a:cubicBezTo>
                <a:cubicBezTo>
                  <a:pt x="1519172" y="8791311"/>
                  <a:pt x="1965722" y="9025732"/>
                  <a:pt x="2548731" y="9025732"/>
                </a:cubicBezTo>
                <a:cubicBezTo>
                  <a:pt x="2937272" y="9025732"/>
                  <a:pt x="3261784" y="8941065"/>
                  <a:pt x="3522266" y="8771732"/>
                </a:cubicBezTo>
                <a:lnTo>
                  <a:pt x="3522266" y="3579019"/>
                </a:lnTo>
                <a:cubicBezTo>
                  <a:pt x="3282421" y="3409686"/>
                  <a:pt x="2962010" y="3325019"/>
                  <a:pt x="2561035" y="3325019"/>
                </a:cubicBezTo>
                <a:cubicBezTo>
                  <a:pt x="1982258" y="3325019"/>
                  <a:pt x="1534716" y="3582194"/>
                  <a:pt x="1218406" y="4096544"/>
                </a:cubicBezTo>
                <a:cubicBezTo>
                  <a:pt x="902229" y="4610762"/>
                  <a:pt x="744141" y="5363634"/>
                  <a:pt x="744141" y="635516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1" name="Freeform 2161"/>
          <p:cNvSpPr/>
          <p:nvPr/>
        </p:nvSpPr>
        <p:spPr>
          <a:xfrm>
            <a:off x="7149500" y="106816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2" name="Freeform 2162"/>
          <p:cNvSpPr/>
          <p:nvPr/>
        </p:nvSpPr>
        <p:spPr>
          <a:xfrm>
            <a:off x="7213822" y="106676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3" name="Freeform 2163"/>
          <p:cNvSpPr/>
          <p:nvPr/>
        </p:nvSpPr>
        <p:spPr>
          <a:xfrm>
            <a:off x="7283314" y="1068165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4" name="Freeform 2164"/>
          <p:cNvSpPr/>
          <p:nvPr/>
        </p:nvSpPr>
        <p:spPr>
          <a:xfrm>
            <a:off x="7365955" y="106676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5" name="Freeform 2165"/>
          <p:cNvSpPr/>
          <p:nvPr/>
        </p:nvSpPr>
        <p:spPr>
          <a:xfrm>
            <a:off x="7444662" y="1036034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6" name="Freeform 2166"/>
          <p:cNvSpPr/>
          <p:nvPr/>
        </p:nvSpPr>
        <p:spPr>
          <a:xfrm>
            <a:off x="7526409" y="1068165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7" name="Freeform 2167"/>
          <p:cNvSpPr/>
          <p:nvPr/>
        </p:nvSpPr>
        <p:spPr>
          <a:xfrm>
            <a:off x="7627161" y="1068165"/>
            <a:ext cx="55661" cy="73761"/>
          </a:xfrm>
          <a:custGeom>
            <a:avLst/>
            <a:gdLst/>
            <a:ahLst/>
            <a:cxnLst/>
            <a:rect l="0" t="0" r="0" b="0"/>
            <a:pathLst>
              <a:path w="5060156" h="6705600">
                <a:moveTo>
                  <a:pt x="5060156" y="6705600"/>
                </a:moveTo>
                <a:lnTo>
                  <a:pt x="4316015" y="6705600"/>
                </a:lnTo>
                <a:lnTo>
                  <a:pt x="4316015" y="3885208"/>
                </a:lnTo>
                <a:cubicBezTo>
                  <a:pt x="3704166" y="4108517"/>
                  <a:pt x="3119172" y="4220171"/>
                  <a:pt x="2561034" y="4220171"/>
                </a:cubicBezTo>
                <a:cubicBezTo>
                  <a:pt x="1672166" y="4220171"/>
                  <a:pt x="1027244" y="4024974"/>
                  <a:pt x="626268" y="3634582"/>
                </a:cubicBezTo>
                <a:cubicBezTo>
                  <a:pt x="225292" y="3244189"/>
                  <a:pt x="16536" y="2635846"/>
                  <a:pt x="0" y="1809552"/>
                </a:cubicBezTo>
                <a:lnTo>
                  <a:pt x="0" y="0"/>
                </a:lnTo>
                <a:lnTo>
                  <a:pt x="737790" y="0"/>
                </a:lnTo>
                <a:lnTo>
                  <a:pt x="737790" y="1772047"/>
                </a:lnTo>
                <a:cubicBezTo>
                  <a:pt x="746125" y="2412339"/>
                  <a:pt x="887743" y="2873971"/>
                  <a:pt x="1162645" y="3156943"/>
                </a:cubicBezTo>
                <a:cubicBezTo>
                  <a:pt x="1437547" y="3439915"/>
                  <a:pt x="1903677" y="3581400"/>
                  <a:pt x="2561034" y="3581400"/>
                </a:cubicBezTo>
                <a:cubicBezTo>
                  <a:pt x="3160447" y="3564864"/>
                  <a:pt x="3745441" y="3457443"/>
                  <a:pt x="4316015" y="3259138"/>
                </a:cubicBezTo>
                <a:lnTo>
                  <a:pt x="4316015" y="0"/>
                </a:lnTo>
                <a:lnTo>
                  <a:pt x="5060156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8" name="Freeform 2168"/>
          <p:cNvSpPr/>
          <p:nvPr/>
        </p:nvSpPr>
        <p:spPr>
          <a:xfrm>
            <a:off x="7700798" y="1066768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69" name="Freeform 2169"/>
          <p:cNvSpPr/>
          <p:nvPr/>
        </p:nvSpPr>
        <p:spPr>
          <a:xfrm>
            <a:off x="7813850" y="10681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0" name="Freeform 2170"/>
          <p:cNvSpPr/>
          <p:nvPr/>
        </p:nvSpPr>
        <p:spPr>
          <a:xfrm>
            <a:off x="7926309" y="10681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1" name="Freeform 2171"/>
          <p:cNvSpPr/>
          <p:nvPr/>
        </p:nvSpPr>
        <p:spPr>
          <a:xfrm>
            <a:off x="7999774" y="106676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2" name="Freeform 2172"/>
          <p:cNvSpPr/>
          <p:nvPr/>
        </p:nvSpPr>
        <p:spPr>
          <a:xfrm>
            <a:off x="8076292" y="1066768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3" name="Freeform 2173"/>
          <p:cNvSpPr/>
          <p:nvPr/>
        </p:nvSpPr>
        <p:spPr>
          <a:xfrm>
            <a:off x="8149253" y="106676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4" name="Freeform 2174"/>
          <p:cNvSpPr/>
          <p:nvPr/>
        </p:nvSpPr>
        <p:spPr>
          <a:xfrm>
            <a:off x="8225771" y="1066768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5" name="Freeform 2175"/>
          <p:cNvSpPr/>
          <p:nvPr/>
        </p:nvSpPr>
        <p:spPr>
          <a:xfrm>
            <a:off x="8299413" y="1066768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6" name="Freeform 2176"/>
          <p:cNvSpPr/>
          <p:nvPr/>
        </p:nvSpPr>
        <p:spPr>
          <a:xfrm>
            <a:off x="8373947" y="1036034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7" name="Freeform 2177"/>
          <p:cNvSpPr/>
          <p:nvPr/>
        </p:nvSpPr>
        <p:spPr>
          <a:xfrm>
            <a:off x="8450307" y="106676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8" name="Freeform 2178"/>
          <p:cNvSpPr/>
          <p:nvPr/>
        </p:nvSpPr>
        <p:spPr>
          <a:xfrm>
            <a:off x="8523730" y="106816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79" name="Freeform 2179"/>
          <p:cNvSpPr/>
          <p:nvPr/>
        </p:nvSpPr>
        <p:spPr>
          <a:xfrm>
            <a:off x="8598478" y="1068165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80" name="Freeform 2180"/>
          <p:cNvSpPr/>
          <p:nvPr/>
        </p:nvSpPr>
        <p:spPr>
          <a:xfrm>
            <a:off x="8666545" y="1066768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81" name="Rectangle 2181"/>
          <p:cNvSpPr/>
          <p:nvPr/>
        </p:nvSpPr>
        <p:spPr>
          <a:xfrm>
            <a:off x="6865825" y="1908186"/>
            <a:ext cx="1341539" cy="167639"/>
          </a:xfrm>
          <a:prstGeom prst="rect">
            <a:avLst/>
          </a:prstGeom>
        </p:spPr>
      </p:sp>
      <p:sp>
        <p:nvSpPr>
          <p:cNvPr id="2182" name="Freeform 2182"/>
          <p:cNvSpPr/>
          <p:nvPr/>
        </p:nvSpPr>
        <p:spPr>
          <a:xfrm>
            <a:off x="6874761" y="1940177"/>
            <a:ext cx="73942" cy="102120"/>
          </a:xfrm>
          <a:custGeom>
            <a:avLst/>
            <a:gdLst/>
            <a:ahLst/>
            <a:cxnLst/>
            <a:rect l="0" t="0" r="0" b="0"/>
            <a:pathLst>
              <a:path w="6722070" h="9283700">
                <a:moveTo>
                  <a:pt x="6722070" y="6344246"/>
                </a:moveTo>
                <a:cubicBezTo>
                  <a:pt x="6618750" y="7295158"/>
                  <a:pt x="6278695" y="8022829"/>
                  <a:pt x="5701903" y="8527257"/>
                </a:cubicBezTo>
                <a:cubicBezTo>
                  <a:pt x="5125243" y="9031553"/>
                  <a:pt x="4357357" y="9283700"/>
                  <a:pt x="3398242" y="9283700"/>
                </a:cubicBezTo>
                <a:cubicBezTo>
                  <a:pt x="2728449" y="9283700"/>
                  <a:pt x="2136179" y="9116153"/>
                  <a:pt x="1621432" y="8781058"/>
                </a:cubicBezTo>
                <a:cubicBezTo>
                  <a:pt x="1106818" y="8445964"/>
                  <a:pt x="708951" y="7971235"/>
                  <a:pt x="427831" y="7356872"/>
                </a:cubicBezTo>
                <a:cubicBezTo>
                  <a:pt x="146711" y="6742510"/>
                  <a:pt x="4101" y="6040240"/>
                  <a:pt x="0" y="5250061"/>
                </a:cubicBezTo>
                <a:lnTo>
                  <a:pt x="0" y="4077097"/>
                </a:lnTo>
                <a:cubicBezTo>
                  <a:pt x="0" y="3274484"/>
                  <a:pt x="140560" y="2562887"/>
                  <a:pt x="421679" y="1942307"/>
                </a:cubicBezTo>
                <a:cubicBezTo>
                  <a:pt x="702799" y="1321727"/>
                  <a:pt x="1106884" y="842897"/>
                  <a:pt x="1633934" y="505818"/>
                </a:cubicBezTo>
                <a:cubicBezTo>
                  <a:pt x="2161116" y="168606"/>
                  <a:pt x="2767806" y="0"/>
                  <a:pt x="3454003" y="0"/>
                </a:cubicBezTo>
                <a:cubicBezTo>
                  <a:pt x="4421452" y="0"/>
                  <a:pt x="5185238" y="261475"/>
                  <a:pt x="5745361" y="784424"/>
                </a:cubicBezTo>
                <a:cubicBezTo>
                  <a:pt x="6305484" y="1307373"/>
                  <a:pt x="6631053" y="2029818"/>
                  <a:pt x="6722070" y="2951758"/>
                </a:cubicBezTo>
                <a:lnTo>
                  <a:pt x="5953125" y="2951758"/>
                </a:lnTo>
                <a:cubicBezTo>
                  <a:pt x="5762889" y="1417969"/>
                  <a:pt x="4929849" y="651074"/>
                  <a:pt x="3454003" y="651074"/>
                </a:cubicBezTo>
                <a:cubicBezTo>
                  <a:pt x="2635514" y="651074"/>
                  <a:pt x="1983382" y="957263"/>
                  <a:pt x="1497607" y="1569641"/>
                </a:cubicBezTo>
                <a:cubicBezTo>
                  <a:pt x="1011832" y="2182019"/>
                  <a:pt x="768945" y="3028157"/>
                  <a:pt x="768945" y="4108054"/>
                </a:cubicBezTo>
                <a:lnTo>
                  <a:pt x="768945" y="5212755"/>
                </a:lnTo>
                <a:cubicBezTo>
                  <a:pt x="768945" y="6255478"/>
                  <a:pt x="1005615" y="7087196"/>
                  <a:pt x="1478954" y="7707908"/>
                </a:cubicBezTo>
                <a:cubicBezTo>
                  <a:pt x="1952294" y="8328488"/>
                  <a:pt x="2592057" y="8638779"/>
                  <a:pt x="3398242" y="8638779"/>
                </a:cubicBezTo>
                <a:cubicBezTo>
                  <a:pt x="4196093" y="8638779"/>
                  <a:pt x="4797557" y="8447617"/>
                  <a:pt x="5202634" y="8065294"/>
                </a:cubicBezTo>
                <a:cubicBezTo>
                  <a:pt x="5607843" y="7682839"/>
                  <a:pt x="5858007" y="7109156"/>
                  <a:pt x="5953125" y="6344246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83" name="Freeform 2183"/>
          <p:cNvSpPr/>
          <p:nvPr/>
        </p:nvSpPr>
        <p:spPr>
          <a:xfrm>
            <a:off x="6962630" y="196574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84" name="Freeform 2184"/>
          <p:cNvSpPr/>
          <p:nvPr/>
        </p:nvSpPr>
        <p:spPr>
          <a:xfrm>
            <a:off x="7031577" y="196714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85" name="Freeform 2185"/>
          <p:cNvSpPr/>
          <p:nvPr/>
        </p:nvSpPr>
        <p:spPr>
          <a:xfrm>
            <a:off x="7118614" y="1967140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86" name="Freeform 2186"/>
          <p:cNvSpPr/>
          <p:nvPr/>
        </p:nvSpPr>
        <p:spPr>
          <a:xfrm>
            <a:off x="7188239" y="196574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87" name="Freeform 2187"/>
          <p:cNvSpPr/>
          <p:nvPr/>
        </p:nvSpPr>
        <p:spPr>
          <a:xfrm>
            <a:off x="7264891" y="196714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88" name="Freeform 2188"/>
          <p:cNvSpPr/>
          <p:nvPr/>
        </p:nvSpPr>
        <p:spPr>
          <a:xfrm>
            <a:off x="7330879" y="196574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89" name="Freeform 2189"/>
          <p:cNvSpPr/>
          <p:nvPr/>
        </p:nvSpPr>
        <p:spPr>
          <a:xfrm>
            <a:off x="7409111" y="196574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0" name="Freeform 2190"/>
          <p:cNvSpPr/>
          <p:nvPr/>
        </p:nvSpPr>
        <p:spPr>
          <a:xfrm>
            <a:off x="7512277" y="1967140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1" name="Freeform 2191"/>
          <p:cNvSpPr/>
          <p:nvPr/>
        </p:nvSpPr>
        <p:spPr>
          <a:xfrm>
            <a:off x="7581780" y="196574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2" name="Freeform 2192"/>
          <p:cNvSpPr/>
          <p:nvPr/>
        </p:nvSpPr>
        <p:spPr>
          <a:xfrm>
            <a:off x="7660559" y="1965743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3" name="Freeform 2193"/>
          <p:cNvSpPr/>
          <p:nvPr/>
        </p:nvSpPr>
        <p:spPr>
          <a:xfrm>
            <a:off x="7730904" y="1967140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4" name="Freeform 2194"/>
          <p:cNvSpPr/>
          <p:nvPr/>
        </p:nvSpPr>
        <p:spPr>
          <a:xfrm>
            <a:off x="7811465" y="1940597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5" name="Freeform 2195"/>
          <p:cNvSpPr/>
          <p:nvPr/>
        </p:nvSpPr>
        <p:spPr>
          <a:xfrm>
            <a:off x="7885202" y="196574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6" name="Freeform 2196"/>
          <p:cNvSpPr/>
          <p:nvPr/>
        </p:nvSpPr>
        <p:spPr>
          <a:xfrm>
            <a:off x="7953464" y="196714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7" name="Freeform 2197"/>
          <p:cNvSpPr/>
          <p:nvPr/>
        </p:nvSpPr>
        <p:spPr>
          <a:xfrm>
            <a:off x="8028620" y="196714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8" name="Freeform 2198"/>
          <p:cNvSpPr/>
          <p:nvPr/>
        </p:nvSpPr>
        <p:spPr>
          <a:xfrm>
            <a:off x="8101325" y="196574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199" name="Rectangle 2199"/>
          <p:cNvSpPr/>
          <p:nvPr/>
        </p:nvSpPr>
        <p:spPr>
          <a:xfrm>
            <a:off x="6865825" y="3825849"/>
            <a:ext cx="872007" cy="167639"/>
          </a:xfrm>
          <a:prstGeom prst="rect">
            <a:avLst/>
          </a:prstGeom>
        </p:spPr>
      </p:sp>
      <p:sp>
        <p:nvSpPr>
          <p:cNvPr id="2200" name="Freeform 2200"/>
          <p:cNvSpPr/>
          <p:nvPr/>
        </p:nvSpPr>
        <p:spPr>
          <a:xfrm>
            <a:off x="6880219" y="3859238"/>
            <a:ext cx="8390" cy="99326"/>
          </a:xfrm>
          <a:custGeom>
            <a:avLst/>
            <a:gdLst/>
            <a:ahLst/>
            <a:cxnLst/>
            <a:rect l="0" t="0" r="0" b="0"/>
            <a:pathLst>
              <a:path w="762794" h="9029700">
                <a:moveTo>
                  <a:pt x="762794" y="9029700"/>
                </a:moveTo>
                <a:lnTo>
                  <a:pt x="0" y="9029700"/>
                </a:lnTo>
                <a:lnTo>
                  <a:pt x="0" y="0"/>
                </a:lnTo>
                <a:lnTo>
                  <a:pt x="76279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01" name="Freeform 2201"/>
          <p:cNvSpPr/>
          <p:nvPr/>
        </p:nvSpPr>
        <p:spPr>
          <a:xfrm>
            <a:off x="6904577" y="3859238"/>
            <a:ext cx="76398" cy="99326"/>
          </a:xfrm>
          <a:custGeom>
            <a:avLst/>
            <a:gdLst/>
            <a:ahLst/>
            <a:cxnLst/>
            <a:rect l="0" t="0" r="0" b="0"/>
            <a:pathLst>
              <a:path w="6945313" h="9029700">
                <a:moveTo>
                  <a:pt x="6945313" y="651074"/>
                </a:moveTo>
                <a:lnTo>
                  <a:pt x="3850879" y="651074"/>
                </a:lnTo>
                <a:lnTo>
                  <a:pt x="3850879" y="9029700"/>
                </a:lnTo>
                <a:lnTo>
                  <a:pt x="3088283" y="9029700"/>
                </a:lnTo>
                <a:lnTo>
                  <a:pt x="3088283" y="651074"/>
                </a:lnTo>
                <a:lnTo>
                  <a:pt x="0" y="651074"/>
                </a:lnTo>
                <a:lnTo>
                  <a:pt x="0" y="0"/>
                </a:lnTo>
                <a:lnTo>
                  <a:pt x="694531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02" name="Freeform 2202"/>
          <p:cNvSpPr/>
          <p:nvPr/>
        </p:nvSpPr>
        <p:spPr>
          <a:xfrm>
            <a:off x="6971987" y="3911346"/>
            <a:ext cx="32674" cy="6888"/>
          </a:xfrm>
          <a:custGeom>
            <a:avLst/>
            <a:gdLst/>
            <a:ahLst/>
            <a:cxnLst/>
            <a:rect l="0" t="0" r="0" b="0"/>
            <a:pathLst>
              <a:path w="2970411" h="626269">
                <a:moveTo>
                  <a:pt x="2970411" y="626269"/>
                </a:moveTo>
                <a:lnTo>
                  <a:pt x="0" y="626269"/>
                </a:lnTo>
                <a:lnTo>
                  <a:pt x="0" y="0"/>
                </a:lnTo>
                <a:lnTo>
                  <a:pt x="297041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03" name="Freeform 2203"/>
          <p:cNvSpPr/>
          <p:nvPr/>
        </p:nvSpPr>
        <p:spPr>
          <a:xfrm>
            <a:off x="7011327" y="3884803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04" name="Freeform 2204"/>
          <p:cNvSpPr/>
          <p:nvPr/>
        </p:nvSpPr>
        <p:spPr>
          <a:xfrm>
            <a:off x="7075649" y="3883406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05" name="Freeform 2205"/>
          <p:cNvSpPr/>
          <p:nvPr/>
        </p:nvSpPr>
        <p:spPr>
          <a:xfrm>
            <a:off x="7144867" y="3884803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06" name="Freeform 2206"/>
          <p:cNvSpPr/>
          <p:nvPr/>
        </p:nvSpPr>
        <p:spPr>
          <a:xfrm>
            <a:off x="7220674" y="3884803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07" name="Freeform 2207"/>
          <p:cNvSpPr/>
          <p:nvPr/>
        </p:nvSpPr>
        <p:spPr>
          <a:xfrm>
            <a:off x="7294139" y="3883406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08" name="Freeform 2208"/>
          <p:cNvSpPr/>
          <p:nvPr/>
        </p:nvSpPr>
        <p:spPr>
          <a:xfrm>
            <a:off x="7368254" y="3884803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09" name="Freeform 2209"/>
          <p:cNvSpPr/>
          <p:nvPr/>
        </p:nvSpPr>
        <p:spPr>
          <a:xfrm>
            <a:off x="7449905" y="3883406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10" name="Freeform 2210"/>
          <p:cNvSpPr/>
          <p:nvPr/>
        </p:nvSpPr>
        <p:spPr>
          <a:xfrm>
            <a:off x="7533115" y="3884803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11" name="Freeform 2211"/>
          <p:cNvSpPr/>
          <p:nvPr/>
        </p:nvSpPr>
        <p:spPr>
          <a:xfrm>
            <a:off x="7591997" y="3884803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12" name="Freeform 2212"/>
          <p:cNvSpPr/>
          <p:nvPr/>
        </p:nvSpPr>
        <p:spPr>
          <a:xfrm>
            <a:off x="7670508" y="3884803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13" name="Rectangle 2213"/>
          <p:cNvSpPr/>
          <p:nvPr/>
        </p:nvSpPr>
        <p:spPr>
          <a:xfrm>
            <a:off x="6865825" y="3023237"/>
            <a:ext cx="1478026" cy="167639"/>
          </a:xfrm>
          <a:prstGeom prst="rect">
            <a:avLst/>
          </a:prstGeom>
        </p:spPr>
      </p:sp>
      <p:sp>
        <p:nvSpPr>
          <p:cNvPr id="2214" name="Freeform 2214"/>
          <p:cNvSpPr/>
          <p:nvPr/>
        </p:nvSpPr>
        <p:spPr>
          <a:xfrm>
            <a:off x="6869372" y="3056626"/>
            <a:ext cx="76398" cy="99326"/>
          </a:xfrm>
          <a:custGeom>
            <a:avLst/>
            <a:gdLst/>
            <a:ahLst/>
            <a:cxnLst/>
            <a:rect l="0" t="0" r="0" b="0"/>
            <a:pathLst>
              <a:path w="6945313" h="9029700">
                <a:moveTo>
                  <a:pt x="6945313" y="651074"/>
                </a:moveTo>
                <a:lnTo>
                  <a:pt x="3850879" y="651074"/>
                </a:lnTo>
                <a:lnTo>
                  <a:pt x="3850879" y="9029700"/>
                </a:lnTo>
                <a:lnTo>
                  <a:pt x="3088283" y="9029700"/>
                </a:lnTo>
                <a:lnTo>
                  <a:pt x="3088283" y="651074"/>
                </a:lnTo>
                <a:lnTo>
                  <a:pt x="0" y="651074"/>
                </a:lnTo>
                <a:lnTo>
                  <a:pt x="0" y="0"/>
                </a:lnTo>
                <a:lnTo>
                  <a:pt x="694531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15" name="Freeform 2215"/>
          <p:cNvSpPr/>
          <p:nvPr/>
        </p:nvSpPr>
        <p:spPr>
          <a:xfrm>
            <a:off x="6952395" y="3080794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16" name="Freeform 2216"/>
          <p:cNvSpPr/>
          <p:nvPr/>
        </p:nvSpPr>
        <p:spPr>
          <a:xfrm>
            <a:off x="7026037" y="3080794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17" name="Freeform 2217"/>
          <p:cNvSpPr/>
          <p:nvPr/>
        </p:nvSpPr>
        <p:spPr>
          <a:xfrm>
            <a:off x="7105142" y="308219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18" name="Freeform 2218"/>
          <p:cNvSpPr/>
          <p:nvPr/>
        </p:nvSpPr>
        <p:spPr>
          <a:xfrm>
            <a:off x="7178879" y="3080794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19" name="Freeform 2219"/>
          <p:cNvSpPr/>
          <p:nvPr/>
        </p:nvSpPr>
        <p:spPr>
          <a:xfrm>
            <a:off x="7255598" y="308219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0" name="Freeform 2220"/>
          <p:cNvSpPr/>
          <p:nvPr/>
        </p:nvSpPr>
        <p:spPr>
          <a:xfrm>
            <a:off x="7329063" y="308079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1" name="Freeform 2221"/>
          <p:cNvSpPr/>
          <p:nvPr/>
        </p:nvSpPr>
        <p:spPr>
          <a:xfrm>
            <a:off x="7411728" y="3080794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2" name="Freeform 2222"/>
          <p:cNvSpPr/>
          <p:nvPr/>
        </p:nvSpPr>
        <p:spPr>
          <a:xfrm>
            <a:off x="7475829" y="3082191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3" name="Freeform 2223"/>
          <p:cNvSpPr/>
          <p:nvPr/>
        </p:nvSpPr>
        <p:spPr>
          <a:xfrm>
            <a:off x="7584592" y="308219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4" name="Freeform 2224"/>
          <p:cNvSpPr/>
          <p:nvPr/>
        </p:nvSpPr>
        <p:spPr>
          <a:xfrm>
            <a:off x="7688865" y="3082191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5" name="Freeform 2225"/>
          <p:cNvSpPr/>
          <p:nvPr/>
        </p:nvSpPr>
        <p:spPr>
          <a:xfrm>
            <a:off x="7770515" y="308079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6" name="Freeform 2226"/>
          <p:cNvSpPr/>
          <p:nvPr/>
        </p:nvSpPr>
        <p:spPr>
          <a:xfrm>
            <a:off x="7853726" y="3082191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7" name="Freeform 2227"/>
          <p:cNvSpPr/>
          <p:nvPr/>
        </p:nvSpPr>
        <p:spPr>
          <a:xfrm>
            <a:off x="7912608" y="308219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8" name="Freeform 2228"/>
          <p:cNvSpPr/>
          <p:nvPr/>
        </p:nvSpPr>
        <p:spPr>
          <a:xfrm>
            <a:off x="7986345" y="3080794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29" name="Freeform 2229"/>
          <p:cNvSpPr/>
          <p:nvPr/>
        </p:nvSpPr>
        <p:spPr>
          <a:xfrm>
            <a:off x="8054606" y="3082191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30" name="Freeform 2230"/>
          <p:cNvSpPr/>
          <p:nvPr/>
        </p:nvSpPr>
        <p:spPr>
          <a:xfrm>
            <a:off x="8129422" y="308219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31" name="Freeform 2231"/>
          <p:cNvSpPr/>
          <p:nvPr/>
        </p:nvSpPr>
        <p:spPr>
          <a:xfrm>
            <a:off x="8207866" y="3082191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32" name="Freeform 2232"/>
          <p:cNvSpPr/>
          <p:nvPr/>
        </p:nvSpPr>
        <p:spPr>
          <a:xfrm>
            <a:off x="8275932" y="3080794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33" name="Rectangle 2233"/>
          <p:cNvSpPr/>
          <p:nvPr/>
        </p:nvSpPr>
        <p:spPr>
          <a:xfrm>
            <a:off x="6880225" y="1600711"/>
            <a:ext cx="1136738" cy="167639"/>
          </a:xfrm>
          <a:prstGeom prst="rect">
            <a:avLst/>
          </a:prstGeom>
        </p:spPr>
      </p:sp>
      <p:sp>
        <p:nvSpPr>
          <p:cNvPr id="2234" name="Freeform 2234"/>
          <p:cNvSpPr/>
          <p:nvPr/>
        </p:nvSpPr>
        <p:spPr>
          <a:xfrm>
            <a:off x="6892776" y="1634100"/>
            <a:ext cx="95703" cy="99326"/>
          </a:xfrm>
          <a:custGeom>
            <a:avLst/>
            <a:gdLst/>
            <a:ahLst/>
            <a:cxnLst/>
            <a:rect l="0" t="0" r="0" b="0"/>
            <a:pathLst>
              <a:path w="8700294" h="9029700">
                <a:moveTo>
                  <a:pt x="1010841" y="0"/>
                </a:moveTo>
                <a:lnTo>
                  <a:pt x="4340820" y="7969250"/>
                </a:lnTo>
                <a:lnTo>
                  <a:pt x="7683302" y="0"/>
                </a:lnTo>
                <a:lnTo>
                  <a:pt x="8700294" y="0"/>
                </a:lnTo>
                <a:lnTo>
                  <a:pt x="8700294" y="9029700"/>
                </a:lnTo>
                <a:lnTo>
                  <a:pt x="7937500" y="9029700"/>
                </a:lnTo>
                <a:lnTo>
                  <a:pt x="7937500" y="5097860"/>
                </a:lnTo>
                <a:lnTo>
                  <a:pt x="7999611" y="1066602"/>
                </a:lnTo>
                <a:lnTo>
                  <a:pt x="4638477" y="9029700"/>
                </a:lnTo>
                <a:lnTo>
                  <a:pt x="4049316" y="9029700"/>
                </a:lnTo>
                <a:lnTo>
                  <a:pt x="700683" y="1097757"/>
                </a:lnTo>
                <a:lnTo>
                  <a:pt x="762794" y="5073055"/>
                </a:lnTo>
                <a:lnTo>
                  <a:pt x="762794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35" name="Freeform 2235"/>
          <p:cNvSpPr/>
          <p:nvPr/>
        </p:nvSpPr>
        <p:spPr>
          <a:xfrm>
            <a:off x="7007886" y="1658268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36" name="Freeform 2236"/>
          <p:cNvSpPr/>
          <p:nvPr/>
        </p:nvSpPr>
        <p:spPr>
          <a:xfrm>
            <a:off x="7086992" y="1659665"/>
            <a:ext cx="89905" cy="73761"/>
          </a:xfrm>
          <a:custGeom>
            <a:avLst/>
            <a:gdLst/>
            <a:ahLst/>
            <a:cxnLst/>
            <a:rect l="0" t="0" r="0" b="0"/>
            <a:pathLst>
              <a:path w="8173243" h="6705600">
                <a:moveTo>
                  <a:pt x="744140" y="0"/>
                </a:moveTo>
                <a:lnTo>
                  <a:pt x="744140" y="6079332"/>
                </a:lnTo>
                <a:lnTo>
                  <a:pt x="3726854" y="6079332"/>
                </a:lnTo>
                <a:lnTo>
                  <a:pt x="3726854" y="0"/>
                </a:lnTo>
                <a:lnTo>
                  <a:pt x="4470995" y="0"/>
                </a:lnTo>
                <a:lnTo>
                  <a:pt x="4470995" y="6079332"/>
                </a:lnTo>
                <a:lnTo>
                  <a:pt x="7429103" y="6079332"/>
                </a:lnTo>
                <a:lnTo>
                  <a:pt x="7429103" y="0"/>
                </a:lnTo>
                <a:lnTo>
                  <a:pt x="8173243" y="0"/>
                </a:lnTo>
                <a:lnTo>
                  <a:pt x="8173243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37" name="Freeform 2237"/>
          <p:cNvSpPr/>
          <p:nvPr/>
        </p:nvSpPr>
        <p:spPr>
          <a:xfrm>
            <a:off x="7197773" y="16596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38" name="Freeform 2238"/>
          <p:cNvSpPr/>
          <p:nvPr/>
        </p:nvSpPr>
        <p:spPr>
          <a:xfrm>
            <a:off x="7276285" y="16596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39" name="Freeform 2239"/>
          <p:cNvSpPr/>
          <p:nvPr/>
        </p:nvSpPr>
        <p:spPr>
          <a:xfrm>
            <a:off x="7349750" y="165826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40" name="Freeform 2240"/>
          <p:cNvSpPr/>
          <p:nvPr/>
        </p:nvSpPr>
        <p:spPr>
          <a:xfrm>
            <a:off x="7428254" y="1658268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41" name="Freeform 2241"/>
          <p:cNvSpPr/>
          <p:nvPr/>
        </p:nvSpPr>
        <p:spPr>
          <a:xfrm>
            <a:off x="7496516" y="165966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42" name="Freeform 2242"/>
          <p:cNvSpPr/>
          <p:nvPr/>
        </p:nvSpPr>
        <p:spPr>
          <a:xfrm>
            <a:off x="7570718" y="1658268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43" name="Freeform 2243"/>
          <p:cNvSpPr/>
          <p:nvPr/>
        </p:nvSpPr>
        <p:spPr>
          <a:xfrm>
            <a:off x="7643678" y="165826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44" name="Freeform 2244"/>
          <p:cNvSpPr/>
          <p:nvPr/>
        </p:nvSpPr>
        <p:spPr>
          <a:xfrm>
            <a:off x="7721911" y="165826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45" name="Freeform 2245"/>
          <p:cNvSpPr/>
          <p:nvPr/>
        </p:nvSpPr>
        <p:spPr>
          <a:xfrm>
            <a:off x="7799042" y="16596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46" name="Freeform 2246"/>
          <p:cNvSpPr/>
          <p:nvPr/>
        </p:nvSpPr>
        <p:spPr>
          <a:xfrm>
            <a:off x="7877554" y="16596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47" name="Freeform 2247"/>
          <p:cNvSpPr/>
          <p:nvPr/>
        </p:nvSpPr>
        <p:spPr>
          <a:xfrm>
            <a:off x="7951018" y="165826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48" name="Rectangle 2248"/>
          <p:cNvSpPr/>
          <p:nvPr/>
        </p:nvSpPr>
        <p:spPr>
          <a:xfrm>
            <a:off x="6865825" y="3405588"/>
            <a:ext cx="473443" cy="167639"/>
          </a:xfrm>
          <a:prstGeom prst="rect">
            <a:avLst/>
          </a:prstGeom>
        </p:spPr>
      </p:sp>
      <p:sp>
        <p:nvSpPr>
          <p:cNvPr id="2249" name="Freeform 2249"/>
          <p:cNvSpPr/>
          <p:nvPr/>
        </p:nvSpPr>
        <p:spPr>
          <a:xfrm>
            <a:off x="6869372" y="3438977"/>
            <a:ext cx="76398" cy="99326"/>
          </a:xfrm>
          <a:custGeom>
            <a:avLst/>
            <a:gdLst/>
            <a:ahLst/>
            <a:cxnLst/>
            <a:rect l="0" t="0" r="0" b="0"/>
            <a:pathLst>
              <a:path w="6945313" h="9029700">
                <a:moveTo>
                  <a:pt x="6945313" y="651074"/>
                </a:moveTo>
                <a:lnTo>
                  <a:pt x="3850879" y="651074"/>
                </a:lnTo>
                <a:lnTo>
                  <a:pt x="3850879" y="9029700"/>
                </a:lnTo>
                <a:lnTo>
                  <a:pt x="3088283" y="9029700"/>
                </a:lnTo>
                <a:lnTo>
                  <a:pt x="3088283" y="651074"/>
                </a:lnTo>
                <a:lnTo>
                  <a:pt x="0" y="651074"/>
                </a:lnTo>
                <a:lnTo>
                  <a:pt x="0" y="0"/>
                </a:lnTo>
                <a:lnTo>
                  <a:pt x="6945313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50" name="Freeform 2250"/>
          <p:cNvSpPr/>
          <p:nvPr/>
        </p:nvSpPr>
        <p:spPr>
          <a:xfrm>
            <a:off x="6946519" y="3464542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51" name="Freeform 2251"/>
          <p:cNvSpPr/>
          <p:nvPr/>
        </p:nvSpPr>
        <p:spPr>
          <a:xfrm>
            <a:off x="7021267" y="3463145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52" name="Freeform 2252"/>
          <p:cNvSpPr/>
          <p:nvPr/>
        </p:nvSpPr>
        <p:spPr>
          <a:xfrm>
            <a:off x="7099274" y="3464542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53" name="Freeform 2253"/>
          <p:cNvSpPr/>
          <p:nvPr/>
        </p:nvSpPr>
        <p:spPr>
          <a:xfrm>
            <a:off x="7173284" y="3463145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54" name="Freeform 2254"/>
          <p:cNvSpPr/>
          <p:nvPr/>
        </p:nvSpPr>
        <p:spPr>
          <a:xfrm>
            <a:off x="7248815" y="3464542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55" name="Rectangle 2255"/>
          <p:cNvSpPr/>
          <p:nvPr/>
        </p:nvSpPr>
        <p:spPr>
          <a:xfrm>
            <a:off x="6880225" y="1272736"/>
            <a:ext cx="741108" cy="167639"/>
          </a:xfrm>
          <a:prstGeom prst="rect">
            <a:avLst/>
          </a:prstGeom>
        </p:spPr>
      </p:sp>
      <p:sp>
        <p:nvSpPr>
          <p:cNvPr id="2256" name="Freeform 2256"/>
          <p:cNvSpPr/>
          <p:nvPr/>
        </p:nvSpPr>
        <p:spPr>
          <a:xfrm>
            <a:off x="6889842" y="1304727"/>
            <a:ext cx="73875" cy="102120"/>
          </a:xfrm>
          <a:custGeom>
            <a:avLst/>
            <a:gdLst/>
            <a:ahLst/>
            <a:cxnLst/>
            <a:rect l="0" t="0" r="0" b="0"/>
            <a:pathLst>
              <a:path w="6715919" h="9283700">
                <a:moveTo>
                  <a:pt x="762794" y="6342261"/>
                </a:moveTo>
                <a:cubicBezTo>
                  <a:pt x="866114" y="7132572"/>
                  <a:pt x="1122429" y="7712935"/>
                  <a:pt x="1531739" y="8083352"/>
                </a:cubicBezTo>
                <a:cubicBezTo>
                  <a:pt x="1941050" y="8453636"/>
                  <a:pt x="2536362" y="8638779"/>
                  <a:pt x="3317677" y="8638779"/>
                </a:cubicBezTo>
                <a:cubicBezTo>
                  <a:pt x="4132064" y="8638779"/>
                  <a:pt x="4774870" y="8324123"/>
                  <a:pt x="5246092" y="7694811"/>
                </a:cubicBezTo>
                <a:cubicBezTo>
                  <a:pt x="5717447" y="7065500"/>
                  <a:pt x="5953125" y="6223000"/>
                  <a:pt x="5953125" y="5167313"/>
                </a:cubicBezTo>
                <a:lnTo>
                  <a:pt x="5953125" y="4943674"/>
                </a:lnTo>
                <a:lnTo>
                  <a:pt x="2182813" y="4943674"/>
                </a:lnTo>
                <a:lnTo>
                  <a:pt x="2182813" y="4292600"/>
                </a:lnTo>
                <a:lnTo>
                  <a:pt x="5953125" y="4292600"/>
                </a:lnTo>
                <a:lnTo>
                  <a:pt x="5953125" y="4069358"/>
                </a:lnTo>
                <a:cubicBezTo>
                  <a:pt x="5953125" y="3022931"/>
                  <a:pt x="5711296" y="2191610"/>
                  <a:pt x="5227638" y="1575396"/>
                </a:cubicBezTo>
                <a:cubicBezTo>
                  <a:pt x="4743979" y="959181"/>
                  <a:pt x="4090789" y="651074"/>
                  <a:pt x="3268067" y="651074"/>
                </a:cubicBezTo>
                <a:cubicBezTo>
                  <a:pt x="1788120" y="651074"/>
                  <a:pt x="953029" y="1418696"/>
                  <a:pt x="762794" y="2953941"/>
                </a:cubicBezTo>
                <a:lnTo>
                  <a:pt x="0" y="2953941"/>
                </a:lnTo>
                <a:cubicBezTo>
                  <a:pt x="91017" y="2018904"/>
                  <a:pt x="419695" y="1292821"/>
                  <a:pt x="986036" y="775693"/>
                </a:cubicBezTo>
                <a:cubicBezTo>
                  <a:pt x="1552377" y="258565"/>
                  <a:pt x="2313054" y="0"/>
                  <a:pt x="3268067" y="0"/>
                </a:cubicBezTo>
                <a:cubicBezTo>
                  <a:pt x="4305763" y="0"/>
                  <a:pt x="5139796" y="371343"/>
                  <a:pt x="5770166" y="1114029"/>
                </a:cubicBezTo>
                <a:cubicBezTo>
                  <a:pt x="6400668" y="1856582"/>
                  <a:pt x="6715919" y="2862925"/>
                  <a:pt x="6715919" y="4133057"/>
                </a:cubicBezTo>
                <a:lnTo>
                  <a:pt x="6715919" y="5212755"/>
                </a:lnTo>
                <a:cubicBezTo>
                  <a:pt x="6715919" y="6015369"/>
                  <a:pt x="6574300" y="6728024"/>
                  <a:pt x="6291064" y="7350721"/>
                </a:cubicBezTo>
                <a:cubicBezTo>
                  <a:pt x="6007960" y="7973285"/>
                  <a:pt x="5609035" y="8451123"/>
                  <a:pt x="5094288" y="8784233"/>
                </a:cubicBezTo>
                <a:cubicBezTo>
                  <a:pt x="4579673" y="9117211"/>
                  <a:pt x="3987470" y="9283700"/>
                  <a:pt x="3317677" y="9283700"/>
                </a:cubicBezTo>
                <a:cubicBezTo>
                  <a:pt x="2350360" y="9283700"/>
                  <a:pt x="1579364" y="9029304"/>
                  <a:pt x="1004689" y="8520510"/>
                </a:cubicBezTo>
                <a:cubicBezTo>
                  <a:pt x="430014" y="8011584"/>
                  <a:pt x="95118" y="7285501"/>
                  <a:pt x="0" y="634226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57" name="Freeform 2257"/>
          <p:cNvSpPr/>
          <p:nvPr/>
        </p:nvSpPr>
        <p:spPr>
          <a:xfrm>
            <a:off x="6983614" y="13316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58" name="Freeform 2258"/>
          <p:cNvSpPr/>
          <p:nvPr/>
        </p:nvSpPr>
        <p:spPr>
          <a:xfrm>
            <a:off x="7057078" y="13302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59" name="Freeform 2259"/>
          <p:cNvSpPr/>
          <p:nvPr/>
        </p:nvSpPr>
        <p:spPr>
          <a:xfrm>
            <a:off x="7133596" y="13302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60" name="Freeform 2260"/>
          <p:cNvSpPr/>
          <p:nvPr/>
        </p:nvSpPr>
        <p:spPr>
          <a:xfrm>
            <a:off x="7211536" y="1331690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61" name="Freeform 2261"/>
          <p:cNvSpPr/>
          <p:nvPr/>
        </p:nvSpPr>
        <p:spPr>
          <a:xfrm>
            <a:off x="7264114" y="13302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62" name="Freeform 2262"/>
          <p:cNvSpPr/>
          <p:nvPr/>
        </p:nvSpPr>
        <p:spPr>
          <a:xfrm>
            <a:off x="7332088" y="13316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63" name="Freeform 2263"/>
          <p:cNvSpPr/>
          <p:nvPr/>
        </p:nvSpPr>
        <p:spPr>
          <a:xfrm>
            <a:off x="7406905" y="13316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64" name="Freeform 2264"/>
          <p:cNvSpPr/>
          <p:nvPr/>
        </p:nvSpPr>
        <p:spPr>
          <a:xfrm>
            <a:off x="7485348" y="13316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65" name="Freeform 2265"/>
          <p:cNvSpPr/>
          <p:nvPr/>
        </p:nvSpPr>
        <p:spPr>
          <a:xfrm>
            <a:off x="7553414" y="13302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66" name="Rectangle 2266"/>
          <p:cNvSpPr/>
          <p:nvPr/>
        </p:nvSpPr>
        <p:spPr>
          <a:xfrm>
            <a:off x="6865825" y="2194561"/>
            <a:ext cx="972032" cy="167639"/>
          </a:xfrm>
          <a:prstGeom prst="rect">
            <a:avLst/>
          </a:prstGeom>
        </p:spPr>
      </p:sp>
      <p:sp>
        <p:nvSpPr>
          <p:cNvPr id="2267" name="Freeform 2267"/>
          <p:cNvSpPr/>
          <p:nvPr/>
        </p:nvSpPr>
        <p:spPr>
          <a:xfrm>
            <a:off x="6874761" y="2226553"/>
            <a:ext cx="73942" cy="102120"/>
          </a:xfrm>
          <a:custGeom>
            <a:avLst/>
            <a:gdLst/>
            <a:ahLst/>
            <a:cxnLst/>
            <a:rect l="0" t="0" r="0" b="0"/>
            <a:pathLst>
              <a:path w="6722070" h="9283700">
                <a:moveTo>
                  <a:pt x="6722070" y="6344246"/>
                </a:moveTo>
                <a:cubicBezTo>
                  <a:pt x="6618750" y="7295158"/>
                  <a:pt x="6278695" y="8022829"/>
                  <a:pt x="5701903" y="8527257"/>
                </a:cubicBezTo>
                <a:cubicBezTo>
                  <a:pt x="5125243" y="9031553"/>
                  <a:pt x="4357357" y="9283700"/>
                  <a:pt x="3398242" y="9283700"/>
                </a:cubicBezTo>
                <a:cubicBezTo>
                  <a:pt x="2728449" y="9283700"/>
                  <a:pt x="2136179" y="9116153"/>
                  <a:pt x="1621432" y="8781058"/>
                </a:cubicBezTo>
                <a:cubicBezTo>
                  <a:pt x="1106818" y="8445964"/>
                  <a:pt x="708951" y="7971235"/>
                  <a:pt x="427831" y="7356872"/>
                </a:cubicBezTo>
                <a:cubicBezTo>
                  <a:pt x="146711" y="6742510"/>
                  <a:pt x="4101" y="6040240"/>
                  <a:pt x="0" y="5250061"/>
                </a:cubicBezTo>
                <a:lnTo>
                  <a:pt x="0" y="4077097"/>
                </a:lnTo>
                <a:cubicBezTo>
                  <a:pt x="0" y="3274484"/>
                  <a:pt x="140560" y="2562887"/>
                  <a:pt x="421679" y="1942307"/>
                </a:cubicBezTo>
                <a:cubicBezTo>
                  <a:pt x="702799" y="1321727"/>
                  <a:pt x="1106884" y="842897"/>
                  <a:pt x="1633934" y="505818"/>
                </a:cubicBezTo>
                <a:cubicBezTo>
                  <a:pt x="2161116" y="168606"/>
                  <a:pt x="2767806" y="0"/>
                  <a:pt x="3454003" y="0"/>
                </a:cubicBezTo>
                <a:cubicBezTo>
                  <a:pt x="4421452" y="0"/>
                  <a:pt x="5185238" y="261475"/>
                  <a:pt x="5745361" y="784424"/>
                </a:cubicBezTo>
                <a:cubicBezTo>
                  <a:pt x="6305484" y="1307373"/>
                  <a:pt x="6631053" y="2029818"/>
                  <a:pt x="6722070" y="2951758"/>
                </a:cubicBezTo>
                <a:lnTo>
                  <a:pt x="5953125" y="2951758"/>
                </a:lnTo>
                <a:cubicBezTo>
                  <a:pt x="5762889" y="1417969"/>
                  <a:pt x="4929849" y="651074"/>
                  <a:pt x="3454003" y="651074"/>
                </a:cubicBezTo>
                <a:cubicBezTo>
                  <a:pt x="2635514" y="651074"/>
                  <a:pt x="1983382" y="957263"/>
                  <a:pt x="1497607" y="1569641"/>
                </a:cubicBezTo>
                <a:cubicBezTo>
                  <a:pt x="1011832" y="2182019"/>
                  <a:pt x="768945" y="3028157"/>
                  <a:pt x="768945" y="4108054"/>
                </a:cubicBezTo>
                <a:lnTo>
                  <a:pt x="768945" y="5212755"/>
                </a:lnTo>
                <a:cubicBezTo>
                  <a:pt x="768945" y="6255478"/>
                  <a:pt x="1005615" y="7087196"/>
                  <a:pt x="1478954" y="7707908"/>
                </a:cubicBezTo>
                <a:cubicBezTo>
                  <a:pt x="1952294" y="8328488"/>
                  <a:pt x="2592057" y="8638779"/>
                  <a:pt x="3398242" y="8638779"/>
                </a:cubicBezTo>
                <a:cubicBezTo>
                  <a:pt x="4196093" y="8638779"/>
                  <a:pt x="4797557" y="8447617"/>
                  <a:pt x="5202634" y="8065294"/>
                </a:cubicBezTo>
                <a:cubicBezTo>
                  <a:pt x="5607843" y="7682839"/>
                  <a:pt x="5858007" y="7109156"/>
                  <a:pt x="5953125" y="6344246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68" name="Freeform 2268"/>
          <p:cNvSpPr/>
          <p:nvPr/>
        </p:nvSpPr>
        <p:spPr>
          <a:xfrm>
            <a:off x="6959218" y="225351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69" name="Freeform 2269"/>
          <p:cNvSpPr/>
          <p:nvPr/>
        </p:nvSpPr>
        <p:spPr>
          <a:xfrm>
            <a:off x="7033421" y="2252118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0" name="Freeform 2270"/>
          <p:cNvSpPr/>
          <p:nvPr/>
        </p:nvSpPr>
        <p:spPr>
          <a:xfrm>
            <a:off x="7106382" y="225211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1" name="Freeform 2271"/>
          <p:cNvSpPr/>
          <p:nvPr/>
        </p:nvSpPr>
        <p:spPr>
          <a:xfrm>
            <a:off x="7189660" y="225351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2" name="Freeform 2272"/>
          <p:cNvSpPr/>
          <p:nvPr/>
        </p:nvSpPr>
        <p:spPr>
          <a:xfrm>
            <a:off x="7259713" y="225351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3" name="Freeform 2273"/>
          <p:cNvSpPr/>
          <p:nvPr/>
        </p:nvSpPr>
        <p:spPr>
          <a:xfrm>
            <a:off x="7324034" y="225211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4" name="Freeform 2274"/>
          <p:cNvSpPr/>
          <p:nvPr/>
        </p:nvSpPr>
        <p:spPr>
          <a:xfrm>
            <a:off x="7392981" y="2253515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5" name="Freeform 2275"/>
          <p:cNvSpPr/>
          <p:nvPr/>
        </p:nvSpPr>
        <p:spPr>
          <a:xfrm>
            <a:off x="7480018" y="2253515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6" name="Freeform 2276"/>
          <p:cNvSpPr/>
          <p:nvPr/>
        </p:nvSpPr>
        <p:spPr>
          <a:xfrm>
            <a:off x="7549643" y="2252118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7" name="Freeform 2277"/>
          <p:cNvSpPr/>
          <p:nvPr/>
        </p:nvSpPr>
        <p:spPr>
          <a:xfrm>
            <a:off x="7617904" y="225351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8" name="Freeform 2278"/>
          <p:cNvSpPr/>
          <p:nvPr/>
        </p:nvSpPr>
        <p:spPr>
          <a:xfrm>
            <a:off x="7693060" y="2253515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79" name="Freeform 2279"/>
          <p:cNvSpPr/>
          <p:nvPr/>
        </p:nvSpPr>
        <p:spPr>
          <a:xfrm>
            <a:off x="7765765" y="225211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80" name="Rectangle 2280"/>
          <p:cNvSpPr/>
          <p:nvPr/>
        </p:nvSpPr>
        <p:spPr>
          <a:xfrm>
            <a:off x="201000" y="496102"/>
            <a:ext cx="5116304" cy="798195"/>
          </a:xfrm>
          <a:prstGeom prst="rect">
            <a:avLst/>
          </a:prstGeom>
        </p:spPr>
      </p:sp>
      <p:sp>
        <p:nvSpPr>
          <p:cNvPr id="2281" name="Freeform 2281"/>
          <p:cNvSpPr/>
          <p:nvPr/>
        </p:nvSpPr>
        <p:spPr>
          <a:xfrm>
            <a:off x="214383" y="535561"/>
            <a:ext cx="75535" cy="117386"/>
          </a:xfrm>
          <a:custGeom>
            <a:avLst/>
            <a:gdLst/>
            <a:ahLst/>
            <a:cxnLst/>
            <a:rect l="0" t="0" r="0" b="0"/>
            <a:pathLst>
              <a:path w="5810449" h="9029700">
                <a:moveTo>
                  <a:pt x="5810449" y="9029700"/>
                </a:moveTo>
                <a:lnTo>
                  <a:pt x="4669433" y="9029700"/>
                </a:lnTo>
                <a:lnTo>
                  <a:pt x="4669433" y="979885"/>
                </a:lnTo>
                <a:lnTo>
                  <a:pt x="1134666" y="979885"/>
                </a:lnTo>
                <a:lnTo>
                  <a:pt x="1134666" y="9029700"/>
                </a:lnTo>
                <a:lnTo>
                  <a:pt x="0" y="9029700"/>
                </a:lnTo>
                <a:lnTo>
                  <a:pt x="0" y="0"/>
                </a:lnTo>
                <a:lnTo>
                  <a:pt x="581044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82" name="Freeform 2282"/>
          <p:cNvSpPr/>
          <p:nvPr/>
        </p:nvSpPr>
        <p:spPr>
          <a:xfrm>
            <a:off x="314083" y="564123"/>
            <a:ext cx="62962" cy="122339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83" name="Freeform 2283"/>
          <p:cNvSpPr/>
          <p:nvPr/>
        </p:nvSpPr>
        <p:spPr>
          <a:xfrm>
            <a:off x="392415" y="564123"/>
            <a:ext cx="67474" cy="9047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84" name="Freeform 2284"/>
          <p:cNvSpPr/>
          <p:nvPr/>
        </p:nvSpPr>
        <p:spPr>
          <a:xfrm>
            <a:off x="475452" y="564123"/>
            <a:ext cx="62879" cy="9047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85" name="Freeform 2285"/>
          <p:cNvSpPr/>
          <p:nvPr/>
        </p:nvSpPr>
        <p:spPr>
          <a:xfrm>
            <a:off x="556749" y="565774"/>
            <a:ext cx="64252" cy="87172"/>
          </a:xfrm>
          <a:custGeom>
            <a:avLst/>
            <a:gdLst/>
            <a:ahLst/>
            <a:cxnLst/>
            <a:rect l="0" t="0" r="0" b="0"/>
            <a:pathLst>
              <a:path w="4942482" h="6705600">
                <a:moveTo>
                  <a:pt x="1717873" y="3842941"/>
                </a:moveTo>
                <a:lnTo>
                  <a:pt x="1097756" y="3842941"/>
                </a:lnTo>
                <a:lnTo>
                  <a:pt x="109775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756" y="0"/>
                </a:lnTo>
                <a:lnTo>
                  <a:pt x="1097756" y="2832100"/>
                </a:lnTo>
                <a:lnTo>
                  <a:pt x="1643459" y="2832100"/>
                </a:lnTo>
                <a:lnTo>
                  <a:pt x="3472656" y="0"/>
                </a:lnTo>
                <a:lnTo>
                  <a:pt x="4781153" y="0"/>
                </a:lnTo>
                <a:lnTo>
                  <a:pt x="2542579" y="3185518"/>
                </a:lnTo>
                <a:lnTo>
                  <a:pt x="4942482" y="6705600"/>
                </a:lnTo>
                <a:lnTo>
                  <a:pt x="3565723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86" name="Freeform 2286"/>
          <p:cNvSpPr/>
          <p:nvPr/>
        </p:nvSpPr>
        <p:spPr>
          <a:xfrm>
            <a:off x="628175" y="565774"/>
            <a:ext cx="61427" cy="87172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87" name="Freeform 2287"/>
          <p:cNvSpPr/>
          <p:nvPr/>
        </p:nvSpPr>
        <p:spPr>
          <a:xfrm>
            <a:off x="735420" y="596978"/>
            <a:ext cx="33293" cy="12173"/>
          </a:xfrm>
          <a:custGeom>
            <a:avLst/>
            <a:gdLst/>
            <a:ahLst/>
            <a:cxnLst/>
            <a:rect l="0" t="0" r="0" b="0"/>
            <a:pathLst>
              <a:path w="2561035" h="936427">
                <a:moveTo>
                  <a:pt x="2561035" y="936427"/>
                </a:moveTo>
                <a:lnTo>
                  <a:pt x="0" y="936427"/>
                </a:lnTo>
                <a:lnTo>
                  <a:pt x="0" y="0"/>
                </a:lnTo>
                <a:lnTo>
                  <a:pt x="256103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88" name="Freeform 2288"/>
          <p:cNvSpPr/>
          <p:nvPr/>
        </p:nvSpPr>
        <p:spPr>
          <a:xfrm>
            <a:off x="813851" y="535561"/>
            <a:ext cx="88354" cy="117386"/>
          </a:xfrm>
          <a:custGeom>
            <a:avLst/>
            <a:gdLst/>
            <a:ahLst/>
            <a:cxnLst/>
            <a:rect l="0" t="0" r="0" b="0"/>
            <a:pathLst>
              <a:path w="6796484" h="9029700">
                <a:moveTo>
                  <a:pt x="4917479" y="6669485"/>
                </a:moveTo>
                <a:lnTo>
                  <a:pt x="1866503" y="6669485"/>
                </a:lnTo>
                <a:lnTo>
                  <a:pt x="1165820" y="9029700"/>
                </a:lnTo>
                <a:lnTo>
                  <a:pt x="0" y="9029700"/>
                </a:lnTo>
                <a:lnTo>
                  <a:pt x="2908300" y="0"/>
                </a:lnTo>
                <a:lnTo>
                  <a:pt x="3881834" y="0"/>
                </a:lnTo>
                <a:lnTo>
                  <a:pt x="6796484" y="9029700"/>
                </a:lnTo>
                <a:lnTo>
                  <a:pt x="5630664" y="9029700"/>
                </a:lnTo>
                <a:close/>
                <a:moveTo>
                  <a:pt x="2164159" y="5689600"/>
                </a:moveTo>
                <a:lnTo>
                  <a:pt x="4625975" y="5689600"/>
                </a:lnTo>
                <a:lnTo>
                  <a:pt x="3392090" y="158769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89" name="Freeform 2289"/>
          <p:cNvSpPr/>
          <p:nvPr/>
        </p:nvSpPr>
        <p:spPr>
          <a:xfrm>
            <a:off x="905543" y="565774"/>
            <a:ext cx="61427" cy="87172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0" name="Freeform 2290"/>
          <p:cNvSpPr/>
          <p:nvPr/>
        </p:nvSpPr>
        <p:spPr>
          <a:xfrm>
            <a:off x="969347" y="565774"/>
            <a:ext cx="67556" cy="87172"/>
          </a:xfrm>
          <a:custGeom>
            <a:avLst/>
            <a:gdLst/>
            <a:ahLst/>
            <a:cxnLst/>
            <a:rect l="0" t="0" r="0" b="0"/>
            <a:pathLst>
              <a:path w="5196681" h="6705600">
                <a:moveTo>
                  <a:pt x="5196681" y="0"/>
                </a:moveTo>
                <a:lnTo>
                  <a:pt x="5196681" y="6705600"/>
                </a:lnTo>
                <a:lnTo>
                  <a:pt x="4099123" y="6705600"/>
                </a:lnTo>
                <a:lnTo>
                  <a:pt x="4099123" y="948730"/>
                </a:lnTo>
                <a:lnTo>
                  <a:pt x="2331640" y="948730"/>
                </a:lnTo>
                <a:lnTo>
                  <a:pt x="2226270" y="3223022"/>
                </a:lnTo>
                <a:cubicBezTo>
                  <a:pt x="2168459" y="4482968"/>
                  <a:pt x="1998993" y="5376334"/>
                  <a:pt x="1717873" y="5903119"/>
                </a:cubicBezTo>
                <a:cubicBezTo>
                  <a:pt x="1436753" y="6429905"/>
                  <a:pt x="986102" y="6697398"/>
                  <a:pt x="365918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279201" y="5669955"/>
                </a:lnTo>
                <a:cubicBezTo>
                  <a:pt x="585060" y="5628680"/>
                  <a:pt x="801026" y="5423165"/>
                  <a:pt x="927100" y="5053410"/>
                </a:cubicBezTo>
                <a:cubicBezTo>
                  <a:pt x="1053174" y="4683655"/>
                  <a:pt x="1136914" y="3955521"/>
                  <a:pt x="1178322" y="2869010"/>
                </a:cubicBezTo>
                <a:lnTo>
                  <a:pt x="128369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1" name="Freeform 2291"/>
          <p:cNvSpPr/>
          <p:nvPr/>
        </p:nvSpPr>
        <p:spPr>
          <a:xfrm>
            <a:off x="1057980" y="564123"/>
            <a:ext cx="61185" cy="9047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2" name="Freeform 2292"/>
          <p:cNvSpPr/>
          <p:nvPr/>
        </p:nvSpPr>
        <p:spPr>
          <a:xfrm>
            <a:off x="1135610" y="564123"/>
            <a:ext cx="62719" cy="90474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3" name="Freeform 2293"/>
          <p:cNvSpPr/>
          <p:nvPr/>
        </p:nvSpPr>
        <p:spPr>
          <a:xfrm>
            <a:off x="1253721" y="565774"/>
            <a:ext cx="59977" cy="87172"/>
          </a:xfrm>
          <a:custGeom>
            <a:avLst/>
            <a:gdLst/>
            <a:ahLst/>
            <a:cxnLst/>
            <a:rect l="0" t="0" r="0" b="0"/>
            <a:pathLst>
              <a:path w="4613672" h="6705600">
                <a:moveTo>
                  <a:pt x="4613672" y="6705600"/>
                </a:moveTo>
                <a:lnTo>
                  <a:pt x="3522266" y="6705600"/>
                </a:lnTo>
                <a:lnTo>
                  <a:pt x="3522266" y="3844727"/>
                </a:lnTo>
                <a:lnTo>
                  <a:pt x="1103908" y="3844727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03908" y="0"/>
                </a:lnTo>
                <a:lnTo>
                  <a:pt x="1103908" y="2908300"/>
                </a:lnTo>
                <a:lnTo>
                  <a:pt x="3522266" y="2908300"/>
                </a:lnTo>
                <a:lnTo>
                  <a:pt x="3522266" y="0"/>
                </a:lnTo>
                <a:lnTo>
                  <a:pt x="461367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4" name="Freeform 2294"/>
          <p:cNvSpPr/>
          <p:nvPr/>
        </p:nvSpPr>
        <p:spPr>
          <a:xfrm>
            <a:off x="1333320" y="564123"/>
            <a:ext cx="67474" cy="9047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5" name="Freeform 2295"/>
          <p:cNvSpPr/>
          <p:nvPr/>
        </p:nvSpPr>
        <p:spPr>
          <a:xfrm>
            <a:off x="1420307" y="565774"/>
            <a:ext cx="62557" cy="87172"/>
          </a:xfrm>
          <a:custGeom>
            <a:avLst/>
            <a:gdLst/>
            <a:ahLst/>
            <a:cxnLst/>
            <a:rect l="0" t="0" r="0" b="0"/>
            <a:pathLst>
              <a:path w="4812109" h="6705600">
                <a:moveTo>
                  <a:pt x="0" y="6705600"/>
                </a:moveTo>
                <a:lnTo>
                  <a:pt x="0" y="0"/>
                </a:lnTo>
                <a:lnTo>
                  <a:pt x="2251075" y="0"/>
                </a:lnTo>
                <a:cubicBezTo>
                  <a:pt x="3019954" y="0"/>
                  <a:pt x="3606932" y="157030"/>
                  <a:pt x="4012009" y="471091"/>
                </a:cubicBezTo>
                <a:cubicBezTo>
                  <a:pt x="4417219" y="785151"/>
                  <a:pt x="4619823" y="1241756"/>
                  <a:pt x="4619823" y="1840905"/>
                </a:cubicBezTo>
                <a:cubicBezTo>
                  <a:pt x="4619823" y="2150732"/>
                  <a:pt x="4539191" y="2429603"/>
                  <a:pt x="4377928" y="2677518"/>
                </a:cubicBezTo>
                <a:cubicBezTo>
                  <a:pt x="4216797" y="2925432"/>
                  <a:pt x="3981185" y="3115536"/>
                  <a:pt x="3671094" y="3247827"/>
                </a:cubicBezTo>
                <a:cubicBezTo>
                  <a:pt x="4014258" y="3338711"/>
                  <a:pt x="4290219" y="3522597"/>
                  <a:pt x="4498975" y="3799483"/>
                </a:cubicBezTo>
                <a:cubicBezTo>
                  <a:pt x="4707731" y="4076238"/>
                  <a:pt x="4812109" y="4410803"/>
                  <a:pt x="4812109" y="4803180"/>
                </a:cubicBezTo>
                <a:cubicBezTo>
                  <a:pt x="4812109" y="5422834"/>
                  <a:pt x="4618831" y="5894851"/>
                  <a:pt x="4232275" y="6219230"/>
                </a:cubicBezTo>
                <a:cubicBezTo>
                  <a:pt x="3845719" y="6543477"/>
                  <a:pt x="3299023" y="6705600"/>
                  <a:pt x="2592189" y="6705600"/>
                </a:cubicBezTo>
                <a:close/>
                <a:moveTo>
                  <a:pt x="1091406" y="3762574"/>
                </a:moveTo>
                <a:lnTo>
                  <a:pt x="1091406" y="5781675"/>
                </a:lnTo>
                <a:lnTo>
                  <a:pt x="2604492" y="5781675"/>
                </a:lnTo>
                <a:cubicBezTo>
                  <a:pt x="3344532" y="5781675"/>
                  <a:pt x="3714552" y="5443075"/>
                  <a:pt x="3714552" y="4765874"/>
                </a:cubicBezTo>
                <a:cubicBezTo>
                  <a:pt x="3714552" y="4097007"/>
                  <a:pt x="3340431" y="3762574"/>
                  <a:pt x="2592189" y="3762574"/>
                </a:cubicBezTo>
                <a:close/>
                <a:moveTo>
                  <a:pt x="1091406" y="2844800"/>
                </a:moveTo>
                <a:lnTo>
                  <a:pt x="2238573" y="2844800"/>
                </a:lnTo>
                <a:cubicBezTo>
                  <a:pt x="3094368" y="2844800"/>
                  <a:pt x="3522266" y="2530872"/>
                  <a:pt x="3522266" y="1903016"/>
                </a:cubicBezTo>
                <a:cubicBezTo>
                  <a:pt x="3522266" y="1271059"/>
                  <a:pt x="3119173" y="946812"/>
                  <a:pt x="2312987" y="930275"/>
                </a:cubicBezTo>
                <a:lnTo>
                  <a:pt x="109140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6" name="Freeform 2296"/>
          <p:cNvSpPr/>
          <p:nvPr/>
        </p:nvSpPr>
        <p:spPr>
          <a:xfrm>
            <a:off x="1503352" y="565774"/>
            <a:ext cx="86097" cy="87172"/>
          </a:xfrm>
          <a:custGeom>
            <a:avLst/>
            <a:gdLst/>
            <a:ahLst/>
            <a:cxnLst/>
            <a:rect l="0" t="0" r="0" b="0"/>
            <a:pathLst>
              <a:path w="6622852" h="6705600">
                <a:moveTo>
                  <a:pt x="1091406" y="2311400"/>
                </a:moveTo>
                <a:lnTo>
                  <a:pt x="2474317" y="2311400"/>
                </a:lnTo>
                <a:cubicBezTo>
                  <a:pt x="3115138" y="2315501"/>
                  <a:pt x="3625718" y="2511756"/>
                  <a:pt x="4006056" y="2900165"/>
                </a:cubicBezTo>
                <a:cubicBezTo>
                  <a:pt x="4386395" y="3288573"/>
                  <a:pt x="4576564" y="3817475"/>
                  <a:pt x="4576564" y="4486871"/>
                </a:cubicBezTo>
                <a:cubicBezTo>
                  <a:pt x="4576564" y="5156134"/>
                  <a:pt x="4384278" y="5692246"/>
                  <a:pt x="3999706" y="6095207"/>
                </a:cubicBezTo>
                <a:cubicBezTo>
                  <a:pt x="3615266" y="6498035"/>
                  <a:pt x="3106804" y="6701499"/>
                  <a:pt x="247431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091406" y="0"/>
                </a:lnTo>
                <a:close/>
                <a:moveTo>
                  <a:pt x="6622852" y="6705600"/>
                </a:moveTo>
                <a:lnTo>
                  <a:pt x="5525294" y="6705600"/>
                </a:lnTo>
                <a:lnTo>
                  <a:pt x="5525294" y="0"/>
                </a:lnTo>
                <a:lnTo>
                  <a:pt x="6622852" y="0"/>
                </a:lnTo>
                <a:close/>
                <a:moveTo>
                  <a:pt x="1091406" y="3247827"/>
                </a:moveTo>
                <a:lnTo>
                  <a:pt x="1091406" y="5769174"/>
                </a:lnTo>
                <a:lnTo>
                  <a:pt x="2455664" y="5769174"/>
                </a:lnTo>
                <a:cubicBezTo>
                  <a:pt x="2778191" y="5769174"/>
                  <a:pt x="3029347" y="5659769"/>
                  <a:pt x="3209131" y="5440958"/>
                </a:cubicBezTo>
                <a:cubicBezTo>
                  <a:pt x="3388916" y="5222016"/>
                  <a:pt x="3478808" y="4918406"/>
                  <a:pt x="3478808" y="4530130"/>
                </a:cubicBezTo>
                <a:cubicBezTo>
                  <a:pt x="3478808" y="4150188"/>
                  <a:pt x="3389908" y="3842544"/>
                  <a:pt x="3212108" y="3607197"/>
                </a:cubicBezTo>
                <a:cubicBezTo>
                  <a:pt x="3034440" y="3371718"/>
                  <a:pt x="2790560" y="3251928"/>
                  <a:pt x="2480469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7" name="Freeform 2297"/>
          <p:cNvSpPr/>
          <p:nvPr/>
        </p:nvSpPr>
        <p:spPr>
          <a:xfrm>
            <a:off x="1607716" y="565774"/>
            <a:ext cx="63687" cy="87172"/>
          </a:xfrm>
          <a:custGeom>
            <a:avLst/>
            <a:gdLst/>
            <a:ahLst/>
            <a:cxnLst/>
            <a:rect l="0" t="0" r="0" b="0"/>
            <a:pathLst>
              <a:path w="4899025" h="6705600">
                <a:moveTo>
                  <a:pt x="2437011" y="2447925"/>
                </a:moveTo>
                <a:lnTo>
                  <a:pt x="3584377" y="0"/>
                </a:lnTo>
                <a:lnTo>
                  <a:pt x="4855568" y="0"/>
                </a:lnTo>
                <a:lnTo>
                  <a:pt x="3032324" y="3315494"/>
                </a:lnTo>
                <a:lnTo>
                  <a:pt x="4899025" y="6705600"/>
                </a:lnTo>
                <a:lnTo>
                  <a:pt x="3640138" y="6705600"/>
                </a:lnTo>
                <a:lnTo>
                  <a:pt x="2455665" y="4195565"/>
                </a:lnTo>
                <a:lnTo>
                  <a:pt x="1265040" y="6705600"/>
                </a:lnTo>
                <a:lnTo>
                  <a:pt x="0" y="6705600"/>
                </a:lnTo>
                <a:lnTo>
                  <a:pt x="1866504" y="3315494"/>
                </a:lnTo>
                <a:lnTo>
                  <a:pt x="49610" y="0"/>
                </a:lnTo>
                <a:lnTo>
                  <a:pt x="13084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8" name="Freeform 2298"/>
          <p:cNvSpPr/>
          <p:nvPr/>
        </p:nvSpPr>
        <p:spPr>
          <a:xfrm>
            <a:off x="1725577" y="565774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4619823" y="6705600"/>
                </a:moveTo>
                <a:lnTo>
                  <a:pt x="3528417" y="6705600"/>
                </a:lnTo>
                <a:lnTo>
                  <a:pt x="3528417" y="948730"/>
                </a:lnTo>
                <a:lnTo>
                  <a:pt x="1103908" y="948730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461982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299" name="Freeform 2299"/>
          <p:cNvSpPr/>
          <p:nvPr/>
        </p:nvSpPr>
        <p:spPr>
          <a:xfrm>
            <a:off x="1808403" y="564123"/>
            <a:ext cx="62962" cy="122339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0" name="Freeform 2300"/>
          <p:cNvSpPr/>
          <p:nvPr/>
        </p:nvSpPr>
        <p:spPr>
          <a:xfrm>
            <a:off x="1886735" y="564123"/>
            <a:ext cx="67474" cy="9047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1" name="Freeform 2301"/>
          <p:cNvSpPr/>
          <p:nvPr/>
        </p:nvSpPr>
        <p:spPr>
          <a:xfrm>
            <a:off x="1969853" y="529122"/>
            <a:ext cx="87629" cy="157340"/>
          </a:xfrm>
          <a:custGeom>
            <a:avLst/>
            <a:gdLst/>
            <a:ahLst/>
            <a:cxnLst/>
            <a:rect l="0" t="0" r="0" b="0"/>
            <a:pathLst>
              <a:path w="6740723" h="12103100">
                <a:moveTo>
                  <a:pt x="0" y="6293049"/>
                </a:moveTo>
                <a:cubicBezTo>
                  <a:pt x="0" y="5177565"/>
                  <a:pt x="181901" y="4298620"/>
                  <a:pt x="545703" y="3656211"/>
                </a:cubicBezTo>
                <a:cubicBezTo>
                  <a:pt x="909505" y="3013671"/>
                  <a:pt x="1411816" y="2692400"/>
                  <a:pt x="2052637" y="2692400"/>
                </a:cubicBezTo>
                <a:cubicBezTo>
                  <a:pt x="2317220" y="2692400"/>
                  <a:pt x="2556999" y="2737909"/>
                  <a:pt x="2771973" y="2828925"/>
                </a:cubicBezTo>
                <a:lnTo>
                  <a:pt x="2771973" y="0"/>
                </a:lnTo>
                <a:lnTo>
                  <a:pt x="3869531" y="0"/>
                </a:lnTo>
                <a:lnTo>
                  <a:pt x="3869531" y="2866033"/>
                </a:lnTo>
                <a:cubicBezTo>
                  <a:pt x="4101041" y="2750278"/>
                  <a:pt x="4371843" y="2692400"/>
                  <a:pt x="4681934" y="2692400"/>
                </a:cubicBezTo>
                <a:cubicBezTo>
                  <a:pt x="5326856" y="2692400"/>
                  <a:pt x="5831218" y="3012613"/>
                  <a:pt x="6195020" y="3653036"/>
                </a:cubicBezTo>
                <a:cubicBezTo>
                  <a:pt x="6558822" y="4293328"/>
                  <a:pt x="6740723" y="5216724"/>
                  <a:pt x="6740723" y="6423224"/>
                </a:cubicBezTo>
                <a:cubicBezTo>
                  <a:pt x="6740723" y="7427186"/>
                  <a:pt x="6558822" y="8216305"/>
                  <a:pt x="6195020" y="8790583"/>
                </a:cubicBezTo>
                <a:cubicBezTo>
                  <a:pt x="5831218" y="9364861"/>
                  <a:pt x="5330957" y="9652000"/>
                  <a:pt x="4694237" y="9652000"/>
                </a:cubicBezTo>
                <a:cubicBezTo>
                  <a:pt x="4380044" y="9652000"/>
                  <a:pt x="4105143" y="9598289"/>
                  <a:pt x="3869531" y="9490869"/>
                </a:cubicBezTo>
                <a:lnTo>
                  <a:pt x="3869531" y="12103100"/>
                </a:lnTo>
                <a:lnTo>
                  <a:pt x="2771973" y="12103100"/>
                </a:lnTo>
                <a:lnTo>
                  <a:pt x="2771973" y="9521825"/>
                </a:lnTo>
                <a:cubicBezTo>
                  <a:pt x="2544564" y="9608608"/>
                  <a:pt x="2302735" y="9652000"/>
                  <a:pt x="2046486" y="9652000"/>
                </a:cubicBezTo>
                <a:cubicBezTo>
                  <a:pt x="1409766" y="9652000"/>
                  <a:pt x="909505" y="9361753"/>
                  <a:pt x="545703" y="8781257"/>
                </a:cubicBezTo>
                <a:cubicBezTo>
                  <a:pt x="181901" y="8200761"/>
                  <a:pt x="0" y="7371358"/>
                  <a:pt x="0" y="6293049"/>
                </a:cubicBezTo>
                <a:close/>
                <a:moveTo>
                  <a:pt x="5649317" y="6293049"/>
                </a:moveTo>
                <a:cubicBezTo>
                  <a:pt x="5649317" y="5450351"/>
                  <a:pt x="5535612" y="4796698"/>
                  <a:pt x="5308203" y="4332090"/>
                </a:cubicBezTo>
                <a:cubicBezTo>
                  <a:pt x="5080793" y="3867349"/>
                  <a:pt x="4760383" y="3634979"/>
                  <a:pt x="4346972" y="3634979"/>
                </a:cubicBezTo>
                <a:cubicBezTo>
                  <a:pt x="4169304" y="3634979"/>
                  <a:pt x="4010157" y="3665935"/>
                  <a:pt x="3869531" y="3727847"/>
                </a:cubicBezTo>
                <a:lnTo>
                  <a:pt x="3869531" y="8641160"/>
                </a:lnTo>
                <a:cubicBezTo>
                  <a:pt x="3997722" y="8690769"/>
                  <a:pt x="4161036" y="8715574"/>
                  <a:pt x="4359473" y="8715574"/>
                </a:cubicBezTo>
                <a:cubicBezTo>
                  <a:pt x="4768783" y="8715574"/>
                  <a:pt x="5086085" y="8517335"/>
                  <a:pt x="5311378" y="8120857"/>
                </a:cubicBezTo>
                <a:cubicBezTo>
                  <a:pt x="5536671" y="7724246"/>
                  <a:pt x="5649317" y="7114977"/>
                  <a:pt x="5649317" y="6293049"/>
                </a:cubicBezTo>
                <a:close/>
                <a:moveTo>
                  <a:pt x="1097558" y="6423025"/>
                </a:moveTo>
                <a:cubicBezTo>
                  <a:pt x="1097558" y="7183041"/>
                  <a:pt x="1201936" y="7755136"/>
                  <a:pt x="1410692" y="8139311"/>
                </a:cubicBezTo>
                <a:cubicBezTo>
                  <a:pt x="1619580" y="8523486"/>
                  <a:pt x="1926563" y="8715574"/>
                  <a:pt x="2331640" y="8715574"/>
                </a:cubicBezTo>
                <a:cubicBezTo>
                  <a:pt x="2497005" y="8715574"/>
                  <a:pt x="2643783" y="8692886"/>
                  <a:pt x="2771973" y="8647510"/>
                </a:cubicBezTo>
                <a:lnTo>
                  <a:pt x="2771973" y="3709393"/>
                </a:lnTo>
                <a:cubicBezTo>
                  <a:pt x="2623145" y="3659783"/>
                  <a:pt x="2480535" y="3634979"/>
                  <a:pt x="2344142" y="3634979"/>
                </a:cubicBezTo>
                <a:cubicBezTo>
                  <a:pt x="1934831" y="3634979"/>
                  <a:pt x="1624740" y="3859081"/>
                  <a:pt x="1413867" y="4307285"/>
                </a:cubicBezTo>
                <a:cubicBezTo>
                  <a:pt x="1202994" y="4755357"/>
                  <a:pt x="1097558" y="5460604"/>
                  <a:pt x="1097558" y="64230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2" name="Freeform 2302"/>
          <p:cNvSpPr/>
          <p:nvPr/>
        </p:nvSpPr>
        <p:spPr>
          <a:xfrm>
            <a:off x="2073455" y="564123"/>
            <a:ext cx="62879" cy="9047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3" name="Freeform 2303"/>
          <p:cNvSpPr/>
          <p:nvPr/>
        </p:nvSpPr>
        <p:spPr>
          <a:xfrm>
            <a:off x="2150480" y="564123"/>
            <a:ext cx="62719" cy="90474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4" name="Freeform 2304"/>
          <p:cNvSpPr/>
          <p:nvPr/>
        </p:nvSpPr>
        <p:spPr>
          <a:xfrm>
            <a:off x="2226591" y="564123"/>
            <a:ext cx="62719" cy="90474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5" name="Freeform 2305"/>
          <p:cNvSpPr/>
          <p:nvPr/>
        </p:nvSpPr>
        <p:spPr>
          <a:xfrm>
            <a:off x="2306894" y="565774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6" name="Freeform 2306"/>
          <p:cNvSpPr/>
          <p:nvPr/>
        </p:nvSpPr>
        <p:spPr>
          <a:xfrm>
            <a:off x="2390930" y="533892"/>
            <a:ext cx="60057" cy="119055"/>
          </a:xfrm>
          <a:custGeom>
            <a:avLst/>
            <a:gdLst/>
            <a:ahLst/>
            <a:cxnLst/>
            <a:rect l="0" t="0" r="0" b="0"/>
            <a:pathLst>
              <a:path w="4619823" h="9158089">
                <a:moveTo>
                  <a:pt x="3528417" y="2452489"/>
                </a:moveTo>
                <a:lnTo>
                  <a:pt x="4619823" y="2452489"/>
                </a:lnTo>
                <a:lnTo>
                  <a:pt x="4619823" y="9158089"/>
                </a:lnTo>
                <a:lnTo>
                  <a:pt x="3528417" y="9158089"/>
                </a:lnTo>
                <a:lnTo>
                  <a:pt x="3528417" y="4268391"/>
                </a:lnTo>
                <a:lnTo>
                  <a:pt x="1097558" y="9158089"/>
                </a:lnTo>
                <a:lnTo>
                  <a:pt x="0" y="9158089"/>
                </a:lnTo>
                <a:lnTo>
                  <a:pt x="0" y="2452489"/>
                </a:lnTo>
                <a:lnTo>
                  <a:pt x="1097558" y="2452489"/>
                </a:lnTo>
                <a:lnTo>
                  <a:pt x="1097558" y="7348538"/>
                </a:lnTo>
                <a:close/>
                <a:moveTo>
                  <a:pt x="4173339" y="0"/>
                </a:moveTo>
                <a:cubicBezTo>
                  <a:pt x="4173339" y="501121"/>
                  <a:pt x="4002815" y="903949"/>
                  <a:pt x="3661767" y="1208485"/>
                </a:cubicBezTo>
                <a:cubicBezTo>
                  <a:pt x="3320719" y="1512888"/>
                  <a:pt x="2873177" y="1665089"/>
                  <a:pt x="2319139" y="1665089"/>
                </a:cubicBezTo>
                <a:cubicBezTo>
                  <a:pt x="1765234" y="1665089"/>
                  <a:pt x="1316699" y="1511830"/>
                  <a:pt x="973534" y="1205310"/>
                </a:cubicBezTo>
                <a:cubicBezTo>
                  <a:pt x="630370" y="898790"/>
                  <a:pt x="458787" y="497020"/>
                  <a:pt x="458787" y="0"/>
                </a:cubicBezTo>
                <a:lnTo>
                  <a:pt x="1395214" y="0"/>
                </a:lnTo>
                <a:cubicBezTo>
                  <a:pt x="1395214" y="290380"/>
                  <a:pt x="1473729" y="517525"/>
                  <a:pt x="1630759" y="681435"/>
                </a:cubicBezTo>
                <a:cubicBezTo>
                  <a:pt x="1787922" y="845212"/>
                  <a:pt x="2017382" y="927100"/>
                  <a:pt x="2319139" y="927100"/>
                </a:cubicBezTo>
                <a:cubicBezTo>
                  <a:pt x="2608593" y="927100"/>
                  <a:pt x="2834944" y="846204"/>
                  <a:pt x="2998192" y="684411"/>
                </a:cubicBezTo>
                <a:cubicBezTo>
                  <a:pt x="3161572" y="522619"/>
                  <a:pt x="3243262" y="294482"/>
                  <a:pt x="3243262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7" name="Freeform 2307"/>
          <p:cNvSpPr/>
          <p:nvPr/>
        </p:nvSpPr>
        <p:spPr>
          <a:xfrm>
            <a:off x="2513498" y="535561"/>
            <a:ext cx="72473" cy="117386"/>
          </a:xfrm>
          <a:custGeom>
            <a:avLst/>
            <a:gdLst/>
            <a:ahLst/>
            <a:cxnLst/>
            <a:rect l="0" t="0" r="0" b="0"/>
            <a:pathLst>
              <a:path w="5574903" h="9029700">
                <a:moveTo>
                  <a:pt x="1134864" y="5494735"/>
                </a:moveTo>
                <a:lnTo>
                  <a:pt x="1134864" y="9029700"/>
                </a:lnTo>
                <a:lnTo>
                  <a:pt x="0" y="9029700"/>
                </a:lnTo>
                <a:lnTo>
                  <a:pt x="0" y="0"/>
                </a:lnTo>
                <a:lnTo>
                  <a:pt x="2877344" y="0"/>
                </a:lnTo>
                <a:cubicBezTo>
                  <a:pt x="3716602" y="0"/>
                  <a:pt x="4376010" y="251156"/>
                  <a:pt x="4855567" y="753468"/>
                </a:cubicBezTo>
                <a:cubicBezTo>
                  <a:pt x="5335124" y="1255779"/>
                  <a:pt x="5574903" y="1924580"/>
                  <a:pt x="5574903" y="2759869"/>
                </a:cubicBezTo>
                <a:cubicBezTo>
                  <a:pt x="5574903" y="3628100"/>
                  <a:pt x="5346501" y="4296834"/>
                  <a:pt x="4889698" y="4766072"/>
                </a:cubicBezTo>
                <a:cubicBezTo>
                  <a:pt x="4432895" y="5235311"/>
                  <a:pt x="3789032" y="5478198"/>
                  <a:pt x="2958108" y="5494735"/>
                </a:cubicBezTo>
                <a:close/>
                <a:moveTo>
                  <a:pt x="1134864" y="4521200"/>
                </a:moveTo>
                <a:lnTo>
                  <a:pt x="2877344" y="4521200"/>
                </a:lnTo>
                <a:cubicBezTo>
                  <a:pt x="3381772" y="4521200"/>
                  <a:pt x="3768328" y="4370322"/>
                  <a:pt x="4037012" y="4068565"/>
                </a:cubicBezTo>
                <a:cubicBezTo>
                  <a:pt x="4305697" y="3766675"/>
                  <a:pt x="4440039" y="3334544"/>
                  <a:pt x="4440039" y="2772172"/>
                </a:cubicBezTo>
                <a:cubicBezTo>
                  <a:pt x="4440039" y="2230571"/>
                  <a:pt x="4301530" y="1796455"/>
                  <a:pt x="4024511" y="1469827"/>
                </a:cubicBezTo>
                <a:cubicBezTo>
                  <a:pt x="3747624" y="1143199"/>
                  <a:pt x="3367352" y="979885"/>
                  <a:pt x="2883694" y="979885"/>
                </a:cubicBezTo>
                <a:lnTo>
                  <a:pt x="1134864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8" name="Freeform 2308"/>
          <p:cNvSpPr/>
          <p:nvPr/>
        </p:nvSpPr>
        <p:spPr>
          <a:xfrm>
            <a:off x="2605691" y="535561"/>
            <a:ext cx="77953" cy="117386"/>
          </a:xfrm>
          <a:custGeom>
            <a:avLst/>
            <a:gdLst/>
            <a:ahLst/>
            <a:cxnLst/>
            <a:rect l="0" t="0" r="0" b="0"/>
            <a:pathLst>
              <a:path w="5996385" h="9029700">
                <a:moveTo>
                  <a:pt x="1990527" y="4967288"/>
                </a:moveTo>
                <a:lnTo>
                  <a:pt x="1134666" y="4967288"/>
                </a:lnTo>
                <a:lnTo>
                  <a:pt x="1134666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34666" y="0"/>
                </a:lnTo>
                <a:lnTo>
                  <a:pt x="1134666" y="3975100"/>
                </a:lnTo>
                <a:lnTo>
                  <a:pt x="1829197" y="3975100"/>
                </a:lnTo>
                <a:lnTo>
                  <a:pt x="4371777" y="0"/>
                </a:lnTo>
                <a:lnTo>
                  <a:pt x="5785644" y="0"/>
                </a:lnTo>
                <a:lnTo>
                  <a:pt x="2920603" y="4359672"/>
                </a:lnTo>
                <a:lnTo>
                  <a:pt x="5996385" y="9029700"/>
                </a:lnTo>
                <a:lnTo>
                  <a:pt x="4607322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09" name="Freeform 2309"/>
          <p:cNvSpPr/>
          <p:nvPr/>
        </p:nvSpPr>
        <p:spPr>
          <a:xfrm>
            <a:off x="2730231" y="564123"/>
            <a:ext cx="67474" cy="9047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0" name="Freeform 2310"/>
          <p:cNvSpPr/>
          <p:nvPr/>
        </p:nvSpPr>
        <p:spPr>
          <a:xfrm>
            <a:off x="2807828" y="565774"/>
            <a:ext cx="63687" cy="87172"/>
          </a:xfrm>
          <a:custGeom>
            <a:avLst/>
            <a:gdLst/>
            <a:ahLst/>
            <a:cxnLst/>
            <a:rect l="0" t="0" r="0" b="0"/>
            <a:pathLst>
              <a:path w="4899025" h="6705600">
                <a:moveTo>
                  <a:pt x="2437011" y="2447925"/>
                </a:moveTo>
                <a:lnTo>
                  <a:pt x="3584377" y="0"/>
                </a:lnTo>
                <a:lnTo>
                  <a:pt x="4855568" y="0"/>
                </a:lnTo>
                <a:lnTo>
                  <a:pt x="3032324" y="3315494"/>
                </a:lnTo>
                <a:lnTo>
                  <a:pt x="4899025" y="6705600"/>
                </a:lnTo>
                <a:lnTo>
                  <a:pt x="3640138" y="6705600"/>
                </a:lnTo>
                <a:lnTo>
                  <a:pt x="2455665" y="4195565"/>
                </a:lnTo>
                <a:lnTo>
                  <a:pt x="1265040" y="6705600"/>
                </a:lnTo>
                <a:lnTo>
                  <a:pt x="0" y="6705600"/>
                </a:lnTo>
                <a:lnTo>
                  <a:pt x="1866504" y="3315494"/>
                </a:lnTo>
                <a:lnTo>
                  <a:pt x="49610" y="0"/>
                </a:lnTo>
                <a:lnTo>
                  <a:pt x="13084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1" name="Freeform 2311"/>
          <p:cNvSpPr/>
          <p:nvPr/>
        </p:nvSpPr>
        <p:spPr>
          <a:xfrm>
            <a:off x="2887881" y="565774"/>
            <a:ext cx="62557" cy="87172"/>
          </a:xfrm>
          <a:custGeom>
            <a:avLst/>
            <a:gdLst/>
            <a:ahLst/>
            <a:cxnLst/>
            <a:rect l="0" t="0" r="0" b="0"/>
            <a:pathLst>
              <a:path w="4812109" h="6705600">
                <a:moveTo>
                  <a:pt x="0" y="6705600"/>
                </a:moveTo>
                <a:lnTo>
                  <a:pt x="0" y="0"/>
                </a:lnTo>
                <a:lnTo>
                  <a:pt x="2251075" y="0"/>
                </a:lnTo>
                <a:cubicBezTo>
                  <a:pt x="3019954" y="0"/>
                  <a:pt x="3606932" y="157030"/>
                  <a:pt x="4012009" y="471091"/>
                </a:cubicBezTo>
                <a:cubicBezTo>
                  <a:pt x="4417219" y="785151"/>
                  <a:pt x="4619823" y="1241756"/>
                  <a:pt x="4619823" y="1840905"/>
                </a:cubicBezTo>
                <a:cubicBezTo>
                  <a:pt x="4619823" y="2150732"/>
                  <a:pt x="4539191" y="2429603"/>
                  <a:pt x="4377928" y="2677518"/>
                </a:cubicBezTo>
                <a:cubicBezTo>
                  <a:pt x="4216797" y="2925432"/>
                  <a:pt x="3981185" y="3115536"/>
                  <a:pt x="3671094" y="3247827"/>
                </a:cubicBezTo>
                <a:cubicBezTo>
                  <a:pt x="4014258" y="3338711"/>
                  <a:pt x="4290219" y="3522597"/>
                  <a:pt x="4498975" y="3799483"/>
                </a:cubicBezTo>
                <a:cubicBezTo>
                  <a:pt x="4707731" y="4076238"/>
                  <a:pt x="4812109" y="4410803"/>
                  <a:pt x="4812109" y="4803180"/>
                </a:cubicBezTo>
                <a:cubicBezTo>
                  <a:pt x="4812109" y="5422834"/>
                  <a:pt x="4618831" y="5894851"/>
                  <a:pt x="4232275" y="6219230"/>
                </a:cubicBezTo>
                <a:cubicBezTo>
                  <a:pt x="3845719" y="6543477"/>
                  <a:pt x="3299023" y="6705600"/>
                  <a:pt x="2592189" y="6705600"/>
                </a:cubicBezTo>
                <a:close/>
                <a:moveTo>
                  <a:pt x="1091406" y="3762574"/>
                </a:moveTo>
                <a:lnTo>
                  <a:pt x="1091406" y="5781675"/>
                </a:lnTo>
                <a:lnTo>
                  <a:pt x="2604492" y="5781675"/>
                </a:lnTo>
                <a:cubicBezTo>
                  <a:pt x="3344532" y="5781675"/>
                  <a:pt x="3714552" y="5443075"/>
                  <a:pt x="3714552" y="4765874"/>
                </a:cubicBezTo>
                <a:cubicBezTo>
                  <a:pt x="3714552" y="4097007"/>
                  <a:pt x="3340431" y="3762574"/>
                  <a:pt x="2592189" y="3762574"/>
                </a:cubicBezTo>
                <a:close/>
                <a:moveTo>
                  <a:pt x="1091406" y="2844800"/>
                </a:moveTo>
                <a:lnTo>
                  <a:pt x="2238573" y="2844800"/>
                </a:lnTo>
                <a:cubicBezTo>
                  <a:pt x="3094368" y="2844800"/>
                  <a:pt x="3522266" y="2530872"/>
                  <a:pt x="3522266" y="1903016"/>
                </a:cubicBezTo>
                <a:cubicBezTo>
                  <a:pt x="3522266" y="1271059"/>
                  <a:pt x="3119173" y="946812"/>
                  <a:pt x="2312987" y="930275"/>
                </a:cubicBezTo>
                <a:lnTo>
                  <a:pt x="109140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2" name="Freeform 2312"/>
          <p:cNvSpPr/>
          <p:nvPr/>
        </p:nvSpPr>
        <p:spPr>
          <a:xfrm>
            <a:off x="2968186" y="564123"/>
            <a:ext cx="61185" cy="9047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3" name="Freeform 2313"/>
          <p:cNvSpPr/>
          <p:nvPr/>
        </p:nvSpPr>
        <p:spPr>
          <a:xfrm>
            <a:off x="3041277" y="565774"/>
            <a:ext cx="61427" cy="87172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4" name="Freeform 2314"/>
          <p:cNvSpPr/>
          <p:nvPr/>
        </p:nvSpPr>
        <p:spPr>
          <a:xfrm>
            <a:off x="3118856" y="565774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5" name="Freeform 2315"/>
          <p:cNvSpPr/>
          <p:nvPr/>
        </p:nvSpPr>
        <p:spPr>
          <a:xfrm>
            <a:off x="3195315" y="565774"/>
            <a:ext cx="61427" cy="87172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6" name="Freeform 2316"/>
          <p:cNvSpPr/>
          <p:nvPr/>
        </p:nvSpPr>
        <p:spPr>
          <a:xfrm>
            <a:off x="3308106" y="533910"/>
            <a:ext cx="67796" cy="120192"/>
          </a:xfrm>
          <a:custGeom>
            <a:avLst/>
            <a:gdLst/>
            <a:ahLst/>
            <a:cxnLst/>
            <a:rect l="0" t="0" r="0" b="0"/>
            <a:pathLst>
              <a:path w="5215136" h="9245600">
                <a:moveTo>
                  <a:pt x="3435350" y="5657652"/>
                </a:moveTo>
                <a:cubicBezTo>
                  <a:pt x="3063346" y="6037991"/>
                  <a:pt x="2656152" y="6228160"/>
                  <a:pt x="2213769" y="6228160"/>
                </a:cubicBezTo>
                <a:cubicBezTo>
                  <a:pt x="1527440" y="6228160"/>
                  <a:pt x="986896" y="5952398"/>
                  <a:pt x="592138" y="5400874"/>
                </a:cubicBezTo>
                <a:cubicBezTo>
                  <a:pt x="197379" y="4849350"/>
                  <a:pt x="0" y="4112882"/>
                  <a:pt x="0" y="3191471"/>
                </a:cubicBezTo>
                <a:cubicBezTo>
                  <a:pt x="0" y="2596555"/>
                  <a:pt x="111588" y="2052241"/>
                  <a:pt x="334764" y="1558529"/>
                </a:cubicBezTo>
                <a:cubicBezTo>
                  <a:pt x="558073" y="1064816"/>
                  <a:pt x="869156" y="681633"/>
                  <a:pt x="1268016" y="408980"/>
                </a:cubicBezTo>
                <a:cubicBezTo>
                  <a:pt x="1667008" y="136327"/>
                  <a:pt x="2112500" y="0"/>
                  <a:pt x="2604492" y="0"/>
                </a:cubicBezTo>
                <a:cubicBezTo>
                  <a:pt x="3112889" y="0"/>
                  <a:pt x="3565525" y="150879"/>
                  <a:pt x="3962400" y="452636"/>
                </a:cubicBezTo>
                <a:cubicBezTo>
                  <a:pt x="4359275" y="754394"/>
                  <a:pt x="4667250" y="1187450"/>
                  <a:pt x="4886325" y="1751807"/>
                </a:cubicBezTo>
                <a:cubicBezTo>
                  <a:pt x="5105532" y="2316030"/>
                  <a:pt x="5215136" y="2957844"/>
                  <a:pt x="5215136" y="3677246"/>
                </a:cubicBezTo>
                <a:lnTo>
                  <a:pt x="5215136" y="4315818"/>
                </a:lnTo>
                <a:cubicBezTo>
                  <a:pt x="5215136" y="5853708"/>
                  <a:pt x="4877131" y="7055710"/>
                  <a:pt x="4201121" y="7921824"/>
                </a:cubicBezTo>
                <a:cubicBezTo>
                  <a:pt x="3525242" y="8787805"/>
                  <a:pt x="2567186" y="9229063"/>
                  <a:pt x="1326952" y="9245600"/>
                </a:cubicBezTo>
                <a:lnTo>
                  <a:pt x="1147167" y="9245600"/>
                </a:lnTo>
                <a:lnTo>
                  <a:pt x="1147167" y="7732515"/>
                </a:lnTo>
                <a:lnTo>
                  <a:pt x="1265039" y="7732515"/>
                </a:lnTo>
                <a:cubicBezTo>
                  <a:pt x="1951236" y="7728414"/>
                  <a:pt x="2466909" y="7550217"/>
                  <a:pt x="2812058" y="7197924"/>
                </a:cubicBezTo>
                <a:cubicBezTo>
                  <a:pt x="3157339" y="6845631"/>
                  <a:pt x="3365103" y="6332207"/>
                  <a:pt x="3435350" y="5657652"/>
                </a:cubicBezTo>
                <a:close/>
                <a:moveTo>
                  <a:pt x="2660253" y="4851400"/>
                </a:moveTo>
                <a:cubicBezTo>
                  <a:pt x="2999185" y="4851400"/>
                  <a:pt x="3265818" y="4620155"/>
                  <a:pt x="3460155" y="4157663"/>
                </a:cubicBezTo>
                <a:lnTo>
                  <a:pt x="3460155" y="3352602"/>
                </a:lnTo>
                <a:cubicBezTo>
                  <a:pt x="3460155" y="2762184"/>
                  <a:pt x="3379523" y="2298700"/>
                  <a:pt x="3218260" y="1962150"/>
                </a:cubicBezTo>
                <a:cubicBezTo>
                  <a:pt x="3057128" y="1625600"/>
                  <a:pt x="2848372" y="1457325"/>
                  <a:pt x="2591991" y="1457325"/>
                </a:cubicBezTo>
                <a:cubicBezTo>
                  <a:pt x="2339843" y="1457325"/>
                  <a:pt x="2136246" y="1623550"/>
                  <a:pt x="1981200" y="1955999"/>
                </a:cubicBezTo>
                <a:cubicBezTo>
                  <a:pt x="1826154" y="2288316"/>
                  <a:pt x="1748631" y="2693988"/>
                  <a:pt x="1748631" y="3173016"/>
                </a:cubicBezTo>
                <a:cubicBezTo>
                  <a:pt x="1748631" y="3693187"/>
                  <a:pt x="1829263" y="4102961"/>
                  <a:pt x="1990527" y="4402336"/>
                </a:cubicBezTo>
                <a:cubicBezTo>
                  <a:pt x="2151790" y="4701712"/>
                  <a:pt x="2375033" y="4851400"/>
                  <a:pt x="2660253" y="485140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7" name="Freeform 2317"/>
          <p:cNvSpPr/>
          <p:nvPr/>
        </p:nvSpPr>
        <p:spPr>
          <a:xfrm>
            <a:off x="3430422" y="565774"/>
            <a:ext cx="65941" cy="87172"/>
          </a:xfrm>
          <a:custGeom>
            <a:avLst/>
            <a:gdLst/>
            <a:ahLst/>
            <a:cxnLst/>
            <a:rect l="0" t="0" r="0" b="0"/>
            <a:pathLst>
              <a:path w="5072460" h="6705600">
                <a:moveTo>
                  <a:pt x="5072460" y="6705600"/>
                </a:moveTo>
                <a:lnTo>
                  <a:pt x="3317478" y="6705600"/>
                </a:lnTo>
                <a:lnTo>
                  <a:pt x="3317478" y="1463477"/>
                </a:lnTo>
                <a:lnTo>
                  <a:pt x="1761133" y="1463477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50724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8" name="Freeform 2318"/>
          <p:cNvSpPr/>
          <p:nvPr/>
        </p:nvSpPr>
        <p:spPr>
          <a:xfrm>
            <a:off x="3512886" y="564123"/>
            <a:ext cx="67959" cy="122339"/>
          </a:xfrm>
          <a:custGeom>
            <a:avLst/>
            <a:gdLst/>
            <a:ahLst/>
            <a:cxnLst/>
            <a:rect l="0" t="0" r="0" b="0"/>
            <a:pathLst>
              <a:path w="5227637" h="9410700">
                <a:moveTo>
                  <a:pt x="5227637" y="3690740"/>
                </a:moveTo>
                <a:cubicBezTo>
                  <a:pt x="5227637" y="4745236"/>
                  <a:pt x="5046729" y="5553671"/>
                  <a:pt x="4684911" y="6116043"/>
                </a:cubicBezTo>
                <a:cubicBezTo>
                  <a:pt x="4323225" y="6678415"/>
                  <a:pt x="3784798" y="6959600"/>
                  <a:pt x="3069630" y="6959600"/>
                </a:cubicBezTo>
                <a:cubicBezTo>
                  <a:pt x="2523926" y="6959600"/>
                  <a:pt x="2085710" y="6738343"/>
                  <a:pt x="1754981" y="6295827"/>
                </a:cubicBezTo>
                <a:lnTo>
                  <a:pt x="1754981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24608" y="127000"/>
                </a:lnTo>
                <a:lnTo>
                  <a:pt x="1686719" y="738188"/>
                </a:lnTo>
                <a:cubicBezTo>
                  <a:pt x="2021549" y="246063"/>
                  <a:pt x="2478352" y="0"/>
                  <a:pt x="3057128" y="0"/>
                </a:cubicBezTo>
                <a:cubicBezTo>
                  <a:pt x="3772297" y="0"/>
                  <a:pt x="4310724" y="260549"/>
                  <a:pt x="4672409" y="781646"/>
                </a:cubicBezTo>
                <a:cubicBezTo>
                  <a:pt x="5034227" y="1302611"/>
                  <a:pt x="5219303" y="2100660"/>
                  <a:pt x="5227637" y="3175794"/>
                </a:cubicBezTo>
                <a:close/>
                <a:moveTo>
                  <a:pt x="3478808" y="3250208"/>
                </a:moveTo>
                <a:cubicBezTo>
                  <a:pt x="3478808" y="2600789"/>
                  <a:pt x="3407502" y="2141670"/>
                  <a:pt x="3264892" y="1872854"/>
                </a:cubicBezTo>
                <a:cubicBezTo>
                  <a:pt x="3122282" y="1604037"/>
                  <a:pt x="2881444" y="1469629"/>
                  <a:pt x="2542381" y="1469629"/>
                </a:cubicBezTo>
                <a:cubicBezTo>
                  <a:pt x="2182812" y="1469629"/>
                  <a:pt x="1920346" y="1620573"/>
                  <a:pt x="1754981" y="1922463"/>
                </a:cubicBezTo>
                <a:lnTo>
                  <a:pt x="1754981" y="5067896"/>
                </a:lnTo>
                <a:cubicBezTo>
                  <a:pt x="1912011" y="5357482"/>
                  <a:pt x="2178645" y="5502275"/>
                  <a:pt x="2554883" y="5502275"/>
                </a:cubicBezTo>
                <a:cubicBezTo>
                  <a:pt x="2902148" y="5502275"/>
                  <a:pt x="3142919" y="5355432"/>
                  <a:pt x="3277195" y="5061744"/>
                </a:cubicBezTo>
                <a:cubicBezTo>
                  <a:pt x="3411604" y="4768057"/>
                  <a:pt x="3478808" y="4311055"/>
                  <a:pt x="3478808" y="36907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19" name="Freeform 2319"/>
          <p:cNvSpPr/>
          <p:nvPr/>
        </p:nvSpPr>
        <p:spPr>
          <a:xfrm>
            <a:off x="3594531" y="565774"/>
            <a:ext cx="65941" cy="87172"/>
          </a:xfrm>
          <a:custGeom>
            <a:avLst/>
            <a:gdLst/>
            <a:ahLst/>
            <a:cxnLst/>
            <a:rect l="0" t="0" r="0" b="0"/>
            <a:pathLst>
              <a:path w="5072460" h="6705600">
                <a:moveTo>
                  <a:pt x="3323828" y="0"/>
                </a:moveTo>
                <a:lnTo>
                  <a:pt x="5072460" y="0"/>
                </a:lnTo>
                <a:lnTo>
                  <a:pt x="5072460" y="6705600"/>
                </a:lnTo>
                <a:lnTo>
                  <a:pt x="3323828" y="6705600"/>
                </a:lnTo>
                <a:lnTo>
                  <a:pt x="3323828" y="2584252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411499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0" name="Freeform 2320"/>
          <p:cNvSpPr/>
          <p:nvPr/>
        </p:nvSpPr>
        <p:spPr>
          <a:xfrm>
            <a:off x="3674336" y="564123"/>
            <a:ext cx="70618" cy="9047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1" name="Freeform 2321"/>
          <p:cNvSpPr/>
          <p:nvPr/>
        </p:nvSpPr>
        <p:spPr>
          <a:xfrm>
            <a:off x="3759051" y="564123"/>
            <a:ext cx="67959" cy="122339"/>
          </a:xfrm>
          <a:custGeom>
            <a:avLst/>
            <a:gdLst/>
            <a:ahLst/>
            <a:cxnLst/>
            <a:rect l="0" t="0" r="0" b="0"/>
            <a:pathLst>
              <a:path w="5227637" h="9410700">
                <a:moveTo>
                  <a:pt x="5227637" y="3690740"/>
                </a:moveTo>
                <a:cubicBezTo>
                  <a:pt x="5227637" y="4745236"/>
                  <a:pt x="5046729" y="5553671"/>
                  <a:pt x="4684911" y="6116043"/>
                </a:cubicBezTo>
                <a:cubicBezTo>
                  <a:pt x="4323225" y="6678415"/>
                  <a:pt x="3784798" y="6959600"/>
                  <a:pt x="3069630" y="6959600"/>
                </a:cubicBezTo>
                <a:cubicBezTo>
                  <a:pt x="2523926" y="6959600"/>
                  <a:pt x="2085710" y="6738343"/>
                  <a:pt x="1754981" y="6295827"/>
                </a:cubicBezTo>
                <a:lnTo>
                  <a:pt x="1754981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24608" y="127000"/>
                </a:lnTo>
                <a:lnTo>
                  <a:pt x="1686719" y="738188"/>
                </a:lnTo>
                <a:cubicBezTo>
                  <a:pt x="2021549" y="246063"/>
                  <a:pt x="2478352" y="0"/>
                  <a:pt x="3057128" y="0"/>
                </a:cubicBezTo>
                <a:cubicBezTo>
                  <a:pt x="3772297" y="0"/>
                  <a:pt x="4310724" y="260549"/>
                  <a:pt x="4672409" y="781646"/>
                </a:cubicBezTo>
                <a:cubicBezTo>
                  <a:pt x="5034227" y="1302611"/>
                  <a:pt x="5219303" y="2100660"/>
                  <a:pt x="5227637" y="3175794"/>
                </a:cubicBezTo>
                <a:close/>
                <a:moveTo>
                  <a:pt x="3478808" y="3250208"/>
                </a:moveTo>
                <a:cubicBezTo>
                  <a:pt x="3478808" y="2600789"/>
                  <a:pt x="3407502" y="2141670"/>
                  <a:pt x="3264892" y="1872854"/>
                </a:cubicBezTo>
                <a:cubicBezTo>
                  <a:pt x="3122282" y="1604037"/>
                  <a:pt x="2881444" y="1469629"/>
                  <a:pt x="2542381" y="1469629"/>
                </a:cubicBezTo>
                <a:cubicBezTo>
                  <a:pt x="2182812" y="1469629"/>
                  <a:pt x="1920346" y="1620573"/>
                  <a:pt x="1754981" y="1922463"/>
                </a:cubicBezTo>
                <a:lnTo>
                  <a:pt x="1754981" y="5067896"/>
                </a:lnTo>
                <a:cubicBezTo>
                  <a:pt x="1912011" y="5357482"/>
                  <a:pt x="2178645" y="5502275"/>
                  <a:pt x="2554883" y="5502275"/>
                </a:cubicBezTo>
                <a:cubicBezTo>
                  <a:pt x="2902148" y="5502275"/>
                  <a:pt x="3142919" y="5355432"/>
                  <a:pt x="3277195" y="5061744"/>
                </a:cubicBezTo>
                <a:cubicBezTo>
                  <a:pt x="3411604" y="4768057"/>
                  <a:pt x="3478808" y="4311055"/>
                  <a:pt x="3478808" y="36907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2" name="Freeform 2322"/>
          <p:cNvSpPr/>
          <p:nvPr/>
        </p:nvSpPr>
        <p:spPr>
          <a:xfrm>
            <a:off x="3840695" y="565774"/>
            <a:ext cx="65941" cy="87172"/>
          </a:xfrm>
          <a:custGeom>
            <a:avLst/>
            <a:gdLst/>
            <a:ahLst/>
            <a:cxnLst/>
            <a:rect l="0" t="0" r="0" b="0"/>
            <a:pathLst>
              <a:path w="5072460" h="6705600">
                <a:moveTo>
                  <a:pt x="3323828" y="0"/>
                </a:moveTo>
                <a:lnTo>
                  <a:pt x="5072460" y="0"/>
                </a:lnTo>
                <a:lnTo>
                  <a:pt x="5072460" y="6705600"/>
                </a:lnTo>
                <a:lnTo>
                  <a:pt x="3323828" y="6705600"/>
                </a:lnTo>
                <a:lnTo>
                  <a:pt x="3323828" y="2584252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411499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3" name="Freeform 2323"/>
          <p:cNvSpPr/>
          <p:nvPr/>
        </p:nvSpPr>
        <p:spPr>
          <a:xfrm>
            <a:off x="3918483" y="565774"/>
            <a:ext cx="67476" cy="87172"/>
          </a:xfrm>
          <a:custGeom>
            <a:avLst/>
            <a:gdLst/>
            <a:ahLst/>
            <a:cxnLst/>
            <a:rect l="0" t="0" r="0" b="0"/>
            <a:pathLst>
              <a:path w="5190529" h="6705600">
                <a:moveTo>
                  <a:pt x="5190529" y="1444824"/>
                </a:moveTo>
                <a:lnTo>
                  <a:pt x="3466504" y="1444824"/>
                </a:lnTo>
                <a:lnTo>
                  <a:pt x="3466504" y="6705600"/>
                </a:lnTo>
                <a:lnTo>
                  <a:pt x="1711523" y="6705600"/>
                </a:lnTo>
                <a:lnTo>
                  <a:pt x="1711523" y="1444824"/>
                </a:lnTo>
                <a:lnTo>
                  <a:pt x="0" y="1444824"/>
                </a:lnTo>
                <a:lnTo>
                  <a:pt x="0" y="0"/>
                </a:lnTo>
                <a:lnTo>
                  <a:pt x="51905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4" name="Freeform 2324"/>
          <p:cNvSpPr/>
          <p:nvPr/>
        </p:nvSpPr>
        <p:spPr>
          <a:xfrm>
            <a:off x="3990983" y="564123"/>
            <a:ext cx="68119" cy="90474"/>
          </a:xfrm>
          <a:custGeom>
            <a:avLst/>
            <a:gdLst/>
            <a:ahLst/>
            <a:cxnLst/>
            <a:rect l="0" t="0" r="0" b="0"/>
            <a:pathLst>
              <a:path w="5239941" h="6959600">
                <a:moveTo>
                  <a:pt x="2864842" y="6959600"/>
                </a:moveTo>
                <a:cubicBezTo>
                  <a:pt x="1963671" y="6959600"/>
                  <a:pt x="1260872" y="6690850"/>
                  <a:pt x="756444" y="6153349"/>
                </a:cubicBezTo>
                <a:cubicBezTo>
                  <a:pt x="252148" y="5615716"/>
                  <a:pt x="0" y="4846506"/>
                  <a:pt x="0" y="3845719"/>
                </a:cubicBezTo>
                <a:lnTo>
                  <a:pt x="0" y="3312319"/>
                </a:lnTo>
                <a:cubicBezTo>
                  <a:pt x="0" y="2253721"/>
                  <a:pt x="231511" y="1437019"/>
                  <a:pt x="694531" y="862211"/>
                </a:cubicBezTo>
                <a:cubicBezTo>
                  <a:pt x="1157552" y="287404"/>
                  <a:pt x="1821061" y="0"/>
                  <a:pt x="2685058" y="0"/>
                </a:cubicBezTo>
                <a:cubicBezTo>
                  <a:pt x="3528417" y="0"/>
                  <a:pt x="4162954" y="270074"/>
                  <a:pt x="4588669" y="810221"/>
                </a:cubicBezTo>
                <a:cubicBezTo>
                  <a:pt x="5014516" y="1350368"/>
                  <a:pt x="5231606" y="2150203"/>
                  <a:pt x="5239941" y="3209727"/>
                </a:cubicBezTo>
                <a:lnTo>
                  <a:pt x="5239941" y="4072732"/>
                </a:lnTo>
                <a:lnTo>
                  <a:pt x="1748631" y="4072732"/>
                </a:lnTo>
                <a:cubicBezTo>
                  <a:pt x="1773502" y="4567767"/>
                  <a:pt x="1883040" y="4929783"/>
                  <a:pt x="2077244" y="5158780"/>
                </a:cubicBezTo>
                <a:cubicBezTo>
                  <a:pt x="2271580" y="5387777"/>
                  <a:pt x="2571353" y="5502275"/>
                  <a:pt x="2976563" y="5502275"/>
                </a:cubicBezTo>
                <a:cubicBezTo>
                  <a:pt x="3563541" y="5502275"/>
                  <a:pt x="4053417" y="5301589"/>
                  <a:pt x="4446191" y="4900216"/>
                </a:cubicBezTo>
                <a:lnTo>
                  <a:pt x="5134570" y="5960865"/>
                </a:lnTo>
                <a:cubicBezTo>
                  <a:pt x="4919596" y="6258653"/>
                  <a:pt x="4607454" y="6499556"/>
                  <a:pt x="4198144" y="6683574"/>
                </a:cubicBezTo>
                <a:cubicBezTo>
                  <a:pt x="3788834" y="6867591"/>
                  <a:pt x="3344399" y="6959600"/>
                  <a:pt x="2864842" y="6959600"/>
                </a:cubicBezTo>
                <a:close/>
                <a:moveTo>
                  <a:pt x="1761133" y="2844800"/>
                </a:moveTo>
                <a:lnTo>
                  <a:pt x="3515916" y="2844800"/>
                </a:lnTo>
                <a:lnTo>
                  <a:pt x="3515916" y="2683074"/>
                </a:lnTo>
                <a:cubicBezTo>
                  <a:pt x="3507714" y="2280643"/>
                  <a:pt x="3441568" y="1975776"/>
                  <a:pt x="3317478" y="1768475"/>
                </a:cubicBezTo>
                <a:cubicBezTo>
                  <a:pt x="3193521" y="1561042"/>
                  <a:pt x="2978547" y="1457325"/>
                  <a:pt x="2672556" y="1457325"/>
                </a:cubicBezTo>
                <a:cubicBezTo>
                  <a:pt x="2366698" y="1457325"/>
                  <a:pt x="2144514" y="1567260"/>
                  <a:pt x="2006005" y="1787129"/>
                </a:cubicBezTo>
                <a:cubicBezTo>
                  <a:pt x="1867495" y="2006997"/>
                  <a:pt x="1785872" y="2359555"/>
                  <a:pt x="1761133" y="284480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5" name="Freeform 2325"/>
          <p:cNvSpPr/>
          <p:nvPr/>
        </p:nvSpPr>
        <p:spPr>
          <a:xfrm>
            <a:off x="4066413" y="565774"/>
            <a:ext cx="67476" cy="87172"/>
          </a:xfrm>
          <a:custGeom>
            <a:avLst/>
            <a:gdLst/>
            <a:ahLst/>
            <a:cxnLst/>
            <a:rect l="0" t="0" r="0" b="0"/>
            <a:pathLst>
              <a:path w="5190529" h="6705600">
                <a:moveTo>
                  <a:pt x="5190529" y="1444824"/>
                </a:moveTo>
                <a:lnTo>
                  <a:pt x="3466504" y="1444824"/>
                </a:lnTo>
                <a:lnTo>
                  <a:pt x="3466504" y="6705600"/>
                </a:lnTo>
                <a:lnTo>
                  <a:pt x="1711523" y="6705600"/>
                </a:lnTo>
                <a:lnTo>
                  <a:pt x="1711523" y="1444824"/>
                </a:lnTo>
                <a:lnTo>
                  <a:pt x="0" y="1444824"/>
                </a:lnTo>
                <a:lnTo>
                  <a:pt x="0" y="0"/>
                </a:lnTo>
                <a:lnTo>
                  <a:pt x="51905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6" name="Freeform 2326"/>
          <p:cNvSpPr/>
          <p:nvPr/>
        </p:nvSpPr>
        <p:spPr>
          <a:xfrm>
            <a:off x="4145965" y="565774"/>
            <a:ext cx="65782" cy="87172"/>
          </a:xfrm>
          <a:custGeom>
            <a:avLst/>
            <a:gdLst/>
            <a:ahLst/>
            <a:cxnLst/>
            <a:rect l="0" t="0" r="0" b="0"/>
            <a:pathLst>
              <a:path w="5060157" h="6705600">
                <a:moveTo>
                  <a:pt x="5060157" y="6705600"/>
                </a:moveTo>
                <a:lnTo>
                  <a:pt x="3305175" y="6705600"/>
                </a:lnTo>
                <a:lnTo>
                  <a:pt x="3305175" y="4130874"/>
                </a:lnTo>
                <a:lnTo>
                  <a:pt x="1761133" y="4130874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2679700"/>
                </a:lnTo>
                <a:lnTo>
                  <a:pt x="3305175" y="2679700"/>
                </a:lnTo>
                <a:lnTo>
                  <a:pt x="3305175" y="0"/>
                </a:lnTo>
                <a:lnTo>
                  <a:pt x="506015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7" name="Freeform 2327"/>
          <p:cNvSpPr/>
          <p:nvPr/>
        </p:nvSpPr>
        <p:spPr>
          <a:xfrm>
            <a:off x="4229880" y="565774"/>
            <a:ext cx="100285" cy="87172"/>
          </a:xfrm>
          <a:custGeom>
            <a:avLst/>
            <a:gdLst/>
            <a:ahLst/>
            <a:cxnLst/>
            <a:rect l="0" t="0" r="0" b="0"/>
            <a:pathLst>
              <a:path w="7714258" h="6705600">
                <a:moveTo>
                  <a:pt x="1754981" y="1955800"/>
                </a:moveTo>
                <a:lnTo>
                  <a:pt x="2654101" y="1955800"/>
                </a:lnTo>
                <a:cubicBezTo>
                  <a:pt x="3443750" y="1955800"/>
                  <a:pt x="4064926" y="2172561"/>
                  <a:pt x="4517628" y="2606080"/>
                </a:cubicBezTo>
                <a:cubicBezTo>
                  <a:pt x="4970330" y="3039600"/>
                  <a:pt x="5196681" y="3619633"/>
                  <a:pt x="5196681" y="4346179"/>
                </a:cubicBezTo>
                <a:cubicBezTo>
                  <a:pt x="5196681" y="5056320"/>
                  <a:pt x="4968279" y="5627093"/>
                  <a:pt x="4511476" y="6058496"/>
                </a:cubicBezTo>
                <a:cubicBezTo>
                  <a:pt x="4054673" y="6489899"/>
                  <a:pt x="3433497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54981" y="0"/>
                </a:lnTo>
                <a:close/>
                <a:moveTo>
                  <a:pt x="7714258" y="6705600"/>
                </a:moveTo>
                <a:lnTo>
                  <a:pt x="5959475" y="6705600"/>
                </a:lnTo>
                <a:lnTo>
                  <a:pt x="5959475" y="0"/>
                </a:lnTo>
                <a:lnTo>
                  <a:pt x="7714258" y="0"/>
                </a:lnTo>
                <a:close/>
                <a:moveTo>
                  <a:pt x="1754981" y="3413125"/>
                </a:moveTo>
                <a:lnTo>
                  <a:pt x="1754981" y="5260777"/>
                </a:lnTo>
                <a:lnTo>
                  <a:pt x="2672754" y="5260777"/>
                </a:lnTo>
                <a:cubicBezTo>
                  <a:pt x="2916700" y="5260777"/>
                  <a:pt x="3106869" y="5180476"/>
                  <a:pt x="3243262" y="5019874"/>
                </a:cubicBezTo>
                <a:cubicBezTo>
                  <a:pt x="3379655" y="4859140"/>
                  <a:pt x="3447851" y="4636625"/>
                  <a:pt x="3447851" y="4352330"/>
                </a:cubicBezTo>
                <a:cubicBezTo>
                  <a:pt x="3447851" y="3726194"/>
                  <a:pt x="3172949" y="3413125"/>
                  <a:pt x="2623145" y="34131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8" name="Freeform 2328"/>
          <p:cNvSpPr/>
          <p:nvPr/>
        </p:nvSpPr>
        <p:spPr>
          <a:xfrm>
            <a:off x="4343559" y="565774"/>
            <a:ext cx="69974" cy="87172"/>
          </a:xfrm>
          <a:custGeom>
            <a:avLst/>
            <a:gdLst/>
            <a:ahLst/>
            <a:cxnLst/>
            <a:rect l="0" t="0" r="0" b="0"/>
            <a:pathLst>
              <a:path w="5382617" h="6705600">
                <a:moveTo>
                  <a:pt x="2685058" y="1989336"/>
                </a:moveTo>
                <a:lnTo>
                  <a:pt x="3466505" y="0"/>
                </a:lnTo>
                <a:lnTo>
                  <a:pt x="5326856" y="0"/>
                </a:lnTo>
                <a:lnTo>
                  <a:pt x="3795117" y="3278386"/>
                </a:lnTo>
                <a:lnTo>
                  <a:pt x="5382617" y="6705600"/>
                </a:lnTo>
                <a:lnTo>
                  <a:pt x="3516114" y="6705600"/>
                </a:lnTo>
                <a:lnTo>
                  <a:pt x="2691408" y="4604743"/>
                </a:lnTo>
                <a:lnTo>
                  <a:pt x="1872853" y="6705600"/>
                </a:lnTo>
                <a:lnTo>
                  <a:pt x="0" y="6705600"/>
                </a:lnTo>
                <a:lnTo>
                  <a:pt x="1587500" y="3278386"/>
                </a:lnTo>
                <a:lnTo>
                  <a:pt x="68263" y="0"/>
                </a:lnTo>
                <a:lnTo>
                  <a:pt x="1934766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29" name="Freeform 2329"/>
          <p:cNvSpPr/>
          <p:nvPr/>
        </p:nvSpPr>
        <p:spPr>
          <a:xfrm>
            <a:off x="4459222" y="564123"/>
            <a:ext cx="70618" cy="9047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0" name="Freeform 2330"/>
          <p:cNvSpPr/>
          <p:nvPr/>
        </p:nvSpPr>
        <p:spPr>
          <a:xfrm>
            <a:off x="4536948" y="565774"/>
            <a:ext cx="67476" cy="87172"/>
          </a:xfrm>
          <a:custGeom>
            <a:avLst/>
            <a:gdLst/>
            <a:ahLst/>
            <a:cxnLst/>
            <a:rect l="0" t="0" r="0" b="0"/>
            <a:pathLst>
              <a:path w="5190529" h="6705600">
                <a:moveTo>
                  <a:pt x="5190529" y="1444824"/>
                </a:moveTo>
                <a:lnTo>
                  <a:pt x="3466504" y="1444824"/>
                </a:lnTo>
                <a:lnTo>
                  <a:pt x="3466504" y="6705600"/>
                </a:lnTo>
                <a:lnTo>
                  <a:pt x="1711523" y="6705600"/>
                </a:lnTo>
                <a:lnTo>
                  <a:pt x="1711523" y="1444824"/>
                </a:lnTo>
                <a:lnTo>
                  <a:pt x="0" y="1444824"/>
                </a:lnTo>
                <a:lnTo>
                  <a:pt x="0" y="0"/>
                </a:lnTo>
                <a:lnTo>
                  <a:pt x="51905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1" name="Freeform 2331"/>
          <p:cNvSpPr/>
          <p:nvPr/>
        </p:nvSpPr>
        <p:spPr>
          <a:xfrm>
            <a:off x="4616580" y="564123"/>
            <a:ext cx="67959" cy="122339"/>
          </a:xfrm>
          <a:custGeom>
            <a:avLst/>
            <a:gdLst/>
            <a:ahLst/>
            <a:cxnLst/>
            <a:rect l="0" t="0" r="0" b="0"/>
            <a:pathLst>
              <a:path w="5227637" h="9410700">
                <a:moveTo>
                  <a:pt x="5227637" y="3690740"/>
                </a:moveTo>
                <a:cubicBezTo>
                  <a:pt x="5227637" y="4745236"/>
                  <a:pt x="5046729" y="5553671"/>
                  <a:pt x="4684911" y="6116043"/>
                </a:cubicBezTo>
                <a:cubicBezTo>
                  <a:pt x="4323225" y="6678415"/>
                  <a:pt x="3784798" y="6959600"/>
                  <a:pt x="3069630" y="6959600"/>
                </a:cubicBezTo>
                <a:cubicBezTo>
                  <a:pt x="2523926" y="6959600"/>
                  <a:pt x="2085710" y="6738343"/>
                  <a:pt x="1754981" y="6295827"/>
                </a:cubicBezTo>
                <a:lnTo>
                  <a:pt x="1754981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24608" y="127000"/>
                </a:lnTo>
                <a:lnTo>
                  <a:pt x="1686719" y="738188"/>
                </a:lnTo>
                <a:cubicBezTo>
                  <a:pt x="2021549" y="246063"/>
                  <a:pt x="2478352" y="0"/>
                  <a:pt x="3057128" y="0"/>
                </a:cubicBezTo>
                <a:cubicBezTo>
                  <a:pt x="3772297" y="0"/>
                  <a:pt x="4310724" y="260549"/>
                  <a:pt x="4672409" y="781646"/>
                </a:cubicBezTo>
                <a:cubicBezTo>
                  <a:pt x="5034227" y="1302611"/>
                  <a:pt x="5219303" y="2100660"/>
                  <a:pt x="5227637" y="3175794"/>
                </a:cubicBezTo>
                <a:close/>
                <a:moveTo>
                  <a:pt x="3478808" y="3250208"/>
                </a:moveTo>
                <a:cubicBezTo>
                  <a:pt x="3478808" y="2600789"/>
                  <a:pt x="3407502" y="2141670"/>
                  <a:pt x="3264892" y="1872854"/>
                </a:cubicBezTo>
                <a:cubicBezTo>
                  <a:pt x="3122282" y="1604037"/>
                  <a:pt x="2881444" y="1469629"/>
                  <a:pt x="2542381" y="1469629"/>
                </a:cubicBezTo>
                <a:cubicBezTo>
                  <a:pt x="2182812" y="1469629"/>
                  <a:pt x="1920346" y="1620573"/>
                  <a:pt x="1754981" y="1922463"/>
                </a:cubicBezTo>
                <a:lnTo>
                  <a:pt x="1754981" y="5067896"/>
                </a:lnTo>
                <a:cubicBezTo>
                  <a:pt x="1912011" y="5357482"/>
                  <a:pt x="2178645" y="5502275"/>
                  <a:pt x="2554883" y="5502275"/>
                </a:cubicBezTo>
                <a:cubicBezTo>
                  <a:pt x="2902148" y="5502275"/>
                  <a:pt x="3142919" y="5355432"/>
                  <a:pt x="3277195" y="5061744"/>
                </a:cubicBezTo>
                <a:cubicBezTo>
                  <a:pt x="3411604" y="4768057"/>
                  <a:pt x="3478808" y="4311055"/>
                  <a:pt x="3478808" y="36907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2" name="Freeform 2332"/>
          <p:cNvSpPr/>
          <p:nvPr/>
        </p:nvSpPr>
        <p:spPr>
          <a:xfrm>
            <a:off x="4695805" y="564123"/>
            <a:ext cx="66911" cy="90474"/>
          </a:xfrm>
          <a:custGeom>
            <a:avLst/>
            <a:gdLst/>
            <a:ahLst/>
            <a:cxnLst/>
            <a:rect l="0" t="0" r="0" b="0"/>
            <a:pathLst>
              <a:path w="5147072" h="6959600">
                <a:moveTo>
                  <a:pt x="3379589" y="6832600"/>
                </a:moveTo>
                <a:cubicBezTo>
                  <a:pt x="3329980" y="6729810"/>
                  <a:pt x="3280370" y="6557103"/>
                  <a:pt x="3230761" y="6314480"/>
                </a:cubicBezTo>
                <a:cubicBezTo>
                  <a:pt x="2916568" y="6744560"/>
                  <a:pt x="2490787" y="6959600"/>
                  <a:pt x="1953419" y="6959600"/>
                </a:cubicBezTo>
                <a:cubicBezTo>
                  <a:pt x="1391179" y="6959600"/>
                  <a:pt x="925049" y="6773334"/>
                  <a:pt x="555030" y="6400800"/>
                </a:cubicBezTo>
                <a:cubicBezTo>
                  <a:pt x="185010" y="6028135"/>
                  <a:pt x="0" y="5545799"/>
                  <a:pt x="0" y="4953794"/>
                </a:cubicBezTo>
                <a:cubicBezTo>
                  <a:pt x="0" y="4249870"/>
                  <a:pt x="224234" y="3705424"/>
                  <a:pt x="672703" y="3320455"/>
                </a:cubicBezTo>
                <a:cubicBezTo>
                  <a:pt x="1121304" y="2935486"/>
                  <a:pt x="1767284" y="2738835"/>
                  <a:pt x="2610644" y="2730500"/>
                </a:cubicBezTo>
                <a:lnTo>
                  <a:pt x="3144044" y="2730500"/>
                </a:lnTo>
                <a:lnTo>
                  <a:pt x="3144044" y="2192735"/>
                </a:lnTo>
                <a:cubicBezTo>
                  <a:pt x="3144044" y="1891771"/>
                  <a:pt x="3092318" y="1679509"/>
                  <a:pt x="2988866" y="1555949"/>
                </a:cubicBezTo>
                <a:cubicBezTo>
                  <a:pt x="2885546" y="1432256"/>
                  <a:pt x="2734667" y="1370410"/>
                  <a:pt x="2536230" y="1370410"/>
                </a:cubicBezTo>
                <a:cubicBezTo>
                  <a:pt x="2098080" y="1370410"/>
                  <a:pt x="1879005" y="1624807"/>
                  <a:pt x="1879005" y="2133600"/>
                </a:cubicBezTo>
                <a:lnTo>
                  <a:pt x="124023" y="2133600"/>
                </a:lnTo>
                <a:cubicBezTo>
                  <a:pt x="124023" y="1515137"/>
                  <a:pt x="356526" y="1004954"/>
                  <a:pt x="821531" y="603052"/>
                </a:cubicBezTo>
                <a:cubicBezTo>
                  <a:pt x="1286669" y="201018"/>
                  <a:pt x="1874771" y="0"/>
                  <a:pt x="2585839" y="0"/>
                </a:cubicBezTo>
                <a:cubicBezTo>
                  <a:pt x="3321777" y="0"/>
                  <a:pt x="3891293" y="191162"/>
                  <a:pt x="4294386" y="573485"/>
                </a:cubicBezTo>
                <a:cubicBezTo>
                  <a:pt x="4697479" y="955808"/>
                  <a:pt x="4899025" y="1502437"/>
                  <a:pt x="4899025" y="2213372"/>
                </a:cubicBezTo>
                <a:lnTo>
                  <a:pt x="4899025" y="5369322"/>
                </a:lnTo>
                <a:cubicBezTo>
                  <a:pt x="4907227" y="5947966"/>
                  <a:pt x="4989909" y="6400602"/>
                  <a:pt x="5147072" y="6727230"/>
                </a:cubicBezTo>
                <a:lnTo>
                  <a:pt x="5147072" y="6832600"/>
                </a:lnTo>
                <a:close/>
                <a:moveTo>
                  <a:pt x="2344142" y="5582841"/>
                </a:moveTo>
                <a:cubicBezTo>
                  <a:pt x="2538346" y="5582841"/>
                  <a:pt x="2703645" y="5543484"/>
                  <a:pt x="2840037" y="5464771"/>
                </a:cubicBezTo>
                <a:cubicBezTo>
                  <a:pt x="2976562" y="5385925"/>
                  <a:pt x="3077898" y="5292527"/>
                  <a:pt x="3144044" y="5184577"/>
                </a:cubicBezTo>
                <a:lnTo>
                  <a:pt x="3144044" y="3784799"/>
                </a:lnTo>
                <a:lnTo>
                  <a:pt x="2722364" y="3784799"/>
                </a:lnTo>
                <a:cubicBezTo>
                  <a:pt x="2424708" y="3784799"/>
                  <a:pt x="2190088" y="3880181"/>
                  <a:pt x="2018506" y="4070946"/>
                </a:cubicBezTo>
                <a:cubicBezTo>
                  <a:pt x="1846924" y="4261710"/>
                  <a:pt x="1761133" y="4516835"/>
                  <a:pt x="1761133" y="4836319"/>
                </a:cubicBezTo>
                <a:cubicBezTo>
                  <a:pt x="1761133" y="5334000"/>
                  <a:pt x="1955469" y="5582841"/>
                  <a:pt x="2344142" y="5582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3" name="Freeform 2333"/>
          <p:cNvSpPr/>
          <p:nvPr/>
        </p:nvSpPr>
        <p:spPr>
          <a:xfrm>
            <a:off x="4773159" y="564123"/>
            <a:ext cx="65782" cy="90474"/>
          </a:xfrm>
          <a:custGeom>
            <a:avLst/>
            <a:gdLst/>
            <a:ahLst/>
            <a:cxnLst/>
            <a:rect l="0" t="0" r="0" b="0"/>
            <a:pathLst>
              <a:path w="5060156" h="6959600">
                <a:moveTo>
                  <a:pt x="2635647" y="5502275"/>
                </a:moveTo>
                <a:cubicBezTo>
                  <a:pt x="3144044" y="5502275"/>
                  <a:pt x="3402409" y="5171546"/>
                  <a:pt x="3410744" y="4510088"/>
                </a:cubicBezTo>
                <a:lnTo>
                  <a:pt x="5060156" y="4510088"/>
                </a:lnTo>
                <a:cubicBezTo>
                  <a:pt x="5051954" y="5241793"/>
                  <a:pt x="4826661" y="5833005"/>
                  <a:pt x="4384278" y="6283722"/>
                </a:cubicBezTo>
                <a:cubicBezTo>
                  <a:pt x="3941894" y="6734308"/>
                  <a:pt x="3371387" y="6959600"/>
                  <a:pt x="2672754" y="6959600"/>
                </a:cubicBezTo>
                <a:cubicBezTo>
                  <a:pt x="1808758" y="6959600"/>
                  <a:pt x="1149350" y="6690850"/>
                  <a:pt x="694531" y="6153349"/>
                </a:cubicBezTo>
                <a:cubicBezTo>
                  <a:pt x="239845" y="5615716"/>
                  <a:pt x="8334" y="4823752"/>
                  <a:pt x="0" y="3777457"/>
                </a:cubicBezTo>
                <a:lnTo>
                  <a:pt x="0" y="3244057"/>
                </a:lnTo>
                <a:cubicBezTo>
                  <a:pt x="0" y="2189560"/>
                  <a:pt x="224300" y="1385293"/>
                  <a:pt x="672901" y="831255"/>
                </a:cubicBezTo>
                <a:cubicBezTo>
                  <a:pt x="1121502" y="277085"/>
                  <a:pt x="1784019" y="0"/>
                  <a:pt x="2660451" y="0"/>
                </a:cubicBezTo>
                <a:cubicBezTo>
                  <a:pt x="3400358" y="0"/>
                  <a:pt x="3983236" y="228402"/>
                  <a:pt x="4409083" y="685205"/>
                </a:cubicBezTo>
                <a:cubicBezTo>
                  <a:pt x="4834929" y="1142008"/>
                  <a:pt x="5051954" y="1790039"/>
                  <a:pt x="5060156" y="2629297"/>
                </a:cubicBezTo>
                <a:lnTo>
                  <a:pt x="3410744" y="2629297"/>
                </a:lnTo>
                <a:cubicBezTo>
                  <a:pt x="3406643" y="2253192"/>
                  <a:pt x="3344598" y="1963870"/>
                  <a:pt x="3224609" y="1761332"/>
                </a:cubicBezTo>
                <a:cubicBezTo>
                  <a:pt x="3104753" y="1558661"/>
                  <a:pt x="2906315" y="1457325"/>
                  <a:pt x="2629297" y="1457325"/>
                </a:cubicBezTo>
                <a:cubicBezTo>
                  <a:pt x="2323438" y="1457325"/>
                  <a:pt x="2104363" y="1565937"/>
                  <a:pt x="1972072" y="1783160"/>
                </a:cubicBezTo>
                <a:cubicBezTo>
                  <a:pt x="1839780" y="2000250"/>
                  <a:pt x="1769467" y="2421070"/>
                  <a:pt x="1761133" y="3045619"/>
                </a:cubicBezTo>
                <a:lnTo>
                  <a:pt x="1761133" y="3728046"/>
                </a:lnTo>
                <a:cubicBezTo>
                  <a:pt x="1761133" y="4273881"/>
                  <a:pt x="1787988" y="4655410"/>
                  <a:pt x="1841698" y="4872633"/>
                </a:cubicBezTo>
                <a:cubicBezTo>
                  <a:pt x="1895541" y="5089724"/>
                  <a:pt x="1984441" y="5248937"/>
                  <a:pt x="2108398" y="5350272"/>
                </a:cubicBezTo>
                <a:cubicBezTo>
                  <a:pt x="2232488" y="5451608"/>
                  <a:pt x="2408237" y="5502275"/>
                  <a:pt x="2635647" y="55022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4" name="Freeform 2334"/>
          <p:cNvSpPr/>
          <p:nvPr/>
        </p:nvSpPr>
        <p:spPr>
          <a:xfrm>
            <a:off x="4846121" y="565774"/>
            <a:ext cx="71503" cy="87172"/>
          </a:xfrm>
          <a:custGeom>
            <a:avLst/>
            <a:gdLst/>
            <a:ahLst/>
            <a:cxnLst/>
            <a:rect l="0" t="0" r="0" b="0"/>
            <a:pathLst>
              <a:path w="5500290" h="6705600">
                <a:moveTo>
                  <a:pt x="5500290" y="0"/>
                </a:moveTo>
                <a:lnTo>
                  <a:pt x="5500290" y="6705600"/>
                </a:lnTo>
                <a:lnTo>
                  <a:pt x="3745507" y="6705600"/>
                </a:lnTo>
                <a:lnTo>
                  <a:pt x="3745507" y="1463477"/>
                </a:lnTo>
                <a:lnTo>
                  <a:pt x="2703711" y="1463477"/>
                </a:lnTo>
                <a:lnTo>
                  <a:pt x="2604492" y="3532982"/>
                </a:lnTo>
                <a:cubicBezTo>
                  <a:pt x="2542447" y="4607058"/>
                  <a:pt x="2350161" y="5401271"/>
                  <a:pt x="2027634" y="5915621"/>
                </a:cubicBezTo>
                <a:cubicBezTo>
                  <a:pt x="1705239" y="6429839"/>
                  <a:pt x="1225682" y="6693165"/>
                  <a:pt x="588962" y="6705600"/>
                </a:cubicBezTo>
                <a:lnTo>
                  <a:pt x="18454" y="6705600"/>
                </a:lnTo>
                <a:lnTo>
                  <a:pt x="0" y="5242124"/>
                </a:lnTo>
                <a:lnTo>
                  <a:pt x="198437" y="5217319"/>
                </a:lnTo>
                <a:cubicBezTo>
                  <a:pt x="434049" y="5184246"/>
                  <a:pt x="607615" y="5012796"/>
                  <a:pt x="719137" y="4702969"/>
                </a:cubicBezTo>
                <a:cubicBezTo>
                  <a:pt x="830791" y="4393142"/>
                  <a:pt x="903155" y="3885076"/>
                  <a:pt x="936228" y="3178771"/>
                </a:cubicBezTo>
                <a:lnTo>
                  <a:pt x="105410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5" name="Freeform 2335"/>
          <p:cNvSpPr/>
          <p:nvPr/>
        </p:nvSpPr>
        <p:spPr>
          <a:xfrm>
            <a:off x="4932218" y="564123"/>
            <a:ext cx="68119" cy="90474"/>
          </a:xfrm>
          <a:custGeom>
            <a:avLst/>
            <a:gdLst/>
            <a:ahLst/>
            <a:cxnLst/>
            <a:rect l="0" t="0" r="0" b="0"/>
            <a:pathLst>
              <a:path w="5239941" h="6959600">
                <a:moveTo>
                  <a:pt x="2864842" y="6959600"/>
                </a:moveTo>
                <a:cubicBezTo>
                  <a:pt x="1963671" y="6959600"/>
                  <a:pt x="1260872" y="6690850"/>
                  <a:pt x="756444" y="6153349"/>
                </a:cubicBezTo>
                <a:cubicBezTo>
                  <a:pt x="252148" y="5615716"/>
                  <a:pt x="0" y="4846506"/>
                  <a:pt x="0" y="3845719"/>
                </a:cubicBezTo>
                <a:lnTo>
                  <a:pt x="0" y="3312319"/>
                </a:lnTo>
                <a:cubicBezTo>
                  <a:pt x="0" y="2253721"/>
                  <a:pt x="231511" y="1437019"/>
                  <a:pt x="694531" y="862211"/>
                </a:cubicBezTo>
                <a:cubicBezTo>
                  <a:pt x="1157552" y="287404"/>
                  <a:pt x="1821061" y="0"/>
                  <a:pt x="2685058" y="0"/>
                </a:cubicBezTo>
                <a:cubicBezTo>
                  <a:pt x="3528417" y="0"/>
                  <a:pt x="4162954" y="270074"/>
                  <a:pt x="4588669" y="810221"/>
                </a:cubicBezTo>
                <a:cubicBezTo>
                  <a:pt x="5014516" y="1350368"/>
                  <a:pt x="5231606" y="2150203"/>
                  <a:pt x="5239941" y="3209727"/>
                </a:cubicBezTo>
                <a:lnTo>
                  <a:pt x="5239941" y="4072732"/>
                </a:lnTo>
                <a:lnTo>
                  <a:pt x="1748631" y="4072732"/>
                </a:lnTo>
                <a:cubicBezTo>
                  <a:pt x="1773502" y="4567767"/>
                  <a:pt x="1883040" y="4929783"/>
                  <a:pt x="2077244" y="5158780"/>
                </a:cubicBezTo>
                <a:cubicBezTo>
                  <a:pt x="2271580" y="5387777"/>
                  <a:pt x="2571353" y="5502275"/>
                  <a:pt x="2976563" y="5502275"/>
                </a:cubicBezTo>
                <a:cubicBezTo>
                  <a:pt x="3563541" y="5502275"/>
                  <a:pt x="4053417" y="5301589"/>
                  <a:pt x="4446191" y="4900216"/>
                </a:cubicBezTo>
                <a:lnTo>
                  <a:pt x="5134570" y="5960865"/>
                </a:lnTo>
                <a:cubicBezTo>
                  <a:pt x="4919596" y="6258653"/>
                  <a:pt x="4607454" y="6499556"/>
                  <a:pt x="4198144" y="6683574"/>
                </a:cubicBezTo>
                <a:cubicBezTo>
                  <a:pt x="3788834" y="6867591"/>
                  <a:pt x="3344399" y="6959600"/>
                  <a:pt x="2864842" y="6959600"/>
                </a:cubicBezTo>
                <a:close/>
                <a:moveTo>
                  <a:pt x="1761133" y="2844800"/>
                </a:moveTo>
                <a:lnTo>
                  <a:pt x="3515916" y="2844800"/>
                </a:lnTo>
                <a:lnTo>
                  <a:pt x="3515916" y="2683074"/>
                </a:lnTo>
                <a:cubicBezTo>
                  <a:pt x="3507714" y="2280643"/>
                  <a:pt x="3441568" y="1975776"/>
                  <a:pt x="3317478" y="1768475"/>
                </a:cubicBezTo>
                <a:cubicBezTo>
                  <a:pt x="3193521" y="1561042"/>
                  <a:pt x="2978547" y="1457325"/>
                  <a:pt x="2672556" y="1457325"/>
                </a:cubicBezTo>
                <a:cubicBezTo>
                  <a:pt x="2366698" y="1457325"/>
                  <a:pt x="2144514" y="1567260"/>
                  <a:pt x="2006005" y="1787129"/>
                </a:cubicBezTo>
                <a:cubicBezTo>
                  <a:pt x="1867495" y="2006997"/>
                  <a:pt x="1785872" y="2359555"/>
                  <a:pt x="1761133" y="284480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6" name="Freeform 2336"/>
          <p:cNvSpPr/>
          <p:nvPr/>
        </p:nvSpPr>
        <p:spPr>
          <a:xfrm>
            <a:off x="5013070" y="530112"/>
            <a:ext cx="65941" cy="122834"/>
          </a:xfrm>
          <a:custGeom>
            <a:avLst/>
            <a:gdLst/>
            <a:ahLst/>
            <a:cxnLst/>
            <a:rect l="0" t="0" r="0" b="0"/>
            <a:pathLst>
              <a:path w="5072460" h="9448800">
                <a:moveTo>
                  <a:pt x="3323828" y="2743200"/>
                </a:moveTo>
                <a:lnTo>
                  <a:pt x="5072460" y="2743200"/>
                </a:lnTo>
                <a:lnTo>
                  <a:pt x="5072460" y="9448800"/>
                </a:lnTo>
                <a:lnTo>
                  <a:pt x="3323828" y="9448800"/>
                </a:lnTo>
                <a:lnTo>
                  <a:pt x="3323828" y="5327452"/>
                </a:lnTo>
                <a:lnTo>
                  <a:pt x="1761133" y="9448800"/>
                </a:lnTo>
                <a:lnTo>
                  <a:pt x="0" y="9448800"/>
                </a:lnTo>
                <a:lnTo>
                  <a:pt x="0" y="2743200"/>
                </a:lnTo>
                <a:lnTo>
                  <a:pt x="1761133" y="2743200"/>
                </a:lnTo>
                <a:lnTo>
                  <a:pt x="1761133" y="6858199"/>
                </a:lnTo>
                <a:close/>
                <a:moveTo>
                  <a:pt x="4731346" y="0"/>
                </a:moveTo>
                <a:cubicBezTo>
                  <a:pt x="4731346" y="549805"/>
                  <a:pt x="4533900" y="994172"/>
                  <a:pt x="4139010" y="1333104"/>
                </a:cubicBezTo>
                <a:cubicBezTo>
                  <a:pt x="3744251" y="1672035"/>
                  <a:pt x="3224411" y="1841500"/>
                  <a:pt x="2579489" y="1841500"/>
                </a:cubicBezTo>
                <a:cubicBezTo>
                  <a:pt x="1930466" y="1841500"/>
                  <a:pt x="1408510" y="1672035"/>
                  <a:pt x="1013619" y="1333104"/>
                </a:cubicBezTo>
                <a:cubicBezTo>
                  <a:pt x="618861" y="994172"/>
                  <a:pt x="421482" y="549805"/>
                  <a:pt x="421482" y="0"/>
                </a:cubicBezTo>
                <a:lnTo>
                  <a:pt x="1705174" y="0"/>
                </a:lnTo>
                <a:cubicBezTo>
                  <a:pt x="1705174" y="256249"/>
                  <a:pt x="1782697" y="455679"/>
                  <a:pt x="1937742" y="598290"/>
                </a:cubicBezTo>
                <a:cubicBezTo>
                  <a:pt x="2092788" y="740768"/>
                  <a:pt x="2306704" y="812007"/>
                  <a:pt x="2579489" y="812007"/>
                </a:cubicBezTo>
                <a:cubicBezTo>
                  <a:pt x="2848306" y="812007"/>
                  <a:pt x="3059179" y="740768"/>
                  <a:pt x="3212108" y="598290"/>
                </a:cubicBezTo>
                <a:cubicBezTo>
                  <a:pt x="3365037" y="455679"/>
                  <a:pt x="3441502" y="256249"/>
                  <a:pt x="3441502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7" name="Freeform 2337"/>
          <p:cNvSpPr/>
          <p:nvPr/>
        </p:nvSpPr>
        <p:spPr>
          <a:xfrm>
            <a:off x="209061" y="764148"/>
            <a:ext cx="61025" cy="90474"/>
          </a:xfrm>
          <a:custGeom>
            <a:avLst/>
            <a:gdLst/>
            <a:ahLst/>
            <a:cxnLst/>
            <a:rect l="0" t="0" r="0" b="0"/>
            <a:pathLst>
              <a:path w="4694237" h="6959600">
                <a:moveTo>
                  <a:pt x="2220118" y="942579"/>
                </a:moveTo>
                <a:cubicBezTo>
                  <a:pt x="1897591" y="942579"/>
                  <a:pt x="1620573" y="1071828"/>
                  <a:pt x="1389062" y="1330325"/>
                </a:cubicBezTo>
                <a:cubicBezTo>
                  <a:pt x="1157552" y="1588823"/>
                  <a:pt x="1041797" y="1897989"/>
                  <a:pt x="1041797" y="2257822"/>
                </a:cubicBezTo>
                <a:lnTo>
                  <a:pt x="0" y="2257822"/>
                </a:lnTo>
                <a:cubicBezTo>
                  <a:pt x="0" y="1873250"/>
                  <a:pt x="102327" y="1505215"/>
                  <a:pt x="306983" y="1153716"/>
                </a:cubicBezTo>
                <a:cubicBezTo>
                  <a:pt x="511638" y="802217"/>
                  <a:pt x="787598" y="522090"/>
                  <a:pt x="1134864" y="313333"/>
                </a:cubicBezTo>
                <a:cubicBezTo>
                  <a:pt x="1482129" y="104445"/>
                  <a:pt x="1843881" y="0"/>
                  <a:pt x="2220118" y="0"/>
                </a:cubicBezTo>
                <a:cubicBezTo>
                  <a:pt x="2955925" y="0"/>
                  <a:pt x="3552229" y="311216"/>
                  <a:pt x="4009033" y="933649"/>
                </a:cubicBezTo>
                <a:cubicBezTo>
                  <a:pt x="4465836" y="1555949"/>
                  <a:pt x="4694237" y="2386079"/>
                  <a:pt x="4694237" y="3424040"/>
                </a:cubicBezTo>
                <a:lnTo>
                  <a:pt x="4694237" y="3609975"/>
                </a:lnTo>
                <a:cubicBezTo>
                  <a:pt x="4694237" y="4238625"/>
                  <a:pt x="4590851" y="4811382"/>
                  <a:pt x="4384079" y="5328246"/>
                </a:cubicBezTo>
                <a:cubicBezTo>
                  <a:pt x="4177440" y="5845109"/>
                  <a:pt x="3886001" y="6246218"/>
                  <a:pt x="3509764" y="6531571"/>
                </a:cubicBezTo>
                <a:cubicBezTo>
                  <a:pt x="3133658" y="6816924"/>
                  <a:pt x="2701660" y="6959600"/>
                  <a:pt x="2213768" y="6959600"/>
                </a:cubicBezTo>
                <a:cubicBezTo>
                  <a:pt x="1581282" y="6959600"/>
                  <a:pt x="1054166" y="6730141"/>
                  <a:pt x="632420" y="6271221"/>
                </a:cubicBezTo>
                <a:cubicBezTo>
                  <a:pt x="210806" y="5812169"/>
                  <a:pt x="0" y="5233194"/>
                  <a:pt x="0" y="4534297"/>
                </a:cubicBezTo>
                <a:lnTo>
                  <a:pt x="1041797" y="4534297"/>
                </a:lnTo>
                <a:cubicBezTo>
                  <a:pt x="1041797" y="4964378"/>
                  <a:pt x="1156493" y="5321102"/>
                  <a:pt x="1385887" y="5604471"/>
                </a:cubicBezTo>
                <a:cubicBezTo>
                  <a:pt x="1615413" y="5887707"/>
                  <a:pt x="1891374" y="6029325"/>
                  <a:pt x="2213768" y="6029325"/>
                </a:cubicBezTo>
                <a:cubicBezTo>
                  <a:pt x="2602441" y="6029325"/>
                  <a:pt x="2919743" y="5840148"/>
                  <a:pt x="3165673" y="5461794"/>
                </a:cubicBezTo>
                <a:cubicBezTo>
                  <a:pt x="3411736" y="5083308"/>
                  <a:pt x="3555404" y="4559036"/>
                  <a:pt x="3596679" y="3888979"/>
                </a:cubicBezTo>
                <a:lnTo>
                  <a:pt x="1643261" y="3888979"/>
                </a:lnTo>
                <a:lnTo>
                  <a:pt x="1643261" y="2946400"/>
                </a:lnTo>
                <a:lnTo>
                  <a:pt x="3584376" y="2946400"/>
                </a:lnTo>
                <a:cubicBezTo>
                  <a:pt x="3534767" y="2326085"/>
                  <a:pt x="3391098" y="1837069"/>
                  <a:pt x="3153370" y="1479352"/>
                </a:cubicBezTo>
                <a:cubicBezTo>
                  <a:pt x="2915642" y="1121503"/>
                  <a:pt x="2604558" y="942579"/>
                  <a:pt x="2220118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8" name="Freeform 2338"/>
          <p:cNvSpPr/>
          <p:nvPr/>
        </p:nvSpPr>
        <p:spPr>
          <a:xfrm>
            <a:off x="290938" y="765799"/>
            <a:ext cx="64252" cy="87172"/>
          </a:xfrm>
          <a:custGeom>
            <a:avLst/>
            <a:gdLst/>
            <a:ahLst/>
            <a:cxnLst/>
            <a:rect l="0" t="0" r="0" b="0"/>
            <a:pathLst>
              <a:path w="4942482" h="6705600">
                <a:moveTo>
                  <a:pt x="1717873" y="3842941"/>
                </a:moveTo>
                <a:lnTo>
                  <a:pt x="1097756" y="3842941"/>
                </a:lnTo>
                <a:lnTo>
                  <a:pt x="109775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756" y="0"/>
                </a:lnTo>
                <a:lnTo>
                  <a:pt x="1097756" y="2832100"/>
                </a:lnTo>
                <a:lnTo>
                  <a:pt x="1643459" y="2832100"/>
                </a:lnTo>
                <a:lnTo>
                  <a:pt x="3472656" y="0"/>
                </a:lnTo>
                <a:lnTo>
                  <a:pt x="4781153" y="0"/>
                </a:lnTo>
                <a:lnTo>
                  <a:pt x="2542579" y="3185518"/>
                </a:lnTo>
                <a:lnTo>
                  <a:pt x="4942482" y="6705600"/>
                </a:lnTo>
                <a:lnTo>
                  <a:pt x="3565723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39" name="Freeform 2339"/>
          <p:cNvSpPr/>
          <p:nvPr/>
        </p:nvSpPr>
        <p:spPr>
          <a:xfrm>
            <a:off x="364018" y="764148"/>
            <a:ext cx="67474" cy="9047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0" name="Freeform 2340"/>
          <p:cNvSpPr/>
          <p:nvPr/>
        </p:nvSpPr>
        <p:spPr>
          <a:xfrm>
            <a:off x="451005" y="765799"/>
            <a:ext cx="59977" cy="87172"/>
          </a:xfrm>
          <a:custGeom>
            <a:avLst/>
            <a:gdLst/>
            <a:ahLst/>
            <a:cxnLst/>
            <a:rect l="0" t="0" r="0" b="0"/>
            <a:pathLst>
              <a:path w="4613672" h="6705600">
                <a:moveTo>
                  <a:pt x="4613672" y="6705600"/>
                </a:moveTo>
                <a:lnTo>
                  <a:pt x="3522266" y="6705600"/>
                </a:lnTo>
                <a:lnTo>
                  <a:pt x="3522266" y="3844727"/>
                </a:lnTo>
                <a:lnTo>
                  <a:pt x="1103908" y="3844727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03908" y="0"/>
                </a:lnTo>
                <a:lnTo>
                  <a:pt x="1103908" y="2908300"/>
                </a:lnTo>
                <a:lnTo>
                  <a:pt x="3522266" y="2908300"/>
                </a:lnTo>
                <a:lnTo>
                  <a:pt x="3522266" y="0"/>
                </a:lnTo>
                <a:lnTo>
                  <a:pt x="461367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1" name="Freeform 2341"/>
          <p:cNvSpPr/>
          <p:nvPr/>
        </p:nvSpPr>
        <p:spPr>
          <a:xfrm>
            <a:off x="530604" y="764148"/>
            <a:ext cx="67474" cy="9047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2" name="Freeform 2342"/>
          <p:cNvSpPr/>
          <p:nvPr/>
        </p:nvSpPr>
        <p:spPr>
          <a:xfrm>
            <a:off x="617591" y="765799"/>
            <a:ext cx="82629" cy="87172"/>
          </a:xfrm>
          <a:custGeom>
            <a:avLst/>
            <a:gdLst/>
            <a:ahLst/>
            <a:cxnLst/>
            <a:rect l="0" t="0" r="0" b="0"/>
            <a:pathLst>
              <a:path w="6356152" h="6705600">
                <a:moveTo>
                  <a:pt x="3193653" y="5187157"/>
                </a:moveTo>
                <a:lnTo>
                  <a:pt x="4991894" y="0"/>
                </a:lnTo>
                <a:lnTo>
                  <a:pt x="6356152" y="0"/>
                </a:lnTo>
                <a:lnTo>
                  <a:pt x="6356152" y="6705600"/>
                </a:lnTo>
                <a:lnTo>
                  <a:pt x="5264745" y="6705600"/>
                </a:lnTo>
                <a:lnTo>
                  <a:pt x="5264745" y="2082404"/>
                </a:lnTo>
                <a:lnTo>
                  <a:pt x="3571875" y="6705600"/>
                </a:lnTo>
                <a:lnTo>
                  <a:pt x="2821583" y="6705600"/>
                </a:lnTo>
                <a:lnTo>
                  <a:pt x="1091406" y="1970683"/>
                </a:lnTo>
                <a:lnTo>
                  <a:pt x="109140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1386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3" name="Freeform 2343"/>
          <p:cNvSpPr/>
          <p:nvPr/>
        </p:nvSpPr>
        <p:spPr>
          <a:xfrm>
            <a:off x="724080" y="765799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4" name="Freeform 2344"/>
          <p:cNvSpPr/>
          <p:nvPr/>
        </p:nvSpPr>
        <p:spPr>
          <a:xfrm>
            <a:off x="808196" y="765799"/>
            <a:ext cx="64252" cy="87172"/>
          </a:xfrm>
          <a:custGeom>
            <a:avLst/>
            <a:gdLst/>
            <a:ahLst/>
            <a:cxnLst/>
            <a:rect l="0" t="0" r="0" b="0"/>
            <a:pathLst>
              <a:path w="4942482" h="6705600">
                <a:moveTo>
                  <a:pt x="1717873" y="3842941"/>
                </a:moveTo>
                <a:lnTo>
                  <a:pt x="1097756" y="3842941"/>
                </a:lnTo>
                <a:lnTo>
                  <a:pt x="109775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756" y="0"/>
                </a:lnTo>
                <a:lnTo>
                  <a:pt x="1097756" y="2832100"/>
                </a:lnTo>
                <a:lnTo>
                  <a:pt x="1643459" y="2832100"/>
                </a:lnTo>
                <a:lnTo>
                  <a:pt x="3472656" y="0"/>
                </a:lnTo>
                <a:lnTo>
                  <a:pt x="4781153" y="0"/>
                </a:lnTo>
                <a:lnTo>
                  <a:pt x="2542579" y="3185518"/>
                </a:lnTo>
                <a:lnTo>
                  <a:pt x="4942482" y="6705600"/>
                </a:lnTo>
                <a:lnTo>
                  <a:pt x="3565723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5" name="Freeform 2345"/>
          <p:cNvSpPr/>
          <p:nvPr/>
        </p:nvSpPr>
        <p:spPr>
          <a:xfrm>
            <a:off x="887199" y="765799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6" name="Freeform 2346"/>
          <p:cNvSpPr/>
          <p:nvPr/>
        </p:nvSpPr>
        <p:spPr>
          <a:xfrm>
            <a:off x="970912" y="836062"/>
            <a:ext cx="18542" cy="17735"/>
          </a:xfrm>
          <a:custGeom>
            <a:avLst/>
            <a:gdLst/>
            <a:ahLst/>
            <a:cxnLst/>
            <a:rect l="0" t="0" r="0" b="0"/>
            <a:pathLst>
              <a:path w="1426369" h="1364257">
                <a:moveTo>
                  <a:pt x="0" y="694531"/>
                </a:moveTo>
                <a:cubicBezTo>
                  <a:pt x="0" y="496093"/>
                  <a:pt x="58870" y="330729"/>
                  <a:pt x="176610" y="198437"/>
                </a:cubicBezTo>
                <a:cubicBezTo>
                  <a:pt x="294482" y="66146"/>
                  <a:pt x="471223" y="0"/>
                  <a:pt x="706835" y="0"/>
                </a:cubicBezTo>
                <a:cubicBezTo>
                  <a:pt x="942578" y="0"/>
                  <a:pt x="1121437" y="66146"/>
                  <a:pt x="1243410" y="198437"/>
                </a:cubicBezTo>
                <a:cubicBezTo>
                  <a:pt x="1365383" y="330729"/>
                  <a:pt x="1426369" y="496093"/>
                  <a:pt x="1426369" y="694531"/>
                </a:cubicBezTo>
                <a:cubicBezTo>
                  <a:pt x="1426369" y="884634"/>
                  <a:pt x="1365383" y="1043781"/>
                  <a:pt x="1243410" y="1171972"/>
                </a:cubicBezTo>
                <a:cubicBezTo>
                  <a:pt x="1121437" y="1300162"/>
                  <a:pt x="942578" y="1364257"/>
                  <a:pt x="706835" y="1364257"/>
                </a:cubicBezTo>
                <a:cubicBezTo>
                  <a:pt x="471223" y="1364257"/>
                  <a:pt x="294482" y="1300162"/>
                  <a:pt x="176610" y="1171972"/>
                </a:cubicBezTo>
                <a:cubicBezTo>
                  <a:pt x="58870" y="1043781"/>
                  <a:pt x="0" y="884634"/>
                  <a:pt x="0" y="69453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7" name="Freeform 2347"/>
          <p:cNvSpPr/>
          <p:nvPr/>
        </p:nvSpPr>
        <p:spPr>
          <a:xfrm>
            <a:off x="1053834" y="735586"/>
            <a:ext cx="75295" cy="117386"/>
          </a:xfrm>
          <a:custGeom>
            <a:avLst/>
            <a:gdLst/>
            <a:ahLst/>
            <a:cxnLst/>
            <a:rect l="0" t="0" r="0" b="0"/>
            <a:pathLst>
              <a:path w="5791994" h="9029700">
                <a:moveTo>
                  <a:pt x="4657130" y="0"/>
                </a:moveTo>
                <a:lnTo>
                  <a:pt x="5791994" y="0"/>
                </a:lnTo>
                <a:lnTo>
                  <a:pt x="5791994" y="9029700"/>
                </a:lnTo>
                <a:lnTo>
                  <a:pt x="4657130" y="9029700"/>
                </a:lnTo>
                <a:lnTo>
                  <a:pt x="4657130" y="2071291"/>
                </a:lnTo>
                <a:lnTo>
                  <a:pt x="1141016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41016" y="0"/>
                </a:lnTo>
                <a:lnTo>
                  <a:pt x="1141016" y="695841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8" name="Freeform 2348"/>
          <p:cNvSpPr/>
          <p:nvPr/>
        </p:nvSpPr>
        <p:spPr>
          <a:xfrm>
            <a:off x="1150067" y="764148"/>
            <a:ext cx="58202" cy="90309"/>
          </a:xfrm>
          <a:custGeom>
            <a:avLst/>
            <a:gdLst/>
            <a:ahLst/>
            <a:cxnLst/>
            <a:rect l="0" t="0" r="0" b="0"/>
            <a:pathLst>
              <a:path w="4477147" h="6946900">
                <a:moveTo>
                  <a:pt x="4371776" y="1947466"/>
                </a:moveTo>
                <a:cubicBezTo>
                  <a:pt x="4371776" y="2249223"/>
                  <a:pt x="4295312" y="2526242"/>
                  <a:pt x="4142383" y="2778522"/>
                </a:cubicBezTo>
                <a:cubicBezTo>
                  <a:pt x="3989454" y="3030670"/>
                  <a:pt x="3772429" y="3231158"/>
                  <a:pt x="3491309" y="3379986"/>
                </a:cubicBezTo>
                <a:cubicBezTo>
                  <a:pt x="4148534" y="3648803"/>
                  <a:pt x="4477147" y="4169900"/>
                  <a:pt x="4477147" y="4943277"/>
                </a:cubicBezTo>
                <a:cubicBezTo>
                  <a:pt x="4477147" y="5567694"/>
                  <a:pt x="4273550" y="6057768"/>
                  <a:pt x="3866356" y="6413500"/>
                </a:cubicBezTo>
                <a:cubicBezTo>
                  <a:pt x="3459162" y="6769100"/>
                  <a:pt x="2922786" y="6946900"/>
                  <a:pt x="2257226" y="6946900"/>
                </a:cubicBezTo>
                <a:cubicBezTo>
                  <a:pt x="1599869" y="6946900"/>
                  <a:pt x="1059325" y="6757723"/>
                  <a:pt x="635595" y="6379369"/>
                </a:cubicBezTo>
                <a:cubicBezTo>
                  <a:pt x="211865" y="6001015"/>
                  <a:pt x="0" y="5489311"/>
                  <a:pt x="0" y="4844257"/>
                </a:cubicBezTo>
                <a:lnTo>
                  <a:pt x="1085254" y="4844257"/>
                </a:lnTo>
                <a:cubicBezTo>
                  <a:pt x="1085254" y="5175118"/>
                  <a:pt x="1196842" y="5456370"/>
                  <a:pt x="1420019" y="5688013"/>
                </a:cubicBezTo>
                <a:cubicBezTo>
                  <a:pt x="1643327" y="5919523"/>
                  <a:pt x="1922396" y="6035279"/>
                  <a:pt x="2257226" y="6035279"/>
                </a:cubicBezTo>
                <a:cubicBezTo>
                  <a:pt x="2596158" y="6035279"/>
                  <a:pt x="2867951" y="5933943"/>
                  <a:pt x="3072606" y="5731272"/>
                </a:cubicBezTo>
                <a:cubicBezTo>
                  <a:pt x="3277261" y="5528602"/>
                  <a:pt x="3379589" y="5265936"/>
                  <a:pt x="3379589" y="4943277"/>
                </a:cubicBezTo>
                <a:cubicBezTo>
                  <a:pt x="3379589" y="4566775"/>
                  <a:pt x="3295848" y="4296834"/>
                  <a:pt x="3128367" y="4133454"/>
                </a:cubicBezTo>
                <a:cubicBezTo>
                  <a:pt x="2961018" y="3970073"/>
                  <a:pt x="2697493" y="3888383"/>
                  <a:pt x="2337792" y="3888383"/>
                </a:cubicBezTo>
                <a:lnTo>
                  <a:pt x="1333301" y="3888383"/>
                </a:lnTo>
                <a:lnTo>
                  <a:pt x="1333301" y="2921000"/>
                </a:lnTo>
                <a:lnTo>
                  <a:pt x="2412206" y="2921000"/>
                </a:lnTo>
                <a:cubicBezTo>
                  <a:pt x="2990982" y="2900363"/>
                  <a:pt x="3280370" y="2577902"/>
                  <a:pt x="3280370" y="1953618"/>
                </a:cubicBezTo>
                <a:cubicBezTo>
                  <a:pt x="3280370" y="1639293"/>
                  <a:pt x="3190412" y="1390187"/>
                  <a:pt x="3010495" y="1206302"/>
                </a:cubicBezTo>
                <a:cubicBezTo>
                  <a:pt x="2830711" y="1022284"/>
                  <a:pt x="2581672" y="930275"/>
                  <a:pt x="2263378" y="930275"/>
                </a:cubicBezTo>
                <a:cubicBezTo>
                  <a:pt x="1953286" y="930275"/>
                  <a:pt x="1693862" y="1033661"/>
                  <a:pt x="1485106" y="1240433"/>
                </a:cubicBezTo>
                <a:cubicBezTo>
                  <a:pt x="1276350" y="1447205"/>
                  <a:pt x="1171972" y="1697435"/>
                  <a:pt x="1171972" y="1991122"/>
                </a:cubicBezTo>
                <a:lnTo>
                  <a:pt x="86717" y="1991122"/>
                </a:lnTo>
                <a:cubicBezTo>
                  <a:pt x="86717" y="1408113"/>
                  <a:pt x="293423" y="930540"/>
                  <a:pt x="706834" y="558404"/>
                </a:cubicBezTo>
                <a:cubicBezTo>
                  <a:pt x="1120246" y="186135"/>
                  <a:pt x="1639094" y="0"/>
                  <a:pt x="2263378" y="0"/>
                </a:cubicBezTo>
                <a:cubicBezTo>
                  <a:pt x="2928937" y="0"/>
                  <a:pt x="3446727" y="169532"/>
                  <a:pt x="3816747" y="508596"/>
                </a:cubicBezTo>
                <a:cubicBezTo>
                  <a:pt x="4186766" y="847659"/>
                  <a:pt x="4371776" y="1327283"/>
                  <a:pt x="4371776" y="194746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49" name="Freeform 2349"/>
          <p:cNvSpPr/>
          <p:nvPr/>
        </p:nvSpPr>
        <p:spPr>
          <a:xfrm>
            <a:off x="1266104" y="765799"/>
            <a:ext cx="59977" cy="87172"/>
          </a:xfrm>
          <a:custGeom>
            <a:avLst/>
            <a:gdLst/>
            <a:ahLst/>
            <a:cxnLst/>
            <a:rect l="0" t="0" r="0" b="0"/>
            <a:pathLst>
              <a:path w="4613672" h="6705600">
                <a:moveTo>
                  <a:pt x="4613672" y="6705600"/>
                </a:moveTo>
                <a:lnTo>
                  <a:pt x="3522266" y="6705600"/>
                </a:lnTo>
                <a:lnTo>
                  <a:pt x="3522266" y="3844727"/>
                </a:lnTo>
                <a:lnTo>
                  <a:pt x="1103908" y="3844727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03908" y="0"/>
                </a:lnTo>
                <a:lnTo>
                  <a:pt x="1103908" y="2908300"/>
                </a:lnTo>
                <a:lnTo>
                  <a:pt x="3522266" y="2908300"/>
                </a:lnTo>
                <a:lnTo>
                  <a:pt x="3522266" y="0"/>
                </a:lnTo>
                <a:lnTo>
                  <a:pt x="461367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0" name="Freeform 2350"/>
          <p:cNvSpPr/>
          <p:nvPr/>
        </p:nvSpPr>
        <p:spPr>
          <a:xfrm>
            <a:off x="1349974" y="765799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1" name="Freeform 2351"/>
          <p:cNvSpPr/>
          <p:nvPr/>
        </p:nvSpPr>
        <p:spPr>
          <a:xfrm>
            <a:off x="1426271" y="765799"/>
            <a:ext cx="63687" cy="87172"/>
          </a:xfrm>
          <a:custGeom>
            <a:avLst/>
            <a:gdLst/>
            <a:ahLst/>
            <a:cxnLst/>
            <a:rect l="0" t="0" r="0" b="0"/>
            <a:pathLst>
              <a:path w="4899025" h="6705600">
                <a:moveTo>
                  <a:pt x="2437011" y="2447925"/>
                </a:moveTo>
                <a:lnTo>
                  <a:pt x="3584377" y="0"/>
                </a:lnTo>
                <a:lnTo>
                  <a:pt x="4855568" y="0"/>
                </a:lnTo>
                <a:lnTo>
                  <a:pt x="3032324" y="3315494"/>
                </a:lnTo>
                <a:lnTo>
                  <a:pt x="4899025" y="6705600"/>
                </a:lnTo>
                <a:lnTo>
                  <a:pt x="3640138" y="6705600"/>
                </a:lnTo>
                <a:lnTo>
                  <a:pt x="2455665" y="4195565"/>
                </a:lnTo>
                <a:lnTo>
                  <a:pt x="1265040" y="6705600"/>
                </a:lnTo>
                <a:lnTo>
                  <a:pt x="0" y="6705600"/>
                </a:lnTo>
                <a:lnTo>
                  <a:pt x="1866504" y="3315494"/>
                </a:lnTo>
                <a:lnTo>
                  <a:pt x="49610" y="0"/>
                </a:lnTo>
                <a:lnTo>
                  <a:pt x="130849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2" name="Freeform 2352"/>
          <p:cNvSpPr/>
          <p:nvPr/>
        </p:nvSpPr>
        <p:spPr>
          <a:xfrm>
            <a:off x="1541151" y="733935"/>
            <a:ext cx="67554" cy="120688"/>
          </a:xfrm>
          <a:custGeom>
            <a:avLst/>
            <a:gdLst/>
            <a:ahLst/>
            <a:cxnLst/>
            <a:rect l="0" t="0" r="0" b="0"/>
            <a:pathLst>
              <a:path w="5196482" h="9283700">
                <a:moveTo>
                  <a:pt x="5041503" y="2528690"/>
                </a:moveTo>
                <a:cubicBezTo>
                  <a:pt x="5041503" y="2967765"/>
                  <a:pt x="4948436" y="3357166"/>
                  <a:pt x="4762301" y="3696891"/>
                </a:cubicBezTo>
                <a:cubicBezTo>
                  <a:pt x="4576299" y="4036484"/>
                  <a:pt x="4320050" y="4307748"/>
                  <a:pt x="3993554" y="4510683"/>
                </a:cubicBezTo>
                <a:cubicBezTo>
                  <a:pt x="4365558" y="4721424"/>
                  <a:pt x="4659047" y="5011738"/>
                  <a:pt x="4874021" y="5381625"/>
                </a:cubicBezTo>
                <a:cubicBezTo>
                  <a:pt x="5088996" y="5751513"/>
                  <a:pt x="5196482" y="6186422"/>
                  <a:pt x="5196482" y="6686352"/>
                </a:cubicBezTo>
                <a:cubicBezTo>
                  <a:pt x="5196482" y="7488172"/>
                  <a:pt x="4964972" y="8121518"/>
                  <a:pt x="4501951" y="8586391"/>
                </a:cubicBezTo>
                <a:cubicBezTo>
                  <a:pt x="4038930" y="9051264"/>
                  <a:pt x="3408494" y="9283700"/>
                  <a:pt x="2610643" y="9283700"/>
                </a:cubicBezTo>
                <a:cubicBezTo>
                  <a:pt x="1812792" y="9283700"/>
                  <a:pt x="1178189" y="9051264"/>
                  <a:pt x="706834" y="8586391"/>
                </a:cubicBezTo>
                <a:cubicBezTo>
                  <a:pt x="235611" y="8121518"/>
                  <a:pt x="0" y="7488172"/>
                  <a:pt x="0" y="6686352"/>
                </a:cubicBezTo>
                <a:cubicBezTo>
                  <a:pt x="0" y="6186422"/>
                  <a:pt x="107487" y="5750521"/>
                  <a:pt x="322461" y="5378649"/>
                </a:cubicBezTo>
                <a:cubicBezTo>
                  <a:pt x="537434" y="5006645"/>
                  <a:pt x="832974" y="4717323"/>
                  <a:pt x="1209079" y="4510683"/>
                </a:cubicBezTo>
                <a:cubicBezTo>
                  <a:pt x="878350" y="4307748"/>
                  <a:pt x="619984" y="4036484"/>
                  <a:pt x="433982" y="3696891"/>
                </a:cubicBezTo>
                <a:cubicBezTo>
                  <a:pt x="247980" y="3357166"/>
                  <a:pt x="154979" y="2967765"/>
                  <a:pt x="154979" y="2528690"/>
                </a:cubicBezTo>
                <a:cubicBezTo>
                  <a:pt x="154979" y="1737585"/>
                  <a:pt x="376105" y="1118394"/>
                  <a:pt x="818356" y="671116"/>
                </a:cubicBezTo>
                <a:cubicBezTo>
                  <a:pt x="1260739" y="223705"/>
                  <a:pt x="1854001" y="0"/>
                  <a:pt x="2598142" y="0"/>
                </a:cubicBezTo>
                <a:cubicBezTo>
                  <a:pt x="3350617" y="0"/>
                  <a:pt x="3945929" y="225756"/>
                  <a:pt x="4384079" y="677268"/>
                </a:cubicBezTo>
                <a:cubicBezTo>
                  <a:pt x="4822361" y="1128779"/>
                  <a:pt x="5041503" y="1745920"/>
                  <a:pt x="5041503" y="2528690"/>
                </a:cubicBezTo>
                <a:close/>
                <a:moveTo>
                  <a:pt x="2610643" y="7826375"/>
                </a:moveTo>
                <a:cubicBezTo>
                  <a:pt x="2875227" y="7826375"/>
                  <a:pt x="3078824" y="7713795"/>
                  <a:pt x="3221434" y="7488635"/>
                </a:cubicBezTo>
                <a:cubicBezTo>
                  <a:pt x="3364044" y="7263474"/>
                  <a:pt x="3435350" y="6950605"/>
                  <a:pt x="3435350" y="6550025"/>
                </a:cubicBezTo>
                <a:cubicBezTo>
                  <a:pt x="3435350" y="6149314"/>
                  <a:pt x="3360936" y="5835386"/>
                  <a:pt x="3212107" y="5608241"/>
                </a:cubicBezTo>
                <a:cubicBezTo>
                  <a:pt x="3063279" y="5380964"/>
                  <a:pt x="2858624" y="5267325"/>
                  <a:pt x="2598142" y="5267325"/>
                </a:cubicBezTo>
                <a:cubicBezTo>
                  <a:pt x="2337792" y="5267325"/>
                  <a:pt x="2132144" y="5380964"/>
                  <a:pt x="1981200" y="5608241"/>
                </a:cubicBezTo>
                <a:cubicBezTo>
                  <a:pt x="1830255" y="5835386"/>
                  <a:pt x="1754782" y="6149314"/>
                  <a:pt x="1754782" y="6550025"/>
                </a:cubicBezTo>
                <a:cubicBezTo>
                  <a:pt x="1754782" y="6950605"/>
                  <a:pt x="1830255" y="7263474"/>
                  <a:pt x="1981200" y="7488635"/>
                </a:cubicBezTo>
                <a:cubicBezTo>
                  <a:pt x="2132144" y="7713795"/>
                  <a:pt x="2341959" y="7826375"/>
                  <a:pt x="2610643" y="7826375"/>
                </a:cubicBezTo>
                <a:close/>
                <a:moveTo>
                  <a:pt x="3292673" y="2621161"/>
                </a:moveTo>
                <a:cubicBezTo>
                  <a:pt x="3292673" y="2268472"/>
                  <a:pt x="3235854" y="1986360"/>
                  <a:pt x="3122215" y="1774825"/>
                </a:cubicBezTo>
                <a:cubicBezTo>
                  <a:pt x="3008577" y="1563159"/>
                  <a:pt x="2833886" y="1457325"/>
                  <a:pt x="2598142" y="1457325"/>
                </a:cubicBezTo>
                <a:cubicBezTo>
                  <a:pt x="2374966" y="1457325"/>
                  <a:pt x="2205500" y="1560050"/>
                  <a:pt x="2089745" y="1765499"/>
                </a:cubicBezTo>
                <a:cubicBezTo>
                  <a:pt x="1973990" y="1970816"/>
                  <a:pt x="1916112" y="2256036"/>
                  <a:pt x="1916112" y="2621161"/>
                </a:cubicBezTo>
                <a:cubicBezTo>
                  <a:pt x="1916112" y="2978084"/>
                  <a:pt x="1973990" y="3265488"/>
                  <a:pt x="2089745" y="3483372"/>
                </a:cubicBezTo>
                <a:cubicBezTo>
                  <a:pt x="2205500" y="3701125"/>
                  <a:pt x="2379133" y="3810000"/>
                  <a:pt x="2610643" y="3810000"/>
                </a:cubicBezTo>
                <a:cubicBezTo>
                  <a:pt x="2842154" y="3810000"/>
                  <a:pt x="3013670" y="3701125"/>
                  <a:pt x="3125192" y="3483372"/>
                </a:cubicBezTo>
                <a:cubicBezTo>
                  <a:pt x="3236846" y="3265488"/>
                  <a:pt x="3292673" y="2978084"/>
                  <a:pt x="3292673" y="26211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3" name="Freeform 2353"/>
          <p:cNvSpPr/>
          <p:nvPr/>
        </p:nvSpPr>
        <p:spPr>
          <a:xfrm>
            <a:off x="1660243" y="764148"/>
            <a:ext cx="70618" cy="9047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4" name="Freeform 2354"/>
          <p:cNvSpPr/>
          <p:nvPr/>
        </p:nvSpPr>
        <p:spPr>
          <a:xfrm>
            <a:off x="1737969" y="765799"/>
            <a:ext cx="67476" cy="87172"/>
          </a:xfrm>
          <a:custGeom>
            <a:avLst/>
            <a:gdLst/>
            <a:ahLst/>
            <a:cxnLst/>
            <a:rect l="0" t="0" r="0" b="0"/>
            <a:pathLst>
              <a:path w="5190529" h="6705600">
                <a:moveTo>
                  <a:pt x="5190529" y="1444824"/>
                </a:moveTo>
                <a:lnTo>
                  <a:pt x="3466504" y="1444824"/>
                </a:lnTo>
                <a:lnTo>
                  <a:pt x="3466504" y="6705600"/>
                </a:lnTo>
                <a:lnTo>
                  <a:pt x="1711523" y="6705600"/>
                </a:lnTo>
                <a:lnTo>
                  <a:pt x="1711523" y="1444824"/>
                </a:lnTo>
                <a:lnTo>
                  <a:pt x="0" y="1444824"/>
                </a:lnTo>
                <a:lnTo>
                  <a:pt x="0" y="0"/>
                </a:lnTo>
                <a:lnTo>
                  <a:pt x="51905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5" name="Freeform 2355"/>
          <p:cNvSpPr/>
          <p:nvPr/>
        </p:nvSpPr>
        <p:spPr>
          <a:xfrm>
            <a:off x="1817601" y="764148"/>
            <a:ext cx="67959" cy="122339"/>
          </a:xfrm>
          <a:custGeom>
            <a:avLst/>
            <a:gdLst/>
            <a:ahLst/>
            <a:cxnLst/>
            <a:rect l="0" t="0" r="0" b="0"/>
            <a:pathLst>
              <a:path w="5227637" h="9410700">
                <a:moveTo>
                  <a:pt x="5227637" y="3690740"/>
                </a:moveTo>
                <a:cubicBezTo>
                  <a:pt x="5227637" y="4745236"/>
                  <a:pt x="5046729" y="5553671"/>
                  <a:pt x="4684911" y="6116043"/>
                </a:cubicBezTo>
                <a:cubicBezTo>
                  <a:pt x="4323225" y="6678415"/>
                  <a:pt x="3784798" y="6959600"/>
                  <a:pt x="3069630" y="6959600"/>
                </a:cubicBezTo>
                <a:cubicBezTo>
                  <a:pt x="2523926" y="6959600"/>
                  <a:pt x="2085710" y="6738343"/>
                  <a:pt x="1754981" y="6295827"/>
                </a:cubicBezTo>
                <a:lnTo>
                  <a:pt x="1754981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24608" y="127000"/>
                </a:lnTo>
                <a:lnTo>
                  <a:pt x="1686719" y="738188"/>
                </a:lnTo>
                <a:cubicBezTo>
                  <a:pt x="2021549" y="246063"/>
                  <a:pt x="2478352" y="0"/>
                  <a:pt x="3057128" y="0"/>
                </a:cubicBezTo>
                <a:cubicBezTo>
                  <a:pt x="3772297" y="0"/>
                  <a:pt x="4310724" y="260549"/>
                  <a:pt x="4672409" y="781646"/>
                </a:cubicBezTo>
                <a:cubicBezTo>
                  <a:pt x="5034227" y="1302611"/>
                  <a:pt x="5219303" y="2100660"/>
                  <a:pt x="5227637" y="3175794"/>
                </a:cubicBezTo>
                <a:close/>
                <a:moveTo>
                  <a:pt x="3478808" y="3250208"/>
                </a:moveTo>
                <a:cubicBezTo>
                  <a:pt x="3478808" y="2600789"/>
                  <a:pt x="3407502" y="2141670"/>
                  <a:pt x="3264892" y="1872854"/>
                </a:cubicBezTo>
                <a:cubicBezTo>
                  <a:pt x="3122282" y="1604037"/>
                  <a:pt x="2881444" y="1469629"/>
                  <a:pt x="2542381" y="1469629"/>
                </a:cubicBezTo>
                <a:cubicBezTo>
                  <a:pt x="2182812" y="1469629"/>
                  <a:pt x="1920346" y="1620573"/>
                  <a:pt x="1754981" y="1922463"/>
                </a:cubicBezTo>
                <a:lnTo>
                  <a:pt x="1754981" y="5067896"/>
                </a:lnTo>
                <a:cubicBezTo>
                  <a:pt x="1912011" y="5357482"/>
                  <a:pt x="2178645" y="5502275"/>
                  <a:pt x="2554883" y="5502275"/>
                </a:cubicBezTo>
                <a:cubicBezTo>
                  <a:pt x="2902148" y="5502275"/>
                  <a:pt x="3142919" y="5355432"/>
                  <a:pt x="3277195" y="5061744"/>
                </a:cubicBezTo>
                <a:cubicBezTo>
                  <a:pt x="3411604" y="4768057"/>
                  <a:pt x="3478808" y="4311055"/>
                  <a:pt x="3478808" y="36907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6" name="Freeform 2356"/>
          <p:cNvSpPr/>
          <p:nvPr/>
        </p:nvSpPr>
        <p:spPr>
          <a:xfrm>
            <a:off x="1896826" y="764148"/>
            <a:ext cx="66911" cy="90474"/>
          </a:xfrm>
          <a:custGeom>
            <a:avLst/>
            <a:gdLst/>
            <a:ahLst/>
            <a:cxnLst/>
            <a:rect l="0" t="0" r="0" b="0"/>
            <a:pathLst>
              <a:path w="5147072" h="6959600">
                <a:moveTo>
                  <a:pt x="3379589" y="6832600"/>
                </a:moveTo>
                <a:cubicBezTo>
                  <a:pt x="3329980" y="6729810"/>
                  <a:pt x="3280370" y="6557103"/>
                  <a:pt x="3230761" y="6314480"/>
                </a:cubicBezTo>
                <a:cubicBezTo>
                  <a:pt x="2916568" y="6744560"/>
                  <a:pt x="2490787" y="6959600"/>
                  <a:pt x="1953419" y="6959600"/>
                </a:cubicBezTo>
                <a:cubicBezTo>
                  <a:pt x="1391179" y="6959600"/>
                  <a:pt x="925049" y="6773334"/>
                  <a:pt x="555030" y="6400800"/>
                </a:cubicBezTo>
                <a:cubicBezTo>
                  <a:pt x="185010" y="6028135"/>
                  <a:pt x="0" y="5545799"/>
                  <a:pt x="0" y="4953794"/>
                </a:cubicBezTo>
                <a:cubicBezTo>
                  <a:pt x="0" y="4249870"/>
                  <a:pt x="224234" y="3705424"/>
                  <a:pt x="672703" y="3320455"/>
                </a:cubicBezTo>
                <a:cubicBezTo>
                  <a:pt x="1121304" y="2935486"/>
                  <a:pt x="1767284" y="2738835"/>
                  <a:pt x="2610644" y="2730500"/>
                </a:cubicBezTo>
                <a:lnTo>
                  <a:pt x="3144044" y="2730500"/>
                </a:lnTo>
                <a:lnTo>
                  <a:pt x="3144044" y="2192735"/>
                </a:lnTo>
                <a:cubicBezTo>
                  <a:pt x="3144044" y="1891771"/>
                  <a:pt x="3092318" y="1679509"/>
                  <a:pt x="2988866" y="1555949"/>
                </a:cubicBezTo>
                <a:cubicBezTo>
                  <a:pt x="2885546" y="1432256"/>
                  <a:pt x="2734667" y="1370410"/>
                  <a:pt x="2536230" y="1370410"/>
                </a:cubicBezTo>
                <a:cubicBezTo>
                  <a:pt x="2098080" y="1370410"/>
                  <a:pt x="1879005" y="1624807"/>
                  <a:pt x="1879005" y="2133600"/>
                </a:cubicBezTo>
                <a:lnTo>
                  <a:pt x="124023" y="2133600"/>
                </a:lnTo>
                <a:cubicBezTo>
                  <a:pt x="124023" y="1515137"/>
                  <a:pt x="356526" y="1004954"/>
                  <a:pt x="821531" y="603052"/>
                </a:cubicBezTo>
                <a:cubicBezTo>
                  <a:pt x="1286669" y="201018"/>
                  <a:pt x="1874771" y="0"/>
                  <a:pt x="2585839" y="0"/>
                </a:cubicBezTo>
                <a:cubicBezTo>
                  <a:pt x="3321777" y="0"/>
                  <a:pt x="3891293" y="191162"/>
                  <a:pt x="4294386" y="573485"/>
                </a:cubicBezTo>
                <a:cubicBezTo>
                  <a:pt x="4697479" y="955808"/>
                  <a:pt x="4899025" y="1502437"/>
                  <a:pt x="4899025" y="2213372"/>
                </a:cubicBezTo>
                <a:lnTo>
                  <a:pt x="4899025" y="5369322"/>
                </a:lnTo>
                <a:cubicBezTo>
                  <a:pt x="4907227" y="5947966"/>
                  <a:pt x="4989909" y="6400602"/>
                  <a:pt x="5147072" y="6727230"/>
                </a:cubicBezTo>
                <a:lnTo>
                  <a:pt x="5147072" y="6832600"/>
                </a:lnTo>
                <a:close/>
                <a:moveTo>
                  <a:pt x="2344142" y="5582841"/>
                </a:moveTo>
                <a:cubicBezTo>
                  <a:pt x="2538346" y="5582841"/>
                  <a:pt x="2703645" y="5543484"/>
                  <a:pt x="2840037" y="5464771"/>
                </a:cubicBezTo>
                <a:cubicBezTo>
                  <a:pt x="2976562" y="5385925"/>
                  <a:pt x="3077898" y="5292527"/>
                  <a:pt x="3144044" y="5184577"/>
                </a:cubicBezTo>
                <a:lnTo>
                  <a:pt x="3144044" y="3784799"/>
                </a:lnTo>
                <a:lnTo>
                  <a:pt x="2722364" y="3784799"/>
                </a:lnTo>
                <a:cubicBezTo>
                  <a:pt x="2424708" y="3784799"/>
                  <a:pt x="2190088" y="3880181"/>
                  <a:pt x="2018506" y="4070946"/>
                </a:cubicBezTo>
                <a:cubicBezTo>
                  <a:pt x="1846924" y="4261710"/>
                  <a:pt x="1761133" y="4516835"/>
                  <a:pt x="1761133" y="4836319"/>
                </a:cubicBezTo>
                <a:cubicBezTo>
                  <a:pt x="1761133" y="5334000"/>
                  <a:pt x="1955469" y="5582841"/>
                  <a:pt x="2344142" y="5582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7" name="Freeform 2357"/>
          <p:cNvSpPr/>
          <p:nvPr/>
        </p:nvSpPr>
        <p:spPr>
          <a:xfrm>
            <a:off x="1974180" y="764148"/>
            <a:ext cx="65782" cy="90474"/>
          </a:xfrm>
          <a:custGeom>
            <a:avLst/>
            <a:gdLst/>
            <a:ahLst/>
            <a:cxnLst/>
            <a:rect l="0" t="0" r="0" b="0"/>
            <a:pathLst>
              <a:path w="5060156" h="6959600">
                <a:moveTo>
                  <a:pt x="2635647" y="5502275"/>
                </a:moveTo>
                <a:cubicBezTo>
                  <a:pt x="3144044" y="5502275"/>
                  <a:pt x="3402409" y="5171546"/>
                  <a:pt x="3410744" y="4510088"/>
                </a:cubicBezTo>
                <a:lnTo>
                  <a:pt x="5060156" y="4510088"/>
                </a:lnTo>
                <a:cubicBezTo>
                  <a:pt x="5051954" y="5241793"/>
                  <a:pt x="4826661" y="5833005"/>
                  <a:pt x="4384278" y="6283722"/>
                </a:cubicBezTo>
                <a:cubicBezTo>
                  <a:pt x="3941894" y="6734308"/>
                  <a:pt x="3371387" y="6959600"/>
                  <a:pt x="2672754" y="6959600"/>
                </a:cubicBezTo>
                <a:cubicBezTo>
                  <a:pt x="1808758" y="6959600"/>
                  <a:pt x="1149350" y="6690850"/>
                  <a:pt x="694531" y="6153349"/>
                </a:cubicBezTo>
                <a:cubicBezTo>
                  <a:pt x="239845" y="5615716"/>
                  <a:pt x="8334" y="4823752"/>
                  <a:pt x="0" y="3777457"/>
                </a:cubicBezTo>
                <a:lnTo>
                  <a:pt x="0" y="3244057"/>
                </a:lnTo>
                <a:cubicBezTo>
                  <a:pt x="0" y="2189560"/>
                  <a:pt x="224300" y="1385293"/>
                  <a:pt x="672901" y="831255"/>
                </a:cubicBezTo>
                <a:cubicBezTo>
                  <a:pt x="1121502" y="277085"/>
                  <a:pt x="1784019" y="0"/>
                  <a:pt x="2660451" y="0"/>
                </a:cubicBezTo>
                <a:cubicBezTo>
                  <a:pt x="3400358" y="0"/>
                  <a:pt x="3983236" y="228402"/>
                  <a:pt x="4409083" y="685205"/>
                </a:cubicBezTo>
                <a:cubicBezTo>
                  <a:pt x="4834929" y="1142008"/>
                  <a:pt x="5051954" y="1790039"/>
                  <a:pt x="5060156" y="2629297"/>
                </a:cubicBezTo>
                <a:lnTo>
                  <a:pt x="3410744" y="2629297"/>
                </a:lnTo>
                <a:cubicBezTo>
                  <a:pt x="3406643" y="2253192"/>
                  <a:pt x="3344598" y="1963870"/>
                  <a:pt x="3224609" y="1761332"/>
                </a:cubicBezTo>
                <a:cubicBezTo>
                  <a:pt x="3104753" y="1558661"/>
                  <a:pt x="2906315" y="1457325"/>
                  <a:pt x="2629297" y="1457325"/>
                </a:cubicBezTo>
                <a:cubicBezTo>
                  <a:pt x="2323438" y="1457325"/>
                  <a:pt x="2104363" y="1565937"/>
                  <a:pt x="1972072" y="1783160"/>
                </a:cubicBezTo>
                <a:cubicBezTo>
                  <a:pt x="1839780" y="2000250"/>
                  <a:pt x="1769467" y="2421070"/>
                  <a:pt x="1761133" y="3045619"/>
                </a:cubicBezTo>
                <a:lnTo>
                  <a:pt x="1761133" y="3728046"/>
                </a:lnTo>
                <a:cubicBezTo>
                  <a:pt x="1761133" y="4273881"/>
                  <a:pt x="1787988" y="4655410"/>
                  <a:pt x="1841698" y="4872633"/>
                </a:cubicBezTo>
                <a:cubicBezTo>
                  <a:pt x="1895541" y="5089724"/>
                  <a:pt x="1984441" y="5248937"/>
                  <a:pt x="2108398" y="5350272"/>
                </a:cubicBezTo>
                <a:cubicBezTo>
                  <a:pt x="2232488" y="5451608"/>
                  <a:pt x="2408237" y="5502275"/>
                  <a:pt x="2635647" y="55022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8" name="Freeform 2358"/>
          <p:cNvSpPr/>
          <p:nvPr/>
        </p:nvSpPr>
        <p:spPr>
          <a:xfrm>
            <a:off x="2047142" y="765799"/>
            <a:ext cx="71503" cy="87172"/>
          </a:xfrm>
          <a:custGeom>
            <a:avLst/>
            <a:gdLst/>
            <a:ahLst/>
            <a:cxnLst/>
            <a:rect l="0" t="0" r="0" b="0"/>
            <a:pathLst>
              <a:path w="5500290" h="6705600">
                <a:moveTo>
                  <a:pt x="5500290" y="0"/>
                </a:moveTo>
                <a:lnTo>
                  <a:pt x="5500290" y="6705600"/>
                </a:lnTo>
                <a:lnTo>
                  <a:pt x="3745507" y="6705600"/>
                </a:lnTo>
                <a:lnTo>
                  <a:pt x="3745507" y="1463477"/>
                </a:lnTo>
                <a:lnTo>
                  <a:pt x="2703711" y="1463477"/>
                </a:lnTo>
                <a:lnTo>
                  <a:pt x="2604492" y="3532982"/>
                </a:lnTo>
                <a:cubicBezTo>
                  <a:pt x="2542447" y="4607058"/>
                  <a:pt x="2350161" y="5401271"/>
                  <a:pt x="2027634" y="5915621"/>
                </a:cubicBezTo>
                <a:cubicBezTo>
                  <a:pt x="1705239" y="6429839"/>
                  <a:pt x="1225682" y="6693165"/>
                  <a:pt x="588962" y="6705600"/>
                </a:cubicBezTo>
                <a:lnTo>
                  <a:pt x="18454" y="6705600"/>
                </a:lnTo>
                <a:lnTo>
                  <a:pt x="0" y="5242124"/>
                </a:lnTo>
                <a:lnTo>
                  <a:pt x="198437" y="5217319"/>
                </a:lnTo>
                <a:cubicBezTo>
                  <a:pt x="434049" y="5184246"/>
                  <a:pt x="607615" y="5012796"/>
                  <a:pt x="719137" y="4702969"/>
                </a:cubicBezTo>
                <a:cubicBezTo>
                  <a:pt x="830791" y="4393142"/>
                  <a:pt x="903155" y="3885076"/>
                  <a:pt x="936228" y="3178771"/>
                </a:cubicBezTo>
                <a:lnTo>
                  <a:pt x="105410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59" name="Freeform 2359"/>
          <p:cNvSpPr/>
          <p:nvPr/>
        </p:nvSpPr>
        <p:spPr>
          <a:xfrm>
            <a:off x="2133239" y="764148"/>
            <a:ext cx="68119" cy="90474"/>
          </a:xfrm>
          <a:custGeom>
            <a:avLst/>
            <a:gdLst/>
            <a:ahLst/>
            <a:cxnLst/>
            <a:rect l="0" t="0" r="0" b="0"/>
            <a:pathLst>
              <a:path w="5239941" h="6959600">
                <a:moveTo>
                  <a:pt x="2864842" y="6959600"/>
                </a:moveTo>
                <a:cubicBezTo>
                  <a:pt x="1963671" y="6959600"/>
                  <a:pt x="1260872" y="6690850"/>
                  <a:pt x="756444" y="6153349"/>
                </a:cubicBezTo>
                <a:cubicBezTo>
                  <a:pt x="252148" y="5615716"/>
                  <a:pt x="0" y="4846506"/>
                  <a:pt x="0" y="3845719"/>
                </a:cubicBezTo>
                <a:lnTo>
                  <a:pt x="0" y="3312319"/>
                </a:lnTo>
                <a:cubicBezTo>
                  <a:pt x="0" y="2253721"/>
                  <a:pt x="231511" y="1437019"/>
                  <a:pt x="694531" y="862211"/>
                </a:cubicBezTo>
                <a:cubicBezTo>
                  <a:pt x="1157552" y="287404"/>
                  <a:pt x="1821061" y="0"/>
                  <a:pt x="2685058" y="0"/>
                </a:cubicBezTo>
                <a:cubicBezTo>
                  <a:pt x="3528417" y="0"/>
                  <a:pt x="4162954" y="270074"/>
                  <a:pt x="4588669" y="810221"/>
                </a:cubicBezTo>
                <a:cubicBezTo>
                  <a:pt x="5014516" y="1350368"/>
                  <a:pt x="5231606" y="2150203"/>
                  <a:pt x="5239941" y="3209727"/>
                </a:cubicBezTo>
                <a:lnTo>
                  <a:pt x="5239941" y="4072732"/>
                </a:lnTo>
                <a:lnTo>
                  <a:pt x="1748631" y="4072732"/>
                </a:lnTo>
                <a:cubicBezTo>
                  <a:pt x="1773502" y="4567767"/>
                  <a:pt x="1883040" y="4929783"/>
                  <a:pt x="2077244" y="5158780"/>
                </a:cubicBezTo>
                <a:cubicBezTo>
                  <a:pt x="2271580" y="5387777"/>
                  <a:pt x="2571353" y="5502275"/>
                  <a:pt x="2976563" y="5502275"/>
                </a:cubicBezTo>
                <a:cubicBezTo>
                  <a:pt x="3563541" y="5502275"/>
                  <a:pt x="4053417" y="5301589"/>
                  <a:pt x="4446191" y="4900216"/>
                </a:cubicBezTo>
                <a:lnTo>
                  <a:pt x="5134570" y="5960865"/>
                </a:lnTo>
                <a:cubicBezTo>
                  <a:pt x="4919596" y="6258653"/>
                  <a:pt x="4607454" y="6499556"/>
                  <a:pt x="4198144" y="6683574"/>
                </a:cubicBezTo>
                <a:cubicBezTo>
                  <a:pt x="3788834" y="6867591"/>
                  <a:pt x="3344399" y="6959600"/>
                  <a:pt x="2864842" y="6959600"/>
                </a:cubicBezTo>
                <a:close/>
                <a:moveTo>
                  <a:pt x="1761133" y="2844800"/>
                </a:moveTo>
                <a:lnTo>
                  <a:pt x="3515916" y="2844800"/>
                </a:lnTo>
                <a:lnTo>
                  <a:pt x="3515916" y="2683074"/>
                </a:lnTo>
                <a:cubicBezTo>
                  <a:pt x="3507714" y="2280643"/>
                  <a:pt x="3441568" y="1975776"/>
                  <a:pt x="3317478" y="1768475"/>
                </a:cubicBezTo>
                <a:cubicBezTo>
                  <a:pt x="3193521" y="1561042"/>
                  <a:pt x="2978547" y="1457325"/>
                  <a:pt x="2672556" y="1457325"/>
                </a:cubicBezTo>
                <a:cubicBezTo>
                  <a:pt x="2366698" y="1457325"/>
                  <a:pt x="2144514" y="1567260"/>
                  <a:pt x="2006005" y="1787129"/>
                </a:cubicBezTo>
                <a:cubicBezTo>
                  <a:pt x="1867495" y="2006997"/>
                  <a:pt x="1785872" y="2359555"/>
                  <a:pt x="1761133" y="284480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0" name="Freeform 2360"/>
          <p:cNvSpPr/>
          <p:nvPr/>
        </p:nvSpPr>
        <p:spPr>
          <a:xfrm>
            <a:off x="2214091" y="730137"/>
            <a:ext cx="65941" cy="122834"/>
          </a:xfrm>
          <a:custGeom>
            <a:avLst/>
            <a:gdLst/>
            <a:ahLst/>
            <a:cxnLst/>
            <a:rect l="0" t="0" r="0" b="0"/>
            <a:pathLst>
              <a:path w="5072460" h="9448800">
                <a:moveTo>
                  <a:pt x="3323828" y="2743200"/>
                </a:moveTo>
                <a:lnTo>
                  <a:pt x="5072460" y="2743200"/>
                </a:lnTo>
                <a:lnTo>
                  <a:pt x="5072460" y="9448800"/>
                </a:lnTo>
                <a:lnTo>
                  <a:pt x="3323828" y="9448800"/>
                </a:lnTo>
                <a:lnTo>
                  <a:pt x="3323828" y="5327452"/>
                </a:lnTo>
                <a:lnTo>
                  <a:pt x="1761133" y="9448800"/>
                </a:lnTo>
                <a:lnTo>
                  <a:pt x="0" y="9448800"/>
                </a:lnTo>
                <a:lnTo>
                  <a:pt x="0" y="2743200"/>
                </a:lnTo>
                <a:lnTo>
                  <a:pt x="1761133" y="2743200"/>
                </a:lnTo>
                <a:lnTo>
                  <a:pt x="1761133" y="6858199"/>
                </a:lnTo>
                <a:close/>
                <a:moveTo>
                  <a:pt x="4731346" y="0"/>
                </a:moveTo>
                <a:cubicBezTo>
                  <a:pt x="4731346" y="549805"/>
                  <a:pt x="4533900" y="994172"/>
                  <a:pt x="4139010" y="1333104"/>
                </a:cubicBezTo>
                <a:cubicBezTo>
                  <a:pt x="3744251" y="1672035"/>
                  <a:pt x="3224411" y="1841500"/>
                  <a:pt x="2579489" y="1841500"/>
                </a:cubicBezTo>
                <a:cubicBezTo>
                  <a:pt x="1930466" y="1841500"/>
                  <a:pt x="1408510" y="1672035"/>
                  <a:pt x="1013619" y="1333104"/>
                </a:cubicBezTo>
                <a:cubicBezTo>
                  <a:pt x="618861" y="994172"/>
                  <a:pt x="421482" y="549805"/>
                  <a:pt x="421482" y="0"/>
                </a:cubicBezTo>
                <a:lnTo>
                  <a:pt x="1705174" y="0"/>
                </a:lnTo>
                <a:cubicBezTo>
                  <a:pt x="1705174" y="256249"/>
                  <a:pt x="1782697" y="455679"/>
                  <a:pt x="1937742" y="598290"/>
                </a:cubicBezTo>
                <a:cubicBezTo>
                  <a:pt x="2092788" y="740768"/>
                  <a:pt x="2306704" y="812007"/>
                  <a:pt x="2579489" y="812007"/>
                </a:cubicBezTo>
                <a:cubicBezTo>
                  <a:pt x="2848306" y="812007"/>
                  <a:pt x="3059179" y="740768"/>
                  <a:pt x="3212108" y="598290"/>
                </a:cubicBezTo>
                <a:cubicBezTo>
                  <a:pt x="3365037" y="455679"/>
                  <a:pt x="3441502" y="256249"/>
                  <a:pt x="3441502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1" name="Freeform 2361"/>
          <p:cNvSpPr/>
          <p:nvPr/>
        </p:nvSpPr>
        <p:spPr>
          <a:xfrm>
            <a:off x="2334659" y="727826"/>
            <a:ext cx="65782" cy="126796"/>
          </a:xfrm>
          <a:custGeom>
            <a:avLst/>
            <a:gdLst/>
            <a:ahLst/>
            <a:cxnLst/>
            <a:rect l="0" t="0" r="0" b="0"/>
            <a:pathLst>
              <a:path w="5060157" h="9753600">
                <a:moveTo>
                  <a:pt x="2747169" y="3302000"/>
                </a:moveTo>
                <a:cubicBezTo>
                  <a:pt x="3454136" y="3302000"/>
                  <a:pt x="4016375" y="3582194"/>
                  <a:pt x="4433888" y="4142582"/>
                </a:cubicBezTo>
                <a:cubicBezTo>
                  <a:pt x="4851400" y="4702969"/>
                  <a:pt x="5060157" y="5452534"/>
                  <a:pt x="5060157" y="6391275"/>
                </a:cubicBezTo>
                <a:lnTo>
                  <a:pt x="5060157" y="6484343"/>
                </a:lnTo>
                <a:cubicBezTo>
                  <a:pt x="5060157" y="7476927"/>
                  <a:pt x="4828646" y="8269949"/>
                  <a:pt x="4365625" y="8863410"/>
                </a:cubicBezTo>
                <a:cubicBezTo>
                  <a:pt x="3902604" y="9456870"/>
                  <a:pt x="3290756" y="9753600"/>
                  <a:pt x="2530078" y="9753600"/>
                </a:cubicBezTo>
                <a:cubicBezTo>
                  <a:pt x="1769401" y="9753600"/>
                  <a:pt x="1157552" y="9453894"/>
                  <a:pt x="694532" y="8854480"/>
                </a:cubicBezTo>
                <a:cubicBezTo>
                  <a:pt x="231511" y="8254934"/>
                  <a:pt x="0" y="7448749"/>
                  <a:pt x="0" y="6435924"/>
                </a:cubicBezTo>
                <a:lnTo>
                  <a:pt x="0" y="5871568"/>
                </a:lnTo>
                <a:cubicBezTo>
                  <a:pt x="0" y="4486606"/>
                  <a:pt x="217025" y="3377605"/>
                  <a:pt x="651074" y="2544565"/>
                </a:cubicBezTo>
                <a:cubicBezTo>
                  <a:pt x="1085255" y="1711524"/>
                  <a:pt x="1721975" y="1197835"/>
                  <a:pt x="2561233" y="1003499"/>
                </a:cubicBezTo>
                <a:cubicBezTo>
                  <a:pt x="3044892" y="891977"/>
                  <a:pt x="3372512" y="759818"/>
                  <a:pt x="3544094" y="607021"/>
                </a:cubicBezTo>
                <a:cubicBezTo>
                  <a:pt x="3715676" y="454224"/>
                  <a:pt x="3801467" y="251884"/>
                  <a:pt x="3801467" y="0"/>
                </a:cubicBezTo>
                <a:lnTo>
                  <a:pt x="4688086" y="0"/>
                </a:lnTo>
                <a:lnTo>
                  <a:pt x="4681935" y="241697"/>
                </a:lnTo>
                <a:cubicBezTo>
                  <a:pt x="4632325" y="1059392"/>
                  <a:pt x="4239617" y="1577711"/>
                  <a:pt x="3503811" y="1796654"/>
                </a:cubicBezTo>
                <a:lnTo>
                  <a:pt x="2747169" y="2007196"/>
                </a:lnTo>
                <a:cubicBezTo>
                  <a:pt x="2201466" y="2156024"/>
                  <a:pt x="1782895" y="2418491"/>
                  <a:pt x="1491457" y="2794596"/>
                </a:cubicBezTo>
                <a:cubicBezTo>
                  <a:pt x="1200018" y="3170569"/>
                  <a:pt x="1010907" y="3662297"/>
                  <a:pt x="924124" y="4269780"/>
                </a:cubicBezTo>
                <a:cubicBezTo>
                  <a:pt x="1428419" y="3624594"/>
                  <a:pt x="2036101" y="3302000"/>
                  <a:pt x="2747169" y="3302000"/>
                </a:cubicBezTo>
                <a:close/>
                <a:moveTo>
                  <a:pt x="2523927" y="4244579"/>
                </a:moveTo>
                <a:cubicBezTo>
                  <a:pt x="2085777" y="4244579"/>
                  <a:pt x="1739569" y="4430713"/>
                  <a:pt x="1485305" y="4802982"/>
                </a:cubicBezTo>
                <a:cubicBezTo>
                  <a:pt x="1231040" y="5175250"/>
                  <a:pt x="1103908" y="5735704"/>
                  <a:pt x="1103908" y="6484343"/>
                </a:cubicBezTo>
                <a:cubicBezTo>
                  <a:pt x="1103908" y="7212344"/>
                  <a:pt x="1229982" y="7784174"/>
                  <a:pt x="1482130" y="8199835"/>
                </a:cubicBezTo>
                <a:cubicBezTo>
                  <a:pt x="1734278" y="8615495"/>
                  <a:pt x="2083594" y="8823325"/>
                  <a:pt x="2530078" y="8823325"/>
                </a:cubicBezTo>
                <a:cubicBezTo>
                  <a:pt x="2976563" y="8823325"/>
                  <a:pt x="3327929" y="8614437"/>
                  <a:pt x="3584178" y="8196660"/>
                </a:cubicBezTo>
                <a:cubicBezTo>
                  <a:pt x="3840560" y="7778883"/>
                  <a:pt x="3968750" y="7160552"/>
                  <a:pt x="3968750" y="6341666"/>
                </a:cubicBezTo>
                <a:cubicBezTo>
                  <a:pt x="3968750" y="5696347"/>
                  <a:pt x="3839567" y="5185503"/>
                  <a:pt x="3581202" y="4809133"/>
                </a:cubicBezTo>
                <a:cubicBezTo>
                  <a:pt x="3322836" y="4432764"/>
                  <a:pt x="2970411" y="4244579"/>
                  <a:pt x="2523927" y="4244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2" name="Freeform 2362"/>
          <p:cNvSpPr/>
          <p:nvPr/>
        </p:nvSpPr>
        <p:spPr>
          <a:xfrm>
            <a:off x="2409248" y="765799"/>
            <a:ext cx="62717" cy="122339"/>
          </a:xfrm>
          <a:custGeom>
            <a:avLst/>
            <a:gdLst/>
            <a:ahLst/>
            <a:cxnLst/>
            <a:rect l="0" t="0" r="0" b="0"/>
            <a:pathLst>
              <a:path w="4824413" h="9410700">
                <a:moveTo>
                  <a:pt x="2437011" y="4881960"/>
                </a:moveTo>
                <a:lnTo>
                  <a:pt x="3658592" y="0"/>
                </a:lnTo>
                <a:lnTo>
                  <a:pt x="4824413" y="0"/>
                </a:lnTo>
                <a:lnTo>
                  <a:pt x="2629297" y="7651154"/>
                </a:lnTo>
                <a:cubicBezTo>
                  <a:pt x="2463932" y="8225300"/>
                  <a:pt x="2230305" y="8662061"/>
                  <a:pt x="1928416" y="8961437"/>
                </a:cubicBezTo>
                <a:cubicBezTo>
                  <a:pt x="1626658" y="9260945"/>
                  <a:pt x="1283560" y="9410700"/>
                  <a:pt x="899120" y="9410700"/>
                </a:cubicBezTo>
                <a:cubicBezTo>
                  <a:pt x="750292" y="9410700"/>
                  <a:pt x="560123" y="9377627"/>
                  <a:pt x="328613" y="9311481"/>
                </a:cubicBezTo>
                <a:lnTo>
                  <a:pt x="328613" y="8381206"/>
                </a:lnTo>
                <a:lnTo>
                  <a:pt x="570508" y="8406010"/>
                </a:lnTo>
                <a:cubicBezTo>
                  <a:pt x="888802" y="8406010"/>
                  <a:pt x="1137841" y="8330604"/>
                  <a:pt x="1317625" y="8179792"/>
                </a:cubicBezTo>
                <a:cubicBezTo>
                  <a:pt x="1497542" y="8029111"/>
                  <a:pt x="1643327" y="7767968"/>
                  <a:pt x="1754981" y="7396360"/>
                </a:cubicBezTo>
                <a:lnTo>
                  <a:pt x="1971874" y="6646665"/>
                </a:lnTo>
                <a:lnTo>
                  <a:pt x="0" y="0"/>
                </a:lnTo>
                <a:lnTo>
                  <a:pt x="119677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3" name="Freeform 2363"/>
          <p:cNvSpPr/>
          <p:nvPr/>
        </p:nvSpPr>
        <p:spPr>
          <a:xfrm>
            <a:off x="2475244" y="765799"/>
            <a:ext cx="78198" cy="112763"/>
          </a:xfrm>
          <a:custGeom>
            <a:avLst/>
            <a:gdLst/>
            <a:ahLst/>
            <a:cxnLst/>
            <a:rect l="0" t="0" r="0" b="0"/>
            <a:pathLst>
              <a:path w="6015236" h="8674100">
                <a:moveTo>
                  <a:pt x="452834" y="5769174"/>
                </a:moveTo>
                <a:lnTo>
                  <a:pt x="781447" y="5298282"/>
                </a:lnTo>
                <a:cubicBezTo>
                  <a:pt x="1136914" y="4752975"/>
                  <a:pt x="1341570" y="3949436"/>
                  <a:pt x="1395412" y="2887663"/>
                </a:cubicBezTo>
                <a:lnTo>
                  <a:pt x="1488281" y="0"/>
                </a:lnTo>
                <a:lnTo>
                  <a:pt x="5233789" y="0"/>
                </a:lnTo>
                <a:lnTo>
                  <a:pt x="5233789" y="5769174"/>
                </a:lnTo>
                <a:lnTo>
                  <a:pt x="6015236" y="5769174"/>
                </a:lnTo>
                <a:lnTo>
                  <a:pt x="6015236" y="8674100"/>
                </a:lnTo>
                <a:lnTo>
                  <a:pt x="4917678" y="8674100"/>
                </a:lnTo>
                <a:lnTo>
                  <a:pt x="4917678" y="6705600"/>
                </a:lnTo>
                <a:lnTo>
                  <a:pt x="1103908" y="6705600"/>
                </a:lnTo>
                <a:lnTo>
                  <a:pt x="1103908" y="8674100"/>
                </a:lnTo>
                <a:lnTo>
                  <a:pt x="0" y="8674100"/>
                </a:lnTo>
                <a:lnTo>
                  <a:pt x="6350" y="5769174"/>
                </a:lnTo>
                <a:close/>
                <a:moveTo>
                  <a:pt x="1674415" y="5769174"/>
                </a:moveTo>
                <a:lnTo>
                  <a:pt x="4142383" y="5769174"/>
                </a:lnTo>
                <a:lnTo>
                  <a:pt x="4142383" y="1060450"/>
                </a:lnTo>
                <a:lnTo>
                  <a:pt x="2554883" y="1060450"/>
                </a:lnTo>
                <a:lnTo>
                  <a:pt x="2499122" y="2696171"/>
                </a:lnTo>
                <a:cubicBezTo>
                  <a:pt x="2441310" y="4001361"/>
                  <a:pt x="2166408" y="5025695"/>
                  <a:pt x="1674415" y="5769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4" name="Freeform 2364"/>
          <p:cNvSpPr/>
          <p:nvPr/>
        </p:nvSpPr>
        <p:spPr>
          <a:xfrm>
            <a:off x="2567125" y="764148"/>
            <a:ext cx="62879" cy="9047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5" name="Freeform 2365"/>
          <p:cNvSpPr/>
          <p:nvPr/>
        </p:nvSpPr>
        <p:spPr>
          <a:xfrm>
            <a:off x="2639939" y="765799"/>
            <a:ext cx="61427" cy="87172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6" name="Freeform 2366"/>
          <p:cNvSpPr/>
          <p:nvPr/>
        </p:nvSpPr>
        <p:spPr>
          <a:xfrm>
            <a:off x="2754116" y="764148"/>
            <a:ext cx="62962" cy="122339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7" name="Freeform 2367"/>
          <p:cNvSpPr/>
          <p:nvPr/>
        </p:nvSpPr>
        <p:spPr>
          <a:xfrm>
            <a:off x="2832771" y="764148"/>
            <a:ext cx="62879" cy="9047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8" name="Freeform 2368"/>
          <p:cNvSpPr/>
          <p:nvPr/>
        </p:nvSpPr>
        <p:spPr>
          <a:xfrm>
            <a:off x="2911247" y="764148"/>
            <a:ext cx="61185" cy="9047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69" name="Freeform 2369"/>
          <p:cNvSpPr/>
          <p:nvPr/>
        </p:nvSpPr>
        <p:spPr>
          <a:xfrm>
            <a:off x="2985733" y="765799"/>
            <a:ext cx="67556" cy="87172"/>
          </a:xfrm>
          <a:custGeom>
            <a:avLst/>
            <a:gdLst/>
            <a:ahLst/>
            <a:cxnLst/>
            <a:rect l="0" t="0" r="0" b="0"/>
            <a:pathLst>
              <a:path w="5196681" h="6705600">
                <a:moveTo>
                  <a:pt x="5196681" y="0"/>
                </a:moveTo>
                <a:lnTo>
                  <a:pt x="5196681" y="6705600"/>
                </a:lnTo>
                <a:lnTo>
                  <a:pt x="4099123" y="6705600"/>
                </a:lnTo>
                <a:lnTo>
                  <a:pt x="4099123" y="948730"/>
                </a:lnTo>
                <a:lnTo>
                  <a:pt x="2331640" y="948730"/>
                </a:lnTo>
                <a:lnTo>
                  <a:pt x="2226270" y="3223022"/>
                </a:lnTo>
                <a:cubicBezTo>
                  <a:pt x="2168459" y="4482968"/>
                  <a:pt x="1998993" y="5376334"/>
                  <a:pt x="1717873" y="5903119"/>
                </a:cubicBezTo>
                <a:cubicBezTo>
                  <a:pt x="1436753" y="6429905"/>
                  <a:pt x="986102" y="6697398"/>
                  <a:pt x="365918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279201" y="5669955"/>
                </a:lnTo>
                <a:cubicBezTo>
                  <a:pt x="585060" y="5628680"/>
                  <a:pt x="801026" y="5423165"/>
                  <a:pt x="927100" y="5053410"/>
                </a:cubicBezTo>
                <a:cubicBezTo>
                  <a:pt x="1053174" y="4683655"/>
                  <a:pt x="1136914" y="3955521"/>
                  <a:pt x="1178322" y="2869010"/>
                </a:cubicBezTo>
                <a:lnTo>
                  <a:pt x="128369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0" name="Freeform 2370"/>
          <p:cNvSpPr/>
          <p:nvPr/>
        </p:nvSpPr>
        <p:spPr>
          <a:xfrm>
            <a:off x="3077106" y="765799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1" name="Freeform 2371"/>
          <p:cNvSpPr/>
          <p:nvPr/>
        </p:nvSpPr>
        <p:spPr>
          <a:xfrm>
            <a:off x="3156547" y="764148"/>
            <a:ext cx="58202" cy="90309"/>
          </a:xfrm>
          <a:custGeom>
            <a:avLst/>
            <a:gdLst/>
            <a:ahLst/>
            <a:cxnLst/>
            <a:rect l="0" t="0" r="0" b="0"/>
            <a:pathLst>
              <a:path w="4477147" h="6946900">
                <a:moveTo>
                  <a:pt x="4371776" y="1947466"/>
                </a:moveTo>
                <a:cubicBezTo>
                  <a:pt x="4371776" y="2249223"/>
                  <a:pt x="4295312" y="2526242"/>
                  <a:pt x="4142383" y="2778522"/>
                </a:cubicBezTo>
                <a:cubicBezTo>
                  <a:pt x="3989454" y="3030670"/>
                  <a:pt x="3772429" y="3231158"/>
                  <a:pt x="3491309" y="3379986"/>
                </a:cubicBezTo>
                <a:cubicBezTo>
                  <a:pt x="4148534" y="3648803"/>
                  <a:pt x="4477147" y="4169900"/>
                  <a:pt x="4477147" y="4943277"/>
                </a:cubicBezTo>
                <a:cubicBezTo>
                  <a:pt x="4477147" y="5567694"/>
                  <a:pt x="4273550" y="6057768"/>
                  <a:pt x="3866356" y="6413500"/>
                </a:cubicBezTo>
                <a:cubicBezTo>
                  <a:pt x="3459162" y="6769100"/>
                  <a:pt x="2922786" y="6946900"/>
                  <a:pt x="2257226" y="6946900"/>
                </a:cubicBezTo>
                <a:cubicBezTo>
                  <a:pt x="1599869" y="6946900"/>
                  <a:pt x="1059325" y="6757723"/>
                  <a:pt x="635595" y="6379369"/>
                </a:cubicBezTo>
                <a:cubicBezTo>
                  <a:pt x="211865" y="6001015"/>
                  <a:pt x="0" y="5489311"/>
                  <a:pt x="0" y="4844257"/>
                </a:cubicBezTo>
                <a:lnTo>
                  <a:pt x="1085254" y="4844257"/>
                </a:lnTo>
                <a:cubicBezTo>
                  <a:pt x="1085254" y="5175118"/>
                  <a:pt x="1196842" y="5456370"/>
                  <a:pt x="1420019" y="5688013"/>
                </a:cubicBezTo>
                <a:cubicBezTo>
                  <a:pt x="1643327" y="5919523"/>
                  <a:pt x="1922396" y="6035279"/>
                  <a:pt x="2257226" y="6035279"/>
                </a:cubicBezTo>
                <a:cubicBezTo>
                  <a:pt x="2596158" y="6035279"/>
                  <a:pt x="2867951" y="5933943"/>
                  <a:pt x="3072606" y="5731272"/>
                </a:cubicBezTo>
                <a:cubicBezTo>
                  <a:pt x="3277261" y="5528602"/>
                  <a:pt x="3379589" y="5265936"/>
                  <a:pt x="3379589" y="4943277"/>
                </a:cubicBezTo>
                <a:cubicBezTo>
                  <a:pt x="3379589" y="4566775"/>
                  <a:pt x="3295848" y="4296834"/>
                  <a:pt x="3128367" y="4133454"/>
                </a:cubicBezTo>
                <a:cubicBezTo>
                  <a:pt x="2961018" y="3970073"/>
                  <a:pt x="2697493" y="3888383"/>
                  <a:pt x="2337792" y="3888383"/>
                </a:cubicBezTo>
                <a:lnTo>
                  <a:pt x="1333301" y="3888383"/>
                </a:lnTo>
                <a:lnTo>
                  <a:pt x="1333301" y="2921000"/>
                </a:lnTo>
                <a:lnTo>
                  <a:pt x="2412206" y="2921000"/>
                </a:lnTo>
                <a:cubicBezTo>
                  <a:pt x="2990982" y="2900363"/>
                  <a:pt x="3280370" y="2577902"/>
                  <a:pt x="3280370" y="1953618"/>
                </a:cubicBezTo>
                <a:cubicBezTo>
                  <a:pt x="3280370" y="1639293"/>
                  <a:pt x="3190412" y="1390187"/>
                  <a:pt x="3010495" y="1206302"/>
                </a:cubicBezTo>
                <a:cubicBezTo>
                  <a:pt x="2830711" y="1022284"/>
                  <a:pt x="2581672" y="930275"/>
                  <a:pt x="2263378" y="930275"/>
                </a:cubicBezTo>
                <a:cubicBezTo>
                  <a:pt x="1953286" y="930275"/>
                  <a:pt x="1693862" y="1033661"/>
                  <a:pt x="1485106" y="1240433"/>
                </a:cubicBezTo>
                <a:cubicBezTo>
                  <a:pt x="1276350" y="1447205"/>
                  <a:pt x="1171972" y="1697435"/>
                  <a:pt x="1171972" y="1991122"/>
                </a:cubicBezTo>
                <a:lnTo>
                  <a:pt x="86717" y="1991122"/>
                </a:lnTo>
                <a:cubicBezTo>
                  <a:pt x="86717" y="1408113"/>
                  <a:pt x="293423" y="930540"/>
                  <a:pt x="706834" y="558404"/>
                </a:cubicBezTo>
                <a:cubicBezTo>
                  <a:pt x="1120246" y="186135"/>
                  <a:pt x="1639094" y="0"/>
                  <a:pt x="2263378" y="0"/>
                </a:cubicBezTo>
                <a:cubicBezTo>
                  <a:pt x="2928937" y="0"/>
                  <a:pt x="3446727" y="169532"/>
                  <a:pt x="3816747" y="508596"/>
                </a:cubicBezTo>
                <a:cubicBezTo>
                  <a:pt x="4186766" y="847659"/>
                  <a:pt x="4371776" y="1327283"/>
                  <a:pt x="4371776" y="194746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2" name="Freeform 2372"/>
          <p:cNvSpPr/>
          <p:nvPr/>
        </p:nvSpPr>
        <p:spPr>
          <a:xfrm>
            <a:off x="3230504" y="764148"/>
            <a:ext cx="67474" cy="9047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3" name="Freeform 2373"/>
          <p:cNvSpPr/>
          <p:nvPr/>
        </p:nvSpPr>
        <p:spPr>
          <a:xfrm>
            <a:off x="3317492" y="765799"/>
            <a:ext cx="62557" cy="87172"/>
          </a:xfrm>
          <a:custGeom>
            <a:avLst/>
            <a:gdLst/>
            <a:ahLst/>
            <a:cxnLst/>
            <a:rect l="0" t="0" r="0" b="0"/>
            <a:pathLst>
              <a:path w="4812109" h="6705600">
                <a:moveTo>
                  <a:pt x="0" y="6705600"/>
                </a:moveTo>
                <a:lnTo>
                  <a:pt x="0" y="0"/>
                </a:lnTo>
                <a:lnTo>
                  <a:pt x="2251075" y="0"/>
                </a:lnTo>
                <a:cubicBezTo>
                  <a:pt x="3019954" y="0"/>
                  <a:pt x="3606932" y="157030"/>
                  <a:pt x="4012009" y="471091"/>
                </a:cubicBezTo>
                <a:cubicBezTo>
                  <a:pt x="4417219" y="785151"/>
                  <a:pt x="4619823" y="1241756"/>
                  <a:pt x="4619823" y="1840905"/>
                </a:cubicBezTo>
                <a:cubicBezTo>
                  <a:pt x="4619823" y="2150732"/>
                  <a:pt x="4539191" y="2429603"/>
                  <a:pt x="4377928" y="2677518"/>
                </a:cubicBezTo>
                <a:cubicBezTo>
                  <a:pt x="4216797" y="2925432"/>
                  <a:pt x="3981185" y="3115536"/>
                  <a:pt x="3671094" y="3247827"/>
                </a:cubicBezTo>
                <a:cubicBezTo>
                  <a:pt x="4014258" y="3338711"/>
                  <a:pt x="4290219" y="3522597"/>
                  <a:pt x="4498975" y="3799483"/>
                </a:cubicBezTo>
                <a:cubicBezTo>
                  <a:pt x="4707731" y="4076238"/>
                  <a:pt x="4812109" y="4410803"/>
                  <a:pt x="4812109" y="4803180"/>
                </a:cubicBezTo>
                <a:cubicBezTo>
                  <a:pt x="4812109" y="5422834"/>
                  <a:pt x="4618831" y="5894851"/>
                  <a:pt x="4232275" y="6219230"/>
                </a:cubicBezTo>
                <a:cubicBezTo>
                  <a:pt x="3845719" y="6543477"/>
                  <a:pt x="3299023" y="6705600"/>
                  <a:pt x="2592189" y="6705600"/>
                </a:cubicBezTo>
                <a:close/>
                <a:moveTo>
                  <a:pt x="1091406" y="3762574"/>
                </a:moveTo>
                <a:lnTo>
                  <a:pt x="1091406" y="5781675"/>
                </a:lnTo>
                <a:lnTo>
                  <a:pt x="2604492" y="5781675"/>
                </a:lnTo>
                <a:cubicBezTo>
                  <a:pt x="3344532" y="5781675"/>
                  <a:pt x="3714552" y="5443075"/>
                  <a:pt x="3714552" y="4765874"/>
                </a:cubicBezTo>
                <a:cubicBezTo>
                  <a:pt x="3714552" y="4097007"/>
                  <a:pt x="3340431" y="3762574"/>
                  <a:pt x="2592189" y="3762574"/>
                </a:cubicBezTo>
                <a:close/>
                <a:moveTo>
                  <a:pt x="1091406" y="2844800"/>
                </a:moveTo>
                <a:lnTo>
                  <a:pt x="2238573" y="2844800"/>
                </a:lnTo>
                <a:cubicBezTo>
                  <a:pt x="3094368" y="2844800"/>
                  <a:pt x="3522266" y="2530872"/>
                  <a:pt x="3522266" y="1903016"/>
                </a:cubicBezTo>
                <a:cubicBezTo>
                  <a:pt x="3522266" y="1271059"/>
                  <a:pt x="3119173" y="946812"/>
                  <a:pt x="2312987" y="930275"/>
                </a:cubicBezTo>
                <a:lnTo>
                  <a:pt x="109140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4" name="Freeform 2374"/>
          <p:cNvSpPr/>
          <p:nvPr/>
        </p:nvSpPr>
        <p:spPr>
          <a:xfrm>
            <a:off x="3397797" y="764148"/>
            <a:ext cx="61185" cy="9047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5" name="Freeform 2375"/>
          <p:cNvSpPr/>
          <p:nvPr/>
        </p:nvSpPr>
        <p:spPr>
          <a:xfrm>
            <a:off x="3479620" y="765799"/>
            <a:ext cx="59977" cy="87172"/>
          </a:xfrm>
          <a:custGeom>
            <a:avLst/>
            <a:gdLst/>
            <a:ahLst/>
            <a:cxnLst/>
            <a:rect l="0" t="0" r="0" b="0"/>
            <a:pathLst>
              <a:path w="4613672" h="6705600">
                <a:moveTo>
                  <a:pt x="4613672" y="6705600"/>
                </a:moveTo>
                <a:lnTo>
                  <a:pt x="3522266" y="6705600"/>
                </a:lnTo>
                <a:lnTo>
                  <a:pt x="3522266" y="3844727"/>
                </a:lnTo>
                <a:lnTo>
                  <a:pt x="1103908" y="3844727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03908" y="0"/>
                </a:lnTo>
                <a:lnTo>
                  <a:pt x="1103908" y="2908300"/>
                </a:lnTo>
                <a:lnTo>
                  <a:pt x="3522266" y="2908300"/>
                </a:lnTo>
                <a:lnTo>
                  <a:pt x="3522266" y="0"/>
                </a:lnTo>
                <a:lnTo>
                  <a:pt x="461367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6" name="Freeform 2376"/>
          <p:cNvSpPr/>
          <p:nvPr/>
        </p:nvSpPr>
        <p:spPr>
          <a:xfrm>
            <a:off x="3559219" y="764148"/>
            <a:ext cx="67474" cy="9047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7" name="Freeform 2377"/>
          <p:cNvSpPr/>
          <p:nvPr/>
        </p:nvSpPr>
        <p:spPr>
          <a:xfrm>
            <a:off x="3679419" y="764148"/>
            <a:ext cx="58202" cy="90309"/>
          </a:xfrm>
          <a:custGeom>
            <a:avLst/>
            <a:gdLst/>
            <a:ahLst/>
            <a:cxnLst/>
            <a:rect l="0" t="0" r="0" b="0"/>
            <a:pathLst>
              <a:path w="4477147" h="6946900">
                <a:moveTo>
                  <a:pt x="4371776" y="1947466"/>
                </a:moveTo>
                <a:cubicBezTo>
                  <a:pt x="4371776" y="2249223"/>
                  <a:pt x="4295312" y="2526242"/>
                  <a:pt x="4142383" y="2778522"/>
                </a:cubicBezTo>
                <a:cubicBezTo>
                  <a:pt x="3989454" y="3030670"/>
                  <a:pt x="3772429" y="3231158"/>
                  <a:pt x="3491309" y="3379986"/>
                </a:cubicBezTo>
                <a:cubicBezTo>
                  <a:pt x="4148534" y="3648803"/>
                  <a:pt x="4477147" y="4169900"/>
                  <a:pt x="4477147" y="4943277"/>
                </a:cubicBezTo>
                <a:cubicBezTo>
                  <a:pt x="4477147" y="5567694"/>
                  <a:pt x="4273550" y="6057768"/>
                  <a:pt x="3866356" y="6413500"/>
                </a:cubicBezTo>
                <a:cubicBezTo>
                  <a:pt x="3459162" y="6769100"/>
                  <a:pt x="2922786" y="6946900"/>
                  <a:pt x="2257226" y="6946900"/>
                </a:cubicBezTo>
                <a:cubicBezTo>
                  <a:pt x="1599869" y="6946900"/>
                  <a:pt x="1059325" y="6757723"/>
                  <a:pt x="635595" y="6379369"/>
                </a:cubicBezTo>
                <a:cubicBezTo>
                  <a:pt x="211865" y="6001015"/>
                  <a:pt x="0" y="5489311"/>
                  <a:pt x="0" y="4844257"/>
                </a:cubicBezTo>
                <a:lnTo>
                  <a:pt x="1085254" y="4844257"/>
                </a:lnTo>
                <a:cubicBezTo>
                  <a:pt x="1085254" y="5175118"/>
                  <a:pt x="1196842" y="5456370"/>
                  <a:pt x="1420019" y="5688013"/>
                </a:cubicBezTo>
                <a:cubicBezTo>
                  <a:pt x="1643327" y="5919523"/>
                  <a:pt x="1922396" y="6035279"/>
                  <a:pt x="2257226" y="6035279"/>
                </a:cubicBezTo>
                <a:cubicBezTo>
                  <a:pt x="2596158" y="6035279"/>
                  <a:pt x="2867951" y="5933943"/>
                  <a:pt x="3072606" y="5731272"/>
                </a:cubicBezTo>
                <a:cubicBezTo>
                  <a:pt x="3277261" y="5528602"/>
                  <a:pt x="3379589" y="5265936"/>
                  <a:pt x="3379589" y="4943277"/>
                </a:cubicBezTo>
                <a:cubicBezTo>
                  <a:pt x="3379589" y="4566775"/>
                  <a:pt x="3295848" y="4296834"/>
                  <a:pt x="3128367" y="4133454"/>
                </a:cubicBezTo>
                <a:cubicBezTo>
                  <a:pt x="2961018" y="3970073"/>
                  <a:pt x="2697493" y="3888383"/>
                  <a:pt x="2337792" y="3888383"/>
                </a:cubicBezTo>
                <a:lnTo>
                  <a:pt x="1333301" y="3888383"/>
                </a:lnTo>
                <a:lnTo>
                  <a:pt x="1333301" y="2921000"/>
                </a:lnTo>
                <a:lnTo>
                  <a:pt x="2412206" y="2921000"/>
                </a:lnTo>
                <a:cubicBezTo>
                  <a:pt x="2990982" y="2900363"/>
                  <a:pt x="3280370" y="2577902"/>
                  <a:pt x="3280370" y="1953618"/>
                </a:cubicBezTo>
                <a:cubicBezTo>
                  <a:pt x="3280370" y="1639293"/>
                  <a:pt x="3190412" y="1390187"/>
                  <a:pt x="3010495" y="1206302"/>
                </a:cubicBezTo>
                <a:cubicBezTo>
                  <a:pt x="2830711" y="1022284"/>
                  <a:pt x="2581672" y="930275"/>
                  <a:pt x="2263378" y="930275"/>
                </a:cubicBezTo>
                <a:cubicBezTo>
                  <a:pt x="1953286" y="930275"/>
                  <a:pt x="1693862" y="1033661"/>
                  <a:pt x="1485106" y="1240433"/>
                </a:cubicBezTo>
                <a:cubicBezTo>
                  <a:pt x="1276350" y="1447205"/>
                  <a:pt x="1171972" y="1697435"/>
                  <a:pt x="1171972" y="1991122"/>
                </a:cubicBezTo>
                <a:lnTo>
                  <a:pt x="86717" y="1991122"/>
                </a:lnTo>
                <a:cubicBezTo>
                  <a:pt x="86717" y="1408113"/>
                  <a:pt x="293423" y="930540"/>
                  <a:pt x="706834" y="558404"/>
                </a:cubicBezTo>
                <a:cubicBezTo>
                  <a:pt x="1120246" y="186135"/>
                  <a:pt x="1639094" y="0"/>
                  <a:pt x="2263378" y="0"/>
                </a:cubicBezTo>
                <a:cubicBezTo>
                  <a:pt x="2928937" y="0"/>
                  <a:pt x="3446727" y="169532"/>
                  <a:pt x="3816747" y="508596"/>
                </a:cubicBezTo>
                <a:cubicBezTo>
                  <a:pt x="4186766" y="847659"/>
                  <a:pt x="4371776" y="1327283"/>
                  <a:pt x="4371776" y="194746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8" name="Freeform 2378"/>
          <p:cNvSpPr/>
          <p:nvPr/>
        </p:nvSpPr>
        <p:spPr>
          <a:xfrm>
            <a:off x="3754908" y="764148"/>
            <a:ext cx="61185" cy="9047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79" name="Freeform 2379"/>
          <p:cNvSpPr/>
          <p:nvPr/>
        </p:nvSpPr>
        <p:spPr>
          <a:xfrm>
            <a:off x="3870347" y="764148"/>
            <a:ext cx="62719" cy="90474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0" name="Freeform 2380"/>
          <p:cNvSpPr/>
          <p:nvPr/>
        </p:nvSpPr>
        <p:spPr>
          <a:xfrm>
            <a:off x="3947103" y="765634"/>
            <a:ext cx="58850" cy="87337"/>
          </a:xfrm>
          <a:custGeom>
            <a:avLst/>
            <a:gdLst/>
            <a:ahLst/>
            <a:cxnLst/>
            <a:rect l="0" t="0" r="0" b="0"/>
            <a:pathLst>
              <a:path w="4526955" h="6718300">
                <a:moveTo>
                  <a:pt x="4526955" y="6718300"/>
                </a:moveTo>
                <a:lnTo>
                  <a:pt x="3423047" y="6718300"/>
                </a:lnTo>
                <a:lnTo>
                  <a:pt x="3423047" y="4312246"/>
                </a:lnTo>
                <a:cubicBezTo>
                  <a:pt x="3022071" y="4428001"/>
                  <a:pt x="2610710" y="4485879"/>
                  <a:pt x="2188964" y="4485879"/>
                </a:cubicBezTo>
                <a:cubicBezTo>
                  <a:pt x="1502768" y="4485879"/>
                  <a:pt x="969500" y="4273881"/>
                  <a:pt x="589161" y="3849886"/>
                </a:cubicBezTo>
                <a:cubicBezTo>
                  <a:pt x="208823" y="3425892"/>
                  <a:pt x="12436" y="2820988"/>
                  <a:pt x="0" y="2035175"/>
                </a:cubicBezTo>
                <a:lnTo>
                  <a:pt x="0" y="0"/>
                </a:lnTo>
                <a:lnTo>
                  <a:pt x="1097558" y="0"/>
                </a:lnTo>
                <a:lnTo>
                  <a:pt x="1097558" y="2066330"/>
                </a:lnTo>
                <a:cubicBezTo>
                  <a:pt x="1122429" y="3050977"/>
                  <a:pt x="1486231" y="3543300"/>
                  <a:pt x="2188964" y="3543300"/>
                </a:cubicBezTo>
                <a:cubicBezTo>
                  <a:pt x="2602376" y="3543300"/>
                  <a:pt x="3013737" y="3481388"/>
                  <a:pt x="3423047" y="3357563"/>
                </a:cubicBezTo>
                <a:lnTo>
                  <a:pt x="3423047" y="12700"/>
                </a:lnTo>
                <a:lnTo>
                  <a:pt x="4526955" y="12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1" name="Freeform 2381"/>
          <p:cNvSpPr/>
          <p:nvPr/>
        </p:nvSpPr>
        <p:spPr>
          <a:xfrm>
            <a:off x="4025783" y="764148"/>
            <a:ext cx="62879" cy="9047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2" name="Freeform 2382"/>
          <p:cNvSpPr/>
          <p:nvPr/>
        </p:nvSpPr>
        <p:spPr>
          <a:xfrm>
            <a:off x="4098598" y="765799"/>
            <a:ext cx="61427" cy="87172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3" name="Freeform 2383"/>
          <p:cNvSpPr/>
          <p:nvPr/>
        </p:nvSpPr>
        <p:spPr>
          <a:xfrm>
            <a:off x="4209793" y="764148"/>
            <a:ext cx="62719" cy="90474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4" name="Freeform 2384"/>
          <p:cNvSpPr/>
          <p:nvPr/>
        </p:nvSpPr>
        <p:spPr>
          <a:xfrm>
            <a:off x="4288886" y="764148"/>
            <a:ext cx="62962" cy="122339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5" name="Freeform 2385"/>
          <p:cNvSpPr/>
          <p:nvPr/>
        </p:nvSpPr>
        <p:spPr>
          <a:xfrm>
            <a:off x="4367541" y="764148"/>
            <a:ext cx="62879" cy="9047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6" name="Freeform 2386"/>
          <p:cNvSpPr/>
          <p:nvPr/>
        </p:nvSpPr>
        <p:spPr>
          <a:xfrm>
            <a:off x="4441420" y="765799"/>
            <a:ext cx="78198" cy="112763"/>
          </a:xfrm>
          <a:custGeom>
            <a:avLst/>
            <a:gdLst/>
            <a:ahLst/>
            <a:cxnLst/>
            <a:rect l="0" t="0" r="0" b="0"/>
            <a:pathLst>
              <a:path w="6015236" h="8674100">
                <a:moveTo>
                  <a:pt x="452834" y="5769174"/>
                </a:moveTo>
                <a:lnTo>
                  <a:pt x="781447" y="5298282"/>
                </a:lnTo>
                <a:cubicBezTo>
                  <a:pt x="1136914" y="4752975"/>
                  <a:pt x="1341570" y="3949436"/>
                  <a:pt x="1395412" y="2887663"/>
                </a:cubicBezTo>
                <a:lnTo>
                  <a:pt x="1488281" y="0"/>
                </a:lnTo>
                <a:lnTo>
                  <a:pt x="5233789" y="0"/>
                </a:lnTo>
                <a:lnTo>
                  <a:pt x="5233789" y="5769174"/>
                </a:lnTo>
                <a:lnTo>
                  <a:pt x="6015236" y="5769174"/>
                </a:lnTo>
                <a:lnTo>
                  <a:pt x="6015236" y="8674100"/>
                </a:lnTo>
                <a:lnTo>
                  <a:pt x="4917678" y="8674100"/>
                </a:lnTo>
                <a:lnTo>
                  <a:pt x="4917678" y="6705600"/>
                </a:lnTo>
                <a:lnTo>
                  <a:pt x="1103908" y="6705600"/>
                </a:lnTo>
                <a:lnTo>
                  <a:pt x="1103908" y="8674100"/>
                </a:lnTo>
                <a:lnTo>
                  <a:pt x="0" y="8674100"/>
                </a:lnTo>
                <a:lnTo>
                  <a:pt x="6350" y="5769174"/>
                </a:lnTo>
                <a:close/>
                <a:moveTo>
                  <a:pt x="1674415" y="5769174"/>
                </a:moveTo>
                <a:lnTo>
                  <a:pt x="4142383" y="5769174"/>
                </a:lnTo>
                <a:lnTo>
                  <a:pt x="4142383" y="1060450"/>
                </a:lnTo>
                <a:lnTo>
                  <a:pt x="2554883" y="1060450"/>
                </a:lnTo>
                <a:lnTo>
                  <a:pt x="2499122" y="2696171"/>
                </a:lnTo>
                <a:cubicBezTo>
                  <a:pt x="2441310" y="4001361"/>
                  <a:pt x="2166408" y="5025695"/>
                  <a:pt x="1674415" y="5769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7" name="Freeform 2387"/>
          <p:cNvSpPr/>
          <p:nvPr/>
        </p:nvSpPr>
        <p:spPr>
          <a:xfrm>
            <a:off x="4533058" y="764148"/>
            <a:ext cx="62719" cy="90474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8" name="Freeform 2388"/>
          <p:cNvSpPr/>
          <p:nvPr/>
        </p:nvSpPr>
        <p:spPr>
          <a:xfrm>
            <a:off x="4605785" y="765799"/>
            <a:ext cx="61427" cy="87172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89" name="Freeform 2389"/>
          <p:cNvSpPr/>
          <p:nvPr/>
        </p:nvSpPr>
        <p:spPr>
          <a:xfrm>
            <a:off x="4683364" y="765799"/>
            <a:ext cx="62557" cy="87172"/>
          </a:xfrm>
          <a:custGeom>
            <a:avLst/>
            <a:gdLst/>
            <a:ahLst/>
            <a:cxnLst/>
            <a:rect l="0" t="0" r="0" b="0"/>
            <a:pathLst>
              <a:path w="4812109" h="6705600">
                <a:moveTo>
                  <a:pt x="0" y="6705600"/>
                </a:moveTo>
                <a:lnTo>
                  <a:pt x="0" y="0"/>
                </a:lnTo>
                <a:lnTo>
                  <a:pt x="2251075" y="0"/>
                </a:lnTo>
                <a:cubicBezTo>
                  <a:pt x="3019954" y="0"/>
                  <a:pt x="3606932" y="157030"/>
                  <a:pt x="4012009" y="471091"/>
                </a:cubicBezTo>
                <a:cubicBezTo>
                  <a:pt x="4417219" y="785151"/>
                  <a:pt x="4619823" y="1241756"/>
                  <a:pt x="4619823" y="1840905"/>
                </a:cubicBezTo>
                <a:cubicBezTo>
                  <a:pt x="4619823" y="2150732"/>
                  <a:pt x="4539191" y="2429603"/>
                  <a:pt x="4377928" y="2677518"/>
                </a:cubicBezTo>
                <a:cubicBezTo>
                  <a:pt x="4216797" y="2925432"/>
                  <a:pt x="3981185" y="3115536"/>
                  <a:pt x="3671094" y="3247827"/>
                </a:cubicBezTo>
                <a:cubicBezTo>
                  <a:pt x="4014258" y="3338711"/>
                  <a:pt x="4290219" y="3522597"/>
                  <a:pt x="4498975" y="3799483"/>
                </a:cubicBezTo>
                <a:cubicBezTo>
                  <a:pt x="4707731" y="4076238"/>
                  <a:pt x="4812109" y="4410803"/>
                  <a:pt x="4812109" y="4803180"/>
                </a:cubicBezTo>
                <a:cubicBezTo>
                  <a:pt x="4812109" y="5422834"/>
                  <a:pt x="4618831" y="5894851"/>
                  <a:pt x="4232275" y="6219230"/>
                </a:cubicBezTo>
                <a:cubicBezTo>
                  <a:pt x="3845719" y="6543477"/>
                  <a:pt x="3299023" y="6705600"/>
                  <a:pt x="2592189" y="6705600"/>
                </a:cubicBezTo>
                <a:close/>
                <a:moveTo>
                  <a:pt x="1091406" y="3762574"/>
                </a:moveTo>
                <a:lnTo>
                  <a:pt x="1091406" y="5781675"/>
                </a:lnTo>
                <a:lnTo>
                  <a:pt x="2604492" y="5781675"/>
                </a:lnTo>
                <a:cubicBezTo>
                  <a:pt x="3344532" y="5781675"/>
                  <a:pt x="3714552" y="5443075"/>
                  <a:pt x="3714552" y="4765874"/>
                </a:cubicBezTo>
                <a:cubicBezTo>
                  <a:pt x="3714552" y="4097007"/>
                  <a:pt x="3340431" y="3762574"/>
                  <a:pt x="2592189" y="3762574"/>
                </a:cubicBezTo>
                <a:close/>
                <a:moveTo>
                  <a:pt x="1091406" y="2844800"/>
                </a:moveTo>
                <a:lnTo>
                  <a:pt x="2238573" y="2844800"/>
                </a:lnTo>
                <a:cubicBezTo>
                  <a:pt x="3094368" y="2844800"/>
                  <a:pt x="3522266" y="2530872"/>
                  <a:pt x="3522266" y="1903016"/>
                </a:cubicBezTo>
                <a:cubicBezTo>
                  <a:pt x="3522266" y="1271059"/>
                  <a:pt x="3119173" y="946812"/>
                  <a:pt x="2312987" y="930275"/>
                </a:cubicBezTo>
                <a:lnTo>
                  <a:pt x="109140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0" name="Freeform 2390"/>
          <p:cNvSpPr/>
          <p:nvPr/>
        </p:nvSpPr>
        <p:spPr>
          <a:xfrm>
            <a:off x="4804942" y="735586"/>
            <a:ext cx="99317" cy="117386"/>
          </a:xfrm>
          <a:custGeom>
            <a:avLst/>
            <a:gdLst/>
            <a:ahLst/>
            <a:cxnLst/>
            <a:rect l="0" t="0" r="0" b="0"/>
            <a:pathLst>
              <a:path w="7639844" h="9029700">
                <a:moveTo>
                  <a:pt x="1463476" y="0"/>
                </a:moveTo>
                <a:lnTo>
                  <a:pt x="3819922" y="7367588"/>
                </a:lnTo>
                <a:lnTo>
                  <a:pt x="6176367" y="0"/>
                </a:lnTo>
                <a:lnTo>
                  <a:pt x="7639844" y="0"/>
                </a:lnTo>
                <a:lnTo>
                  <a:pt x="7639844" y="9029700"/>
                </a:lnTo>
                <a:lnTo>
                  <a:pt x="6505178" y="9029700"/>
                </a:lnTo>
                <a:lnTo>
                  <a:pt x="6505178" y="5513388"/>
                </a:lnTo>
                <a:lnTo>
                  <a:pt x="6610548" y="1990725"/>
                </a:lnTo>
                <a:lnTo>
                  <a:pt x="4247951" y="9029700"/>
                </a:lnTo>
                <a:lnTo>
                  <a:pt x="3379787" y="9029700"/>
                </a:lnTo>
                <a:lnTo>
                  <a:pt x="1029494" y="2015530"/>
                </a:lnTo>
                <a:lnTo>
                  <a:pt x="1134864" y="5513388"/>
                </a:lnTo>
                <a:lnTo>
                  <a:pt x="1134864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1" name="Freeform 2391"/>
          <p:cNvSpPr/>
          <p:nvPr/>
        </p:nvSpPr>
        <p:spPr>
          <a:xfrm>
            <a:off x="4919462" y="735586"/>
            <a:ext cx="76423" cy="117386"/>
          </a:xfrm>
          <a:custGeom>
            <a:avLst/>
            <a:gdLst/>
            <a:ahLst/>
            <a:cxnLst/>
            <a:rect l="0" t="0" r="0" b="0"/>
            <a:pathLst>
              <a:path w="5878711" h="9029700">
                <a:moveTo>
                  <a:pt x="5878711" y="979885"/>
                </a:moveTo>
                <a:lnTo>
                  <a:pt x="3503612" y="979885"/>
                </a:lnTo>
                <a:lnTo>
                  <a:pt x="3503612" y="9029700"/>
                </a:lnTo>
                <a:lnTo>
                  <a:pt x="2368947" y="9029700"/>
                </a:lnTo>
                <a:lnTo>
                  <a:pt x="2368947" y="979885"/>
                </a:lnTo>
                <a:lnTo>
                  <a:pt x="0" y="979885"/>
                </a:lnTo>
                <a:lnTo>
                  <a:pt x="0" y="0"/>
                </a:lnTo>
                <a:lnTo>
                  <a:pt x="587871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2" name="Freeform 2392"/>
          <p:cNvSpPr/>
          <p:nvPr/>
        </p:nvSpPr>
        <p:spPr>
          <a:xfrm>
            <a:off x="5008327" y="733935"/>
            <a:ext cx="76263" cy="120688"/>
          </a:xfrm>
          <a:custGeom>
            <a:avLst/>
            <a:gdLst/>
            <a:ahLst/>
            <a:cxnLst/>
            <a:rect l="0" t="0" r="0" b="0"/>
            <a:pathLst>
              <a:path w="5866408" h="9283700">
                <a:moveTo>
                  <a:pt x="5866408" y="6294636"/>
                </a:moveTo>
                <a:cubicBezTo>
                  <a:pt x="5816798" y="7262086"/>
                  <a:pt x="5544939" y="8002125"/>
                  <a:pt x="5050830" y="8514755"/>
                </a:cubicBezTo>
                <a:cubicBezTo>
                  <a:pt x="4556852" y="9027385"/>
                  <a:pt x="3859212" y="9283700"/>
                  <a:pt x="2957909" y="9283700"/>
                </a:cubicBezTo>
                <a:cubicBezTo>
                  <a:pt x="2052637" y="9283700"/>
                  <a:pt x="1333301" y="8939279"/>
                  <a:pt x="799901" y="8250436"/>
                </a:cubicBezTo>
                <a:cubicBezTo>
                  <a:pt x="266634" y="7561594"/>
                  <a:pt x="0" y="6627615"/>
                  <a:pt x="0" y="5448499"/>
                </a:cubicBezTo>
                <a:lnTo>
                  <a:pt x="0" y="3810199"/>
                </a:lnTo>
                <a:cubicBezTo>
                  <a:pt x="0" y="2635316"/>
                  <a:pt x="273844" y="1706563"/>
                  <a:pt x="821531" y="1023938"/>
                </a:cubicBezTo>
                <a:cubicBezTo>
                  <a:pt x="1369351" y="341313"/>
                  <a:pt x="2116667" y="0"/>
                  <a:pt x="3063478" y="0"/>
                </a:cubicBezTo>
                <a:cubicBezTo>
                  <a:pt x="3935677" y="0"/>
                  <a:pt x="4610497" y="261541"/>
                  <a:pt x="5087937" y="784622"/>
                </a:cubicBezTo>
                <a:cubicBezTo>
                  <a:pt x="5565510" y="1307571"/>
                  <a:pt x="5825000" y="2054821"/>
                  <a:pt x="5866408" y="3026371"/>
                </a:cubicBezTo>
                <a:lnTo>
                  <a:pt x="4719042" y="3026371"/>
                </a:lnTo>
                <a:cubicBezTo>
                  <a:pt x="4669433" y="2290432"/>
                  <a:pt x="4514387" y="1765366"/>
                  <a:pt x="4253905" y="1451174"/>
                </a:cubicBezTo>
                <a:cubicBezTo>
                  <a:pt x="3993555" y="1136981"/>
                  <a:pt x="3596746" y="979885"/>
                  <a:pt x="3063478" y="979885"/>
                </a:cubicBezTo>
                <a:cubicBezTo>
                  <a:pt x="2447396" y="979885"/>
                  <a:pt x="1973990" y="1220921"/>
                  <a:pt x="1643261" y="1702991"/>
                </a:cubicBezTo>
                <a:cubicBezTo>
                  <a:pt x="1312532" y="2185062"/>
                  <a:pt x="1147167" y="2891565"/>
                  <a:pt x="1147167" y="3822502"/>
                </a:cubicBezTo>
                <a:lnTo>
                  <a:pt x="1147167" y="5479852"/>
                </a:lnTo>
                <a:cubicBezTo>
                  <a:pt x="1147167" y="6394252"/>
                  <a:pt x="1301155" y="7095596"/>
                  <a:pt x="1609130" y="7583885"/>
                </a:cubicBezTo>
                <a:cubicBezTo>
                  <a:pt x="1917237" y="8072173"/>
                  <a:pt x="2366830" y="8316318"/>
                  <a:pt x="2957909" y="8316318"/>
                </a:cubicBezTo>
                <a:cubicBezTo>
                  <a:pt x="3549121" y="8316318"/>
                  <a:pt x="3974968" y="8169540"/>
                  <a:pt x="4235450" y="7875985"/>
                </a:cubicBezTo>
                <a:cubicBezTo>
                  <a:pt x="4495932" y="7582430"/>
                  <a:pt x="4657130" y="7055313"/>
                  <a:pt x="4719042" y="629463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3" name="Freeform 2393"/>
          <p:cNvSpPr/>
          <p:nvPr/>
        </p:nvSpPr>
        <p:spPr>
          <a:xfrm>
            <a:off x="5098549" y="733935"/>
            <a:ext cx="71506" cy="120688"/>
          </a:xfrm>
          <a:custGeom>
            <a:avLst/>
            <a:gdLst/>
            <a:ahLst/>
            <a:cxnLst/>
            <a:rect l="0" t="0" r="0" b="0"/>
            <a:pathLst>
              <a:path w="5500489" h="9283700">
                <a:moveTo>
                  <a:pt x="4247753" y="2549922"/>
                </a:moveTo>
                <a:cubicBezTo>
                  <a:pt x="4247753" y="2065867"/>
                  <a:pt x="4110302" y="1683213"/>
                  <a:pt x="3835400" y="1401961"/>
                </a:cubicBezTo>
                <a:cubicBezTo>
                  <a:pt x="3560498" y="1120577"/>
                  <a:pt x="3179167" y="979885"/>
                  <a:pt x="2691408" y="979885"/>
                </a:cubicBezTo>
                <a:cubicBezTo>
                  <a:pt x="2277996" y="979885"/>
                  <a:pt x="1933773" y="1124744"/>
                  <a:pt x="1658739" y="1414463"/>
                </a:cubicBezTo>
                <a:cubicBezTo>
                  <a:pt x="1383837" y="1704182"/>
                  <a:pt x="1246386" y="2066330"/>
                  <a:pt x="1246386" y="2500908"/>
                </a:cubicBezTo>
                <a:lnTo>
                  <a:pt x="111720" y="2500908"/>
                </a:lnTo>
                <a:cubicBezTo>
                  <a:pt x="111720" y="1760340"/>
                  <a:pt x="357650" y="1158413"/>
                  <a:pt x="849511" y="695127"/>
                </a:cubicBezTo>
                <a:cubicBezTo>
                  <a:pt x="1341504" y="231710"/>
                  <a:pt x="1955469" y="0"/>
                  <a:pt x="2691408" y="0"/>
                </a:cubicBezTo>
                <a:cubicBezTo>
                  <a:pt x="3547070" y="0"/>
                  <a:pt x="4210513" y="227542"/>
                  <a:pt x="4681736" y="682625"/>
                </a:cubicBezTo>
                <a:cubicBezTo>
                  <a:pt x="5153091" y="1137577"/>
                  <a:pt x="5388769" y="1766227"/>
                  <a:pt x="5388769" y="2568575"/>
                </a:cubicBezTo>
                <a:cubicBezTo>
                  <a:pt x="5388769" y="2986353"/>
                  <a:pt x="5279231" y="3366890"/>
                  <a:pt x="5060156" y="3710186"/>
                </a:cubicBezTo>
                <a:cubicBezTo>
                  <a:pt x="4841081" y="4053483"/>
                  <a:pt x="4539324" y="4324417"/>
                  <a:pt x="4154884" y="4522986"/>
                </a:cubicBezTo>
                <a:cubicBezTo>
                  <a:pt x="5051954" y="4882952"/>
                  <a:pt x="5500489" y="5588464"/>
                  <a:pt x="5500489" y="6639521"/>
                </a:cubicBezTo>
                <a:cubicBezTo>
                  <a:pt x="5500489" y="7458803"/>
                  <a:pt x="5243116" y="8104320"/>
                  <a:pt x="4728369" y="8576072"/>
                </a:cubicBezTo>
                <a:cubicBezTo>
                  <a:pt x="4213754" y="9047824"/>
                  <a:pt x="3534767" y="9283700"/>
                  <a:pt x="2691408" y="9283700"/>
                </a:cubicBezTo>
                <a:cubicBezTo>
                  <a:pt x="2327606" y="9283700"/>
                  <a:pt x="1977231" y="9224764"/>
                  <a:pt x="1640284" y="9106893"/>
                </a:cubicBezTo>
                <a:cubicBezTo>
                  <a:pt x="1303337" y="8988889"/>
                  <a:pt x="1008790" y="8809964"/>
                  <a:pt x="756642" y="8570119"/>
                </a:cubicBezTo>
                <a:cubicBezTo>
                  <a:pt x="252214" y="8094266"/>
                  <a:pt x="0" y="7455033"/>
                  <a:pt x="0" y="6652419"/>
                </a:cubicBezTo>
                <a:lnTo>
                  <a:pt x="1134864" y="6652419"/>
                </a:lnTo>
                <a:cubicBezTo>
                  <a:pt x="1134864" y="7124304"/>
                  <a:pt x="1280583" y="7519591"/>
                  <a:pt x="1572022" y="7838282"/>
                </a:cubicBezTo>
                <a:cubicBezTo>
                  <a:pt x="1863460" y="8156972"/>
                  <a:pt x="2236589" y="8316318"/>
                  <a:pt x="2691408" y="8316318"/>
                </a:cubicBezTo>
                <a:cubicBezTo>
                  <a:pt x="3199805" y="8316318"/>
                  <a:pt x="3605940" y="8166299"/>
                  <a:pt x="3909814" y="7866261"/>
                </a:cubicBezTo>
                <a:cubicBezTo>
                  <a:pt x="4213688" y="7566092"/>
                  <a:pt x="4365625" y="7165513"/>
                  <a:pt x="4365625" y="6664524"/>
                </a:cubicBezTo>
                <a:cubicBezTo>
                  <a:pt x="4365625" y="5613070"/>
                  <a:pt x="3863313" y="5072857"/>
                  <a:pt x="2858691" y="5043885"/>
                </a:cubicBezTo>
                <a:lnTo>
                  <a:pt x="1928614" y="5043885"/>
                </a:lnTo>
                <a:lnTo>
                  <a:pt x="1928614" y="4064000"/>
                </a:lnTo>
                <a:lnTo>
                  <a:pt x="2778125" y="4064000"/>
                </a:lnTo>
                <a:cubicBezTo>
                  <a:pt x="3257682" y="4064000"/>
                  <a:pt x="3622477" y="3933693"/>
                  <a:pt x="3872508" y="3673079"/>
                </a:cubicBezTo>
                <a:cubicBezTo>
                  <a:pt x="4122671" y="3412464"/>
                  <a:pt x="4247753" y="3038079"/>
                  <a:pt x="4247753" y="2549922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4" name="Freeform 2394"/>
          <p:cNvSpPr/>
          <p:nvPr/>
        </p:nvSpPr>
        <p:spPr>
          <a:xfrm>
            <a:off x="5189790" y="735586"/>
            <a:ext cx="76828" cy="117386"/>
          </a:xfrm>
          <a:custGeom>
            <a:avLst/>
            <a:gdLst/>
            <a:ahLst/>
            <a:cxnLst/>
            <a:rect l="0" t="0" r="0" b="0"/>
            <a:pathLst>
              <a:path w="5909866" h="9029700">
                <a:moveTo>
                  <a:pt x="5909866" y="9029700"/>
                </a:moveTo>
                <a:lnTo>
                  <a:pt x="4768850" y="9029700"/>
                </a:lnTo>
                <a:lnTo>
                  <a:pt x="4768850" y="4859735"/>
                </a:lnTo>
                <a:lnTo>
                  <a:pt x="1134864" y="4859735"/>
                </a:lnTo>
                <a:lnTo>
                  <a:pt x="1134864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34864" y="0"/>
                </a:lnTo>
                <a:lnTo>
                  <a:pt x="1134864" y="3886200"/>
                </a:lnTo>
                <a:lnTo>
                  <a:pt x="4768850" y="3886200"/>
                </a:lnTo>
                <a:lnTo>
                  <a:pt x="4768850" y="0"/>
                </a:lnTo>
                <a:lnTo>
                  <a:pt x="5909866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5" name="Freeform 2395"/>
          <p:cNvSpPr/>
          <p:nvPr/>
        </p:nvSpPr>
        <p:spPr>
          <a:xfrm>
            <a:off x="213655" y="935611"/>
            <a:ext cx="72473" cy="117386"/>
          </a:xfrm>
          <a:custGeom>
            <a:avLst/>
            <a:gdLst/>
            <a:ahLst/>
            <a:cxnLst/>
            <a:rect l="0" t="0" r="0" b="0"/>
            <a:pathLst>
              <a:path w="5574903" h="9029700">
                <a:moveTo>
                  <a:pt x="1134864" y="5494735"/>
                </a:moveTo>
                <a:lnTo>
                  <a:pt x="1134864" y="9029700"/>
                </a:lnTo>
                <a:lnTo>
                  <a:pt x="0" y="9029700"/>
                </a:lnTo>
                <a:lnTo>
                  <a:pt x="0" y="0"/>
                </a:lnTo>
                <a:lnTo>
                  <a:pt x="2877344" y="0"/>
                </a:lnTo>
                <a:cubicBezTo>
                  <a:pt x="3716602" y="0"/>
                  <a:pt x="4376010" y="251156"/>
                  <a:pt x="4855567" y="753468"/>
                </a:cubicBezTo>
                <a:cubicBezTo>
                  <a:pt x="5335124" y="1255779"/>
                  <a:pt x="5574903" y="1924580"/>
                  <a:pt x="5574903" y="2759869"/>
                </a:cubicBezTo>
                <a:cubicBezTo>
                  <a:pt x="5574903" y="3628100"/>
                  <a:pt x="5346501" y="4296834"/>
                  <a:pt x="4889698" y="4766072"/>
                </a:cubicBezTo>
                <a:cubicBezTo>
                  <a:pt x="4432895" y="5235311"/>
                  <a:pt x="3789032" y="5478198"/>
                  <a:pt x="2958108" y="5494735"/>
                </a:cubicBezTo>
                <a:close/>
                <a:moveTo>
                  <a:pt x="1134864" y="4521200"/>
                </a:moveTo>
                <a:lnTo>
                  <a:pt x="2877344" y="4521200"/>
                </a:lnTo>
                <a:cubicBezTo>
                  <a:pt x="3381772" y="4521200"/>
                  <a:pt x="3768328" y="4370322"/>
                  <a:pt x="4037012" y="4068565"/>
                </a:cubicBezTo>
                <a:cubicBezTo>
                  <a:pt x="4305697" y="3766675"/>
                  <a:pt x="4440039" y="3334544"/>
                  <a:pt x="4440039" y="2772172"/>
                </a:cubicBezTo>
                <a:cubicBezTo>
                  <a:pt x="4440039" y="2230571"/>
                  <a:pt x="4301530" y="1796455"/>
                  <a:pt x="4024511" y="1469827"/>
                </a:cubicBezTo>
                <a:cubicBezTo>
                  <a:pt x="3747624" y="1143199"/>
                  <a:pt x="3367352" y="979885"/>
                  <a:pt x="2883694" y="979885"/>
                </a:cubicBezTo>
                <a:lnTo>
                  <a:pt x="1134864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6" name="Freeform 2396"/>
          <p:cNvSpPr/>
          <p:nvPr/>
        </p:nvSpPr>
        <p:spPr>
          <a:xfrm>
            <a:off x="305848" y="935611"/>
            <a:ext cx="77953" cy="117386"/>
          </a:xfrm>
          <a:custGeom>
            <a:avLst/>
            <a:gdLst/>
            <a:ahLst/>
            <a:cxnLst/>
            <a:rect l="0" t="0" r="0" b="0"/>
            <a:pathLst>
              <a:path w="5996385" h="9029700">
                <a:moveTo>
                  <a:pt x="1990527" y="4967288"/>
                </a:moveTo>
                <a:lnTo>
                  <a:pt x="1134666" y="4967288"/>
                </a:lnTo>
                <a:lnTo>
                  <a:pt x="1134666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34666" y="0"/>
                </a:lnTo>
                <a:lnTo>
                  <a:pt x="1134666" y="3975100"/>
                </a:lnTo>
                <a:lnTo>
                  <a:pt x="1829197" y="3975100"/>
                </a:lnTo>
                <a:lnTo>
                  <a:pt x="4371777" y="0"/>
                </a:lnTo>
                <a:lnTo>
                  <a:pt x="5785644" y="0"/>
                </a:lnTo>
                <a:lnTo>
                  <a:pt x="2920603" y="4359672"/>
                </a:lnTo>
                <a:lnTo>
                  <a:pt x="5996385" y="9029700"/>
                </a:lnTo>
                <a:lnTo>
                  <a:pt x="4607322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7" name="Freeform 2397"/>
          <p:cNvSpPr/>
          <p:nvPr/>
        </p:nvSpPr>
        <p:spPr>
          <a:xfrm>
            <a:off x="434660" y="965824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8" name="Freeform 2398"/>
          <p:cNvSpPr/>
          <p:nvPr/>
        </p:nvSpPr>
        <p:spPr>
          <a:xfrm>
            <a:off x="557296" y="935445"/>
            <a:ext cx="45227" cy="117551"/>
          </a:xfrm>
          <a:custGeom>
            <a:avLst/>
            <a:gdLst/>
            <a:ahLst/>
            <a:cxnLst/>
            <a:rect l="0" t="0" r="0" b="0"/>
            <a:pathLst>
              <a:path w="3479006" h="9042400">
                <a:moveTo>
                  <a:pt x="3479006" y="9042400"/>
                </a:moveTo>
                <a:lnTo>
                  <a:pt x="1717873" y="9042400"/>
                </a:lnTo>
                <a:lnTo>
                  <a:pt x="1717873" y="2146102"/>
                </a:lnTo>
                <a:lnTo>
                  <a:pt x="0" y="2809677"/>
                </a:lnTo>
                <a:lnTo>
                  <a:pt x="0" y="1346200"/>
                </a:lnTo>
                <a:lnTo>
                  <a:pt x="3292872" y="0"/>
                </a:lnTo>
                <a:lnTo>
                  <a:pt x="3479006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99" name="Freeform 2399"/>
          <p:cNvSpPr/>
          <p:nvPr/>
        </p:nvSpPr>
        <p:spPr>
          <a:xfrm>
            <a:off x="671633" y="964173"/>
            <a:ext cx="70618" cy="9047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0" name="Freeform 2400"/>
          <p:cNvSpPr/>
          <p:nvPr/>
        </p:nvSpPr>
        <p:spPr>
          <a:xfrm>
            <a:off x="749359" y="965824"/>
            <a:ext cx="67476" cy="87172"/>
          </a:xfrm>
          <a:custGeom>
            <a:avLst/>
            <a:gdLst/>
            <a:ahLst/>
            <a:cxnLst/>
            <a:rect l="0" t="0" r="0" b="0"/>
            <a:pathLst>
              <a:path w="5190529" h="6705600">
                <a:moveTo>
                  <a:pt x="5190529" y="1444824"/>
                </a:moveTo>
                <a:lnTo>
                  <a:pt x="3466504" y="1444824"/>
                </a:lnTo>
                <a:lnTo>
                  <a:pt x="3466504" y="6705600"/>
                </a:lnTo>
                <a:lnTo>
                  <a:pt x="1711523" y="6705600"/>
                </a:lnTo>
                <a:lnTo>
                  <a:pt x="1711523" y="1444824"/>
                </a:lnTo>
                <a:lnTo>
                  <a:pt x="0" y="1444824"/>
                </a:lnTo>
                <a:lnTo>
                  <a:pt x="0" y="0"/>
                </a:lnTo>
                <a:lnTo>
                  <a:pt x="51905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1" name="Freeform 2401"/>
          <p:cNvSpPr/>
          <p:nvPr/>
        </p:nvSpPr>
        <p:spPr>
          <a:xfrm>
            <a:off x="828991" y="964173"/>
            <a:ext cx="67959" cy="122339"/>
          </a:xfrm>
          <a:custGeom>
            <a:avLst/>
            <a:gdLst/>
            <a:ahLst/>
            <a:cxnLst/>
            <a:rect l="0" t="0" r="0" b="0"/>
            <a:pathLst>
              <a:path w="5227637" h="9410700">
                <a:moveTo>
                  <a:pt x="5227637" y="3690740"/>
                </a:moveTo>
                <a:cubicBezTo>
                  <a:pt x="5227637" y="4745236"/>
                  <a:pt x="5046729" y="5553671"/>
                  <a:pt x="4684911" y="6116043"/>
                </a:cubicBezTo>
                <a:cubicBezTo>
                  <a:pt x="4323225" y="6678415"/>
                  <a:pt x="3784798" y="6959600"/>
                  <a:pt x="3069630" y="6959600"/>
                </a:cubicBezTo>
                <a:cubicBezTo>
                  <a:pt x="2523926" y="6959600"/>
                  <a:pt x="2085710" y="6738343"/>
                  <a:pt x="1754981" y="6295827"/>
                </a:cubicBezTo>
                <a:lnTo>
                  <a:pt x="1754981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24608" y="127000"/>
                </a:lnTo>
                <a:lnTo>
                  <a:pt x="1686719" y="738188"/>
                </a:lnTo>
                <a:cubicBezTo>
                  <a:pt x="2021549" y="246063"/>
                  <a:pt x="2478352" y="0"/>
                  <a:pt x="3057128" y="0"/>
                </a:cubicBezTo>
                <a:cubicBezTo>
                  <a:pt x="3772297" y="0"/>
                  <a:pt x="4310724" y="260549"/>
                  <a:pt x="4672409" y="781646"/>
                </a:cubicBezTo>
                <a:cubicBezTo>
                  <a:pt x="5034227" y="1302611"/>
                  <a:pt x="5219303" y="2100660"/>
                  <a:pt x="5227637" y="3175794"/>
                </a:cubicBezTo>
                <a:close/>
                <a:moveTo>
                  <a:pt x="3478808" y="3250208"/>
                </a:moveTo>
                <a:cubicBezTo>
                  <a:pt x="3478808" y="2600789"/>
                  <a:pt x="3407502" y="2141670"/>
                  <a:pt x="3264892" y="1872854"/>
                </a:cubicBezTo>
                <a:cubicBezTo>
                  <a:pt x="3122282" y="1604037"/>
                  <a:pt x="2881444" y="1469629"/>
                  <a:pt x="2542381" y="1469629"/>
                </a:cubicBezTo>
                <a:cubicBezTo>
                  <a:pt x="2182812" y="1469629"/>
                  <a:pt x="1920346" y="1620573"/>
                  <a:pt x="1754981" y="1922463"/>
                </a:cubicBezTo>
                <a:lnTo>
                  <a:pt x="1754981" y="5067896"/>
                </a:lnTo>
                <a:cubicBezTo>
                  <a:pt x="1912011" y="5357482"/>
                  <a:pt x="2178645" y="5502275"/>
                  <a:pt x="2554883" y="5502275"/>
                </a:cubicBezTo>
                <a:cubicBezTo>
                  <a:pt x="2902148" y="5502275"/>
                  <a:pt x="3142919" y="5355432"/>
                  <a:pt x="3277195" y="5061744"/>
                </a:cubicBezTo>
                <a:cubicBezTo>
                  <a:pt x="3411604" y="4768057"/>
                  <a:pt x="3478808" y="4311055"/>
                  <a:pt x="3478808" y="36907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2" name="Freeform 2402"/>
          <p:cNvSpPr/>
          <p:nvPr/>
        </p:nvSpPr>
        <p:spPr>
          <a:xfrm>
            <a:off x="908216" y="964173"/>
            <a:ext cx="66911" cy="90474"/>
          </a:xfrm>
          <a:custGeom>
            <a:avLst/>
            <a:gdLst/>
            <a:ahLst/>
            <a:cxnLst/>
            <a:rect l="0" t="0" r="0" b="0"/>
            <a:pathLst>
              <a:path w="5147072" h="6959600">
                <a:moveTo>
                  <a:pt x="3379589" y="6832600"/>
                </a:moveTo>
                <a:cubicBezTo>
                  <a:pt x="3329980" y="6729810"/>
                  <a:pt x="3280370" y="6557103"/>
                  <a:pt x="3230761" y="6314480"/>
                </a:cubicBezTo>
                <a:cubicBezTo>
                  <a:pt x="2916568" y="6744560"/>
                  <a:pt x="2490787" y="6959600"/>
                  <a:pt x="1953419" y="6959600"/>
                </a:cubicBezTo>
                <a:cubicBezTo>
                  <a:pt x="1391179" y="6959600"/>
                  <a:pt x="925049" y="6773334"/>
                  <a:pt x="555030" y="6400800"/>
                </a:cubicBezTo>
                <a:cubicBezTo>
                  <a:pt x="185010" y="6028135"/>
                  <a:pt x="0" y="5545799"/>
                  <a:pt x="0" y="4953794"/>
                </a:cubicBezTo>
                <a:cubicBezTo>
                  <a:pt x="0" y="4249870"/>
                  <a:pt x="224234" y="3705424"/>
                  <a:pt x="672703" y="3320455"/>
                </a:cubicBezTo>
                <a:cubicBezTo>
                  <a:pt x="1121304" y="2935486"/>
                  <a:pt x="1767284" y="2738835"/>
                  <a:pt x="2610644" y="2730500"/>
                </a:cubicBezTo>
                <a:lnTo>
                  <a:pt x="3144044" y="2730500"/>
                </a:lnTo>
                <a:lnTo>
                  <a:pt x="3144044" y="2192735"/>
                </a:lnTo>
                <a:cubicBezTo>
                  <a:pt x="3144044" y="1891771"/>
                  <a:pt x="3092318" y="1679509"/>
                  <a:pt x="2988866" y="1555949"/>
                </a:cubicBezTo>
                <a:cubicBezTo>
                  <a:pt x="2885546" y="1432256"/>
                  <a:pt x="2734667" y="1370410"/>
                  <a:pt x="2536230" y="1370410"/>
                </a:cubicBezTo>
                <a:cubicBezTo>
                  <a:pt x="2098080" y="1370410"/>
                  <a:pt x="1879005" y="1624807"/>
                  <a:pt x="1879005" y="2133600"/>
                </a:cubicBezTo>
                <a:lnTo>
                  <a:pt x="124023" y="2133600"/>
                </a:lnTo>
                <a:cubicBezTo>
                  <a:pt x="124023" y="1515137"/>
                  <a:pt x="356526" y="1004954"/>
                  <a:pt x="821531" y="603052"/>
                </a:cubicBezTo>
                <a:cubicBezTo>
                  <a:pt x="1286669" y="201018"/>
                  <a:pt x="1874771" y="0"/>
                  <a:pt x="2585839" y="0"/>
                </a:cubicBezTo>
                <a:cubicBezTo>
                  <a:pt x="3321777" y="0"/>
                  <a:pt x="3891293" y="191162"/>
                  <a:pt x="4294386" y="573485"/>
                </a:cubicBezTo>
                <a:cubicBezTo>
                  <a:pt x="4697479" y="955808"/>
                  <a:pt x="4899025" y="1502437"/>
                  <a:pt x="4899025" y="2213372"/>
                </a:cubicBezTo>
                <a:lnTo>
                  <a:pt x="4899025" y="5369322"/>
                </a:lnTo>
                <a:cubicBezTo>
                  <a:pt x="4907227" y="5947966"/>
                  <a:pt x="4989909" y="6400602"/>
                  <a:pt x="5147072" y="6727230"/>
                </a:cubicBezTo>
                <a:lnTo>
                  <a:pt x="5147072" y="6832600"/>
                </a:lnTo>
                <a:close/>
                <a:moveTo>
                  <a:pt x="2344142" y="5582841"/>
                </a:moveTo>
                <a:cubicBezTo>
                  <a:pt x="2538346" y="5582841"/>
                  <a:pt x="2703645" y="5543484"/>
                  <a:pt x="2840037" y="5464771"/>
                </a:cubicBezTo>
                <a:cubicBezTo>
                  <a:pt x="2976562" y="5385925"/>
                  <a:pt x="3077898" y="5292527"/>
                  <a:pt x="3144044" y="5184577"/>
                </a:cubicBezTo>
                <a:lnTo>
                  <a:pt x="3144044" y="3784799"/>
                </a:lnTo>
                <a:lnTo>
                  <a:pt x="2722364" y="3784799"/>
                </a:lnTo>
                <a:cubicBezTo>
                  <a:pt x="2424708" y="3784799"/>
                  <a:pt x="2190088" y="3880181"/>
                  <a:pt x="2018506" y="4070946"/>
                </a:cubicBezTo>
                <a:cubicBezTo>
                  <a:pt x="1846924" y="4261710"/>
                  <a:pt x="1761133" y="4516835"/>
                  <a:pt x="1761133" y="4836319"/>
                </a:cubicBezTo>
                <a:cubicBezTo>
                  <a:pt x="1761133" y="5334000"/>
                  <a:pt x="1955469" y="5582841"/>
                  <a:pt x="2344142" y="5582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3" name="Freeform 2403"/>
          <p:cNvSpPr/>
          <p:nvPr/>
        </p:nvSpPr>
        <p:spPr>
          <a:xfrm>
            <a:off x="985570" y="964173"/>
            <a:ext cx="65782" cy="90474"/>
          </a:xfrm>
          <a:custGeom>
            <a:avLst/>
            <a:gdLst/>
            <a:ahLst/>
            <a:cxnLst/>
            <a:rect l="0" t="0" r="0" b="0"/>
            <a:pathLst>
              <a:path w="5060156" h="6959600">
                <a:moveTo>
                  <a:pt x="2635647" y="5502275"/>
                </a:moveTo>
                <a:cubicBezTo>
                  <a:pt x="3144044" y="5502275"/>
                  <a:pt x="3402409" y="5171546"/>
                  <a:pt x="3410744" y="4510088"/>
                </a:cubicBezTo>
                <a:lnTo>
                  <a:pt x="5060156" y="4510088"/>
                </a:lnTo>
                <a:cubicBezTo>
                  <a:pt x="5051954" y="5241793"/>
                  <a:pt x="4826661" y="5833005"/>
                  <a:pt x="4384278" y="6283722"/>
                </a:cubicBezTo>
                <a:cubicBezTo>
                  <a:pt x="3941894" y="6734308"/>
                  <a:pt x="3371387" y="6959600"/>
                  <a:pt x="2672754" y="6959600"/>
                </a:cubicBezTo>
                <a:cubicBezTo>
                  <a:pt x="1808758" y="6959600"/>
                  <a:pt x="1149350" y="6690850"/>
                  <a:pt x="694531" y="6153349"/>
                </a:cubicBezTo>
                <a:cubicBezTo>
                  <a:pt x="239845" y="5615716"/>
                  <a:pt x="8334" y="4823752"/>
                  <a:pt x="0" y="3777457"/>
                </a:cubicBezTo>
                <a:lnTo>
                  <a:pt x="0" y="3244057"/>
                </a:lnTo>
                <a:cubicBezTo>
                  <a:pt x="0" y="2189560"/>
                  <a:pt x="224300" y="1385293"/>
                  <a:pt x="672901" y="831255"/>
                </a:cubicBezTo>
                <a:cubicBezTo>
                  <a:pt x="1121502" y="277085"/>
                  <a:pt x="1784019" y="0"/>
                  <a:pt x="2660451" y="0"/>
                </a:cubicBezTo>
                <a:cubicBezTo>
                  <a:pt x="3400358" y="0"/>
                  <a:pt x="3983236" y="228402"/>
                  <a:pt x="4409083" y="685205"/>
                </a:cubicBezTo>
                <a:cubicBezTo>
                  <a:pt x="4834929" y="1142008"/>
                  <a:pt x="5051954" y="1790039"/>
                  <a:pt x="5060156" y="2629297"/>
                </a:cubicBezTo>
                <a:lnTo>
                  <a:pt x="3410744" y="2629297"/>
                </a:lnTo>
                <a:cubicBezTo>
                  <a:pt x="3406643" y="2253192"/>
                  <a:pt x="3344598" y="1963870"/>
                  <a:pt x="3224609" y="1761332"/>
                </a:cubicBezTo>
                <a:cubicBezTo>
                  <a:pt x="3104753" y="1558661"/>
                  <a:pt x="2906315" y="1457325"/>
                  <a:pt x="2629297" y="1457325"/>
                </a:cubicBezTo>
                <a:cubicBezTo>
                  <a:pt x="2323438" y="1457325"/>
                  <a:pt x="2104363" y="1565937"/>
                  <a:pt x="1972072" y="1783160"/>
                </a:cubicBezTo>
                <a:cubicBezTo>
                  <a:pt x="1839780" y="2000250"/>
                  <a:pt x="1769467" y="2421070"/>
                  <a:pt x="1761133" y="3045619"/>
                </a:cubicBezTo>
                <a:lnTo>
                  <a:pt x="1761133" y="3728046"/>
                </a:lnTo>
                <a:cubicBezTo>
                  <a:pt x="1761133" y="4273881"/>
                  <a:pt x="1787988" y="4655410"/>
                  <a:pt x="1841698" y="4872633"/>
                </a:cubicBezTo>
                <a:cubicBezTo>
                  <a:pt x="1895541" y="5089724"/>
                  <a:pt x="1984441" y="5248937"/>
                  <a:pt x="2108398" y="5350272"/>
                </a:cubicBezTo>
                <a:cubicBezTo>
                  <a:pt x="2232488" y="5451608"/>
                  <a:pt x="2408237" y="5502275"/>
                  <a:pt x="2635647" y="55022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4" name="Freeform 2404"/>
          <p:cNvSpPr/>
          <p:nvPr/>
        </p:nvSpPr>
        <p:spPr>
          <a:xfrm>
            <a:off x="1058532" y="965824"/>
            <a:ext cx="71503" cy="87172"/>
          </a:xfrm>
          <a:custGeom>
            <a:avLst/>
            <a:gdLst/>
            <a:ahLst/>
            <a:cxnLst/>
            <a:rect l="0" t="0" r="0" b="0"/>
            <a:pathLst>
              <a:path w="5500290" h="6705600">
                <a:moveTo>
                  <a:pt x="5500290" y="0"/>
                </a:moveTo>
                <a:lnTo>
                  <a:pt x="5500290" y="6705600"/>
                </a:lnTo>
                <a:lnTo>
                  <a:pt x="3745507" y="6705600"/>
                </a:lnTo>
                <a:lnTo>
                  <a:pt x="3745507" y="1463477"/>
                </a:lnTo>
                <a:lnTo>
                  <a:pt x="2703711" y="1463477"/>
                </a:lnTo>
                <a:lnTo>
                  <a:pt x="2604492" y="3532982"/>
                </a:lnTo>
                <a:cubicBezTo>
                  <a:pt x="2542447" y="4607058"/>
                  <a:pt x="2350161" y="5401271"/>
                  <a:pt x="2027634" y="5915621"/>
                </a:cubicBezTo>
                <a:cubicBezTo>
                  <a:pt x="1705239" y="6429839"/>
                  <a:pt x="1225682" y="6693165"/>
                  <a:pt x="588962" y="6705600"/>
                </a:cubicBezTo>
                <a:lnTo>
                  <a:pt x="18454" y="6705600"/>
                </a:lnTo>
                <a:lnTo>
                  <a:pt x="0" y="5242124"/>
                </a:lnTo>
                <a:lnTo>
                  <a:pt x="198437" y="5217319"/>
                </a:lnTo>
                <a:cubicBezTo>
                  <a:pt x="434049" y="5184246"/>
                  <a:pt x="607615" y="5012796"/>
                  <a:pt x="719137" y="4702969"/>
                </a:cubicBezTo>
                <a:cubicBezTo>
                  <a:pt x="830791" y="4393142"/>
                  <a:pt x="903155" y="3885076"/>
                  <a:pt x="936228" y="3178771"/>
                </a:cubicBezTo>
                <a:lnTo>
                  <a:pt x="105410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5" name="Freeform 2405"/>
          <p:cNvSpPr/>
          <p:nvPr/>
        </p:nvSpPr>
        <p:spPr>
          <a:xfrm>
            <a:off x="1148093" y="965824"/>
            <a:ext cx="67556" cy="87172"/>
          </a:xfrm>
          <a:custGeom>
            <a:avLst/>
            <a:gdLst/>
            <a:ahLst/>
            <a:cxnLst/>
            <a:rect l="0" t="0" r="0" b="0"/>
            <a:pathLst>
              <a:path w="5196681" h="6705600">
                <a:moveTo>
                  <a:pt x="1754981" y="1955800"/>
                </a:moveTo>
                <a:lnTo>
                  <a:pt x="2654101" y="1955800"/>
                </a:lnTo>
                <a:cubicBezTo>
                  <a:pt x="3443750" y="1955800"/>
                  <a:pt x="4064926" y="2172561"/>
                  <a:pt x="4517628" y="2606080"/>
                </a:cubicBezTo>
                <a:cubicBezTo>
                  <a:pt x="4970330" y="3039600"/>
                  <a:pt x="5196681" y="3619633"/>
                  <a:pt x="5196681" y="4346179"/>
                </a:cubicBezTo>
                <a:cubicBezTo>
                  <a:pt x="5196681" y="5056320"/>
                  <a:pt x="4968279" y="5627093"/>
                  <a:pt x="4511476" y="6058496"/>
                </a:cubicBezTo>
                <a:cubicBezTo>
                  <a:pt x="4054673" y="6489899"/>
                  <a:pt x="3433497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54981" y="0"/>
                </a:lnTo>
                <a:close/>
                <a:moveTo>
                  <a:pt x="1754981" y="3413125"/>
                </a:moveTo>
                <a:lnTo>
                  <a:pt x="1754981" y="5260777"/>
                </a:lnTo>
                <a:lnTo>
                  <a:pt x="2672754" y="5260777"/>
                </a:lnTo>
                <a:cubicBezTo>
                  <a:pt x="2916700" y="5260777"/>
                  <a:pt x="3106869" y="5180476"/>
                  <a:pt x="3243262" y="5019874"/>
                </a:cubicBezTo>
                <a:cubicBezTo>
                  <a:pt x="3379655" y="4859140"/>
                  <a:pt x="3447851" y="4636625"/>
                  <a:pt x="3447851" y="4352330"/>
                </a:cubicBezTo>
                <a:cubicBezTo>
                  <a:pt x="3447851" y="3726194"/>
                  <a:pt x="3172949" y="3413125"/>
                  <a:pt x="2623145" y="34131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6" name="Freeform 2406"/>
          <p:cNvSpPr/>
          <p:nvPr/>
        </p:nvSpPr>
        <p:spPr>
          <a:xfrm>
            <a:off x="1267381" y="935611"/>
            <a:ext cx="65862" cy="117386"/>
          </a:xfrm>
          <a:custGeom>
            <a:avLst/>
            <a:gdLst/>
            <a:ahLst/>
            <a:cxnLst/>
            <a:rect l="0" t="0" r="0" b="0"/>
            <a:pathLst>
              <a:path w="5066308" h="9029700">
                <a:moveTo>
                  <a:pt x="5066308" y="1519238"/>
                </a:moveTo>
                <a:lnTo>
                  <a:pt x="1823244" y="1519238"/>
                </a:lnTo>
                <a:lnTo>
                  <a:pt x="18232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506630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7" name="Freeform 2407"/>
          <p:cNvSpPr/>
          <p:nvPr/>
        </p:nvSpPr>
        <p:spPr>
          <a:xfrm>
            <a:off x="1347707" y="935611"/>
            <a:ext cx="106172" cy="117386"/>
          </a:xfrm>
          <a:custGeom>
            <a:avLst/>
            <a:gdLst/>
            <a:ahLst/>
            <a:cxnLst/>
            <a:rect l="0" t="0" r="0" b="0"/>
            <a:pathLst>
              <a:path w="8167092" h="9029700">
                <a:moveTo>
                  <a:pt x="2381250" y="0"/>
                </a:moveTo>
                <a:lnTo>
                  <a:pt x="4086622" y="6530380"/>
                </a:lnTo>
                <a:lnTo>
                  <a:pt x="5785842" y="0"/>
                </a:lnTo>
                <a:lnTo>
                  <a:pt x="8167092" y="0"/>
                </a:lnTo>
                <a:lnTo>
                  <a:pt x="8167092" y="9029700"/>
                </a:lnTo>
                <a:lnTo>
                  <a:pt x="6337697" y="9029700"/>
                </a:lnTo>
                <a:lnTo>
                  <a:pt x="6337697" y="6586141"/>
                </a:lnTo>
                <a:lnTo>
                  <a:pt x="6505178" y="2821782"/>
                </a:lnTo>
                <a:lnTo>
                  <a:pt x="4700588" y="9029700"/>
                </a:lnTo>
                <a:lnTo>
                  <a:pt x="3460353" y="9029700"/>
                </a:lnTo>
                <a:lnTo>
                  <a:pt x="1655763" y="2821782"/>
                </a:lnTo>
                <a:lnTo>
                  <a:pt x="1823244" y="6586141"/>
                </a:lnTo>
                <a:lnTo>
                  <a:pt x="1823244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8" name="Freeform 2408"/>
          <p:cNvSpPr/>
          <p:nvPr/>
        </p:nvSpPr>
        <p:spPr>
          <a:xfrm>
            <a:off x="1473015" y="935611"/>
            <a:ext cx="84162" cy="117386"/>
          </a:xfrm>
          <a:custGeom>
            <a:avLst/>
            <a:gdLst/>
            <a:ahLst/>
            <a:cxnLst/>
            <a:rect l="0" t="0" r="0" b="0"/>
            <a:pathLst>
              <a:path w="6474023" h="9029700">
                <a:moveTo>
                  <a:pt x="2616795" y="5343129"/>
                </a:moveTo>
                <a:lnTo>
                  <a:pt x="1823045" y="5343129"/>
                </a:lnTo>
                <a:lnTo>
                  <a:pt x="182304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23045" y="0"/>
                </a:lnTo>
                <a:lnTo>
                  <a:pt x="1823045" y="3606800"/>
                </a:lnTo>
                <a:lnTo>
                  <a:pt x="2437011" y="3606800"/>
                </a:lnTo>
                <a:lnTo>
                  <a:pt x="4005857" y="0"/>
                </a:lnTo>
                <a:lnTo>
                  <a:pt x="6225976" y="0"/>
                </a:lnTo>
                <a:lnTo>
                  <a:pt x="4018359" y="4202113"/>
                </a:lnTo>
                <a:lnTo>
                  <a:pt x="6474023" y="9029700"/>
                </a:lnTo>
                <a:lnTo>
                  <a:pt x="4303514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09" name="Freeform 2409"/>
          <p:cNvSpPr/>
          <p:nvPr/>
        </p:nvSpPr>
        <p:spPr>
          <a:xfrm>
            <a:off x="1602168" y="964173"/>
            <a:ext cx="58202" cy="90309"/>
          </a:xfrm>
          <a:custGeom>
            <a:avLst/>
            <a:gdLst/>
            <a:ahLst/>
            <a:cxnLst/>
            <a:rect l="0" t="0" r="0" b="0"/>
            <a:pathLst>
              <a:path w="4477147" h="6946900">
                <a:moveTo>
                  <a:pt x="4371776" y="1947466"/>
                </a:moveTo>
                <a:cubicBezTo>
                  <a:pt x="4371776" y="2249223"/>
                  <a:pt x="4295312" y="2526242"/>
                  <a:pt x="4142383" y="2778522"/>
                </a:cubicBezTo>
                <a:cubicBezTo>
                  <a:pt x="3989454" y="3030670"/>
                  <a:pt x="3772429" y="3231158"/>
                  <a:pt x="3491309" y="3379986"/>
                </a:cubicBezTo>
                <a:cubicBezTo>
                  <a:pt x="4148534" y="3648803"/>
                  <a:pt x="4477147" y="4169900"/>
                  <a:pt x="4477147" y="4943277"/>
                </a:cubicBezTo>
                <a:cubicBezTo>
                  <a:pt x="4477147" y="5567694"/>
                  <a:pt x="4273550" y="6057768"/>
                  <a:pt x="3866356" y="6413500"/>
                </a:cubicBezTo>
                <a:cubicBezTo>
                  <a:pt x="3459162" y="6769100"/>
                  <a:pt x="2922786" y="6946900"/>
                  <a:pt x="2257226" y="6946900"/>
                </a:cubicBezTo>
                <a:cubicBezTo>
                  <a:pt x="1599869" y="6946900"/>
                  <a:pt x="1059325" y="6757723"/>
                  <a:pt x="635595" y="6379369"/>
                </a:cubicBezTo>
                <a:cubicBezTo>
                  <a:pt x="211865" y="6001015"/>
                  <a:pt x="0" y="5489311"/>
                  <a:pt x="0" y="4844257"/>
                </a:cubicBezTo>
                <a:lnTo>
                  <a:pt x="1085254" y="4844257"/>
                </a:lnTo>
                <a:cubicBezTo>
                  <a:pt x="1085254" y="5175118"/>
                  <a:pt x="1196842" y="5456370"/>
                  <a:pt x="1420019" y="5688013"/>
                </a:cubicBezTo>
                <a:cubicBezTo>
                  <a:pt x="1643327" y="5919523"/>
                  <a:pt x="1922396" y="6035279"/>
                  <a:pt x="2257226" y="6035279"/>
                </a:cubicBezTo>
                <a:cubicBezTo>
                  <a:pt x="2596158" y="6035279"/>
                  <a:pt x="2867951" y="5933943"/>
                  <a:pt x="3072606" y="5731272"/>
                </a:cubicBezTo>
                <a:cubicBezTo>
                  <a:pt x="3277261" y="5528602"/>
                  <a:pt x="3379589" y="5265936"/>
                  <a:pt x="3379589" y="4943277"/>
                </a:cubicBezTo>
                <a:cubicBezTo>
                  <a:pt x="3379589" y="4566775"/>
                  <a:pt x="3295848" y="4296834"/>
                  <a:pt x="3128367" y="4133454"/>
                </a:cubicBezTo>
                <a:cubicBezTo>
                  <a:pt x="2961018" y="3970073"/>
                  <a:pt x="2697493" y="3888383"/>
                  <a:pt x="2337792" y="3888383"/>
                </a:cubicBezTo>
                <a:lnTo>
                  <a:pt x="1333301" y="3888383"/>
                </a:lnTo>
                <a:lnTo>
                  <a:pt x="1333301" y="2921000"/>
                </a:lnTo>
                <a:lnTo>
                  <a:pt x="2412206" y="2921000"/>
                </a:lnTo>
                <a:cubicBezTo>
                  <a:pt x="2990982" y="2900363"/>
                  <a:pt x="3280370" y="2577902"/>
                  <a:pt x="3280370" y="1953618"/>
                </a:cubicBezTo>
                <a:cubicBezTo>
                  <a:pt x="3280370" y="1639293"/>
                  <a:pt x="3190412" y="1390187"/>
                  <a:pt x="3010495" y="1206302"/>
                </a:cubicBezTo>
                <a:cubicBezTo>
                  <a:pt x="2830711" y="1022284"/>
                  <a:pt x="2581672" y="930275"/>
                  <a:pt x="2263378" y="930275"/>
                </a:cubicBezTo>
                <a:cubicBezTo>
                  <a:pt x="1953286" y="930275"/>
                  <a:pt x="1693862" y="1033661"/>
                  <a:pt x="1485106" y="1240433"/>
                </a:cubicBezTo>
                <a:cubicBezTo>
                  <a:pt x="1276350" y="1447205"/>
                  <a:pt x="1171972" y="1697435"/>
                  <a:pt x="1171972" y="1991122"/>
                </a:cubicBezTo>
                <a:lnTo>
                  <a:pt x="86717" y="1991122"/>
                </a:lnTo>
                <a:cubicBezTo>
                  <a:pt x="86717" y="1408113"/>
                  <a:pt x="293423" y="930540"/>
                  <a:pt x="706834" y="558404"/>
                </a:cubicBezTo>
                <a:cubicBezTo>
                  <a:pt x="1120246" y="186135"/>
                  <a:pt x="1639094" y="0"/>
                  <a:pt x="2263378" y="0"/>
                </a:cubicBezTo>
                <a:cubicBezTo>
                  <a:pt x="2928937" y="0"/>
                  <a:pt x="3446727" y="169532"/>
                  <a:pt x="3816747" y="508596"/>
                </a:cubicBezTo>
                <a:cubicBezTo>
                  <a:pt x="4186766" y="847659"/>
                  <a:pt x="4371776" y="1327283"/>
                  <a:pt x="4371776" y="194746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0" name="Freeform 2410"/>
          <p:cNvSpPr/>
          <p:nvPr/>
        </p:nvSpPr>
        <p:spPr>
          <a:xfrm>
            <a:off x="1677658" y="964173"/>
            <a:ext cx="61185" cy="9047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1" name="Freeform 2411"/>
          <p:cNvSpPr/>
          <p:nvPr/>
        </p:nvSpPr>
        <p:spPr>
          <a:xfrm>
            <a:off x="1793096" y="964173"/>
            <a:ext cx="62719" cy="90474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2" name="Freeform 2412"/>
          <p:cNvSpPr/>
          <p:nvPr/>
        </p:nvSpPr>
        <p:spPr>
          <a:xfrm>
            <a:off x="1869852" y="965659"/>
            <a:ext cx="58850" cy="87337"/>
          </a:xfrm>
          <a:custGeom>
            <a:avLst/>
            <a:gdLst/>
            <a:ahLst/>
            <a:cxnLst/>
            <a:rect l="0" t="0" r="0" b="0"/>
            <a:pathLst>
              <a:path w="4526955" h="6718300">
                <a:moveTo>
                  <a:pt x="4526955" y="6718300"/>
                </a:moveTo>
                <a:lnTo>
                  <a:pt x="3423047" y="6718300"/>
                </a:lnTo>
                <a:lnTo>
                  <a:pt x="3423047" y="4312246"/>
                </a:lnTo>
                <a:cubicBezTo>
                  <a:pt x="3022071" y="4428001"/>
                  <a:pt x="2610710" y="4485879"/>
                  <a:pt x="2188964" y="4485879"/>
                </a:cubicBezTo>
                <a:cubicBezTo>
                  <a:pt x="1502768" y="4485879"/>
                  <a:pt x="969500" y="4273881"/>
                  <a:pt x="589161" y="3849886"/>
                </a:cubicBezTo>
                <a:cubicBezTo>
                  <a:pt x="208823" y="3425892"/>
                  <a:pt x="12436" y="2820988"/>
                  <a:pt x="0" y="2035175"/>
                </a:cubicBezTo>
                <a:lnTo>
                  <a:pt x="0" y="0"/>
                </a:lnTo>
                <a:lnTo>
                  <a:pt x="1097558" y="0"/>
                </a:lnTo>
                <a:lnTo>
                  <a:pt x="1097558" y="2066330"/>
                </a:lnTo>
                <a:cubicBezTo>
                  <a:pt x="1122429" y="3050977"/>
                  <a:pt x="1486231" y="3543300"/>
                  <a:pt x="2188964" y="3543300"/>
                </a:cubicBezTo>
                <a:cubicBezTo>
                  <a:pt x="2602376" y="3543300"/>
                  <a:pt x="3013737" y="3481388"/>
                  <a:pt x="3423047" y="3357563"/>
                </a:cubicBezTo>
                <a:lnTo>
                  <a:pt x="3423047" y="12700"/>
                </a:lnTo>
                <a:lnTo>
                  <a:pt x="4526955" y="12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3" name="Freeform 2413"/>
          <p:cNvSpPr/>
          <p:nvPr/>
        </p:nvSpPr>
        <p:spPr>
          <a:xfrm>
            <a:off x="1948533" y="964173"/>
            <a:ext cx="62879" cy="9047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4" name="Freeform 2414"/>
          <p:cNvSpPr/>
          <p:nvPr/>
        </p:nvSpPr>
        <p:spPr>
          <a:xfrm>
            <a:off x="2021347" y="965824"/>
            <a:ext cx="61427" cy="87172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5" name="Freeform 2415"/>
          <p:cNvSpPr/>
          <p:nvPr/>
        </p:nvSpPr>
        <p:spPr>
          <a:xfrm>
            <a:off x="2130591" y="964173"/>
            <a:ext cx="65782" cy="90474"/>
          </a:xfrm>
          <a:custGeom>
            <a:avLst/>
            <a:gdLst/>
            <a:ahLst/>
            <a:cxnLst/>
            <a:rect l="0" t="0" r="0" b="0"/>
            <a:pathLst>
              <a:path w="5060156" h="6959600">
                <a:moveTo>
                  <a:pt x="2635647" y="5502275"/>
                </a:moveTo>
                <a:cubicBezTo>
                  <a:pt x="3144044" y="5502275"/>
                  <a:pt x="3402409" y="5171546"/>
                  <a:pt x="3410744" y="4510088"/>
                </a:cubicBezTo>
                <a:lnTo>
                  <a:pt x="5060156" y="4510088"/>
                </a:lnTo>
                <a:cubicBezTo>
                  <a:pt x="5051954" y="5241793"/>
                  <a:pt x="4826661" y="5833005"/>
                  <a:pt x="4384278" y="6283722"/>
                </a:cubicBezTo>
                <a:cubicBezTo>
                  <a:pt x="3941894" y="6734308"/>
                  <a:pt x="3371387" y="6959600"/>
                  <a:pt x="2672754" y="6959600"/>
                </a:cubicBezTo>
                <a:cubicBezTo>
                  <a:pt x="1808758" y="6959600"/>
                  <a:pt x="1149350" y="6690850"/>
                  <a:pt x="694531" y="6153349"/>
                </a:cubicBezTo>
                <a:cubicBezTo>
                  <a:pt x="239845" y="5615716"/>
                  <a:pt x="8334" y="4823752"/>
                  <a:pt x="0" y="3777457"/>
                </a:cubicBezTo>
                <a:lnTo>
                  <a:pt x="0" y="3244057"/>
                </a:lnTo>
                <a:cubicBezTo>
                  <a:pt x="0" y="2189560"/>
                  <a:pt x="224300" y="1385293"/>
                  <a:pt x="672901" y="831255"/>
                </a:cubicBezTo>
                <a:cubicBezTo>
                  <a:pt x="1121502" y="277085"/>
                  <a:pt x="1784019" y="0"/>
                  <a:pt x="2660451" y="0"/>
                </a:cubicBezTo>
                <a:cubicBezTo>
                  <a:pt x="3400358" y="0"/>
                  <a:pt x="3983236" y="228402"/>
                  <a:pt x="4409083" y="685205"/>
                </a:cubicBezTo>
                <a:cubicBezTo>
                  <a:pt x="4834929" y="1142008"/>
                  <a:pt x="5051954" y="1790039"/>
                  <a:pt x="5060156" y="2629297"/>
                </a:cubicBezTo>
                <a:lnTo>
                  <a:pt x="3410744" y="2629297"/>
                </a:lnTo>
                <a:cubicBezTo>
                  <a:pt x="3406643" y="2253192"/>
                  <a:pt x="3344598" y="1963870"/>
                  <a:pt x="3224609" y="1761332"/>
                </a:cubicBezTo>
                <a:cubicBezTo>
                  <a:pt x="3104753" y="1558661"/>
                  <a:pt x="2906315" y="1457325"/>
                  <a:pt x="2629297" y="1457325"/>
                </a:cubicBezTo>
                <a:cubicBezTo>
                  <a:pt x="2323438" y="1457325"/>
                  <a:pt x="2104363" y="1565937"/>
                  <a:pt x="1972072" y="1783160"/>
                </a:cubicBezTo>
                <a:cubicBezTo>
                  <a:pt x="1839780" y="2000250"/>
                  <a:pt x="1769467" y="2421070"/>
                  <a:pt x="1761133" y="3045619"/>
                </a:cubicBezTo>
                <a:lnTo>
                  <a:pt x="1761133" y="3728046"/>
                </a:lnTo>
                <a:cubicBezTo>
                  <a:pt x="1761133" y="4273881"/>
                  <a:pt x="1787988" y="4655410"/>
                  <a:pt x="1841698" y="4872633"/>
                </a:cubicBezTo>
                <a:cubicBezTo>
                  <a:pt x="1895541" y="5089724"/>
                  <a:pt x="1984441" y="5248937"/>
                  <a:pt x="2108398" y="5350272"/>
                </a:cubicBezTo>
                <a:cubicBezTo>
                  <a:pt x="2232488" y="5451608"/>
                  <a:pt x="2408237" y="5502275"/>
                  <a:pt x="2635647" y="55022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6" name="Freeform 2416"/>
          <p:cNvSpPr/>
          <p:nvPr/>
        </p:nvSpPr>
        <p:spPr>
          <a:xfrm>
            <a:off x="2206454" y="964173"/>
            <a:ext cx="70618" cy="9047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7" name="Freeform 2417"/>
          <p:cNvSpPr/>
          <p:nvPr/>
        </p:nvSpPr>
        <p:spPr>
          <a:xfrm>
            <a:off x="2292781" y="993230"/>
            <a:ext cx="39420" cy="19025"/>
          </a:xfrm>
          <a:custGeom>
            <a:avLst/>
            <a:gdLst/>
            <a:ahLst/>
            <a:cxnLst/>
            <a:rect l="0" t="0" r="0" b="0"/>
            <a:pathLst>
              <a:path w="3032324" h="1463477">
                <a:moveTo>
                  <a:pt x="3032324" y="1463477"/>
                </a:moveTo>
                <a:lnTo>
                  <a:pt x="0" y="1463477"/>
                </a:lnTo>
                <a:lnTo>
                  <a:pt x="0" y="0"/>
                </a:lnTo>
                <a:lnTo>
                  <a:pt x="303232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8" name="Freeform 2418"/>
          <p:cNvSpPr/>
          <p:nvPr/>
        </p:nvSpPr>
        <p:spPr>
          <a:xfrm>
            <a:off x="2348278" y="929172"/>
            <a:ext cx="93756" cy="157340"/>
          </a:xfrm>
          <a:custGeom>
            <a:avLst/>
            <a:gdLst/>
            <a:ahLst/>
            <a:cxnLst/>
            <a:rect l="0" t="0" r="0" b="0"/>
            <a:pathLst>
              <a:path w="7212013" h="12103100">
                <a:moveTo>
                  <a:pt x="0" y="6215658"/>
                </a:moveTo>
                <a:cubicBezTo>
                  <a:pt x="0" y="5132190"/>
                  <a:pt x="185010" y="4274146"/>
                  <a:pt x="555030" y="3641527"/>
                </a:cubicBezTo>
                <a:cubicBezTo>
                  <a:pt x="925050" y="3008776"/>
                  <a:pt x="1438738" y="2692400"/>
                  <a:pt x="2096096" y="2692400"/>
                </a:cubicBezTo>
                <a:cubicBezTo>
                  <a:pt x="2302735" y="2692400"/>
                  <a:pt x="2507324" y="2731691"/>
                  <a:pt x="2709863" y="2810272"/>
                </a:cubicBezTo>
                <a:lnTo>
                  <a:pt x="2709863" y="0"/>
                </a:lnTo>
                <a:lnTo>
                  <a:pt x="4464844" y="0"/>
                </a:lnTo>
                <a:lnTo>
                  <a:pt x="4464844" y="2816424"/>
                </a:lnTo>
                <a:cubicBezTo>
                  <a:pt x="4663281" y="2733741"/>
                  <a:pt x="4878256" y="2692400"/>
                  <a:pt x="5109766" y="2692400"/>
                </a:cubicBezTo>
                <a:cubicBezTo>
                  <a:pt x="5763022" y="2692400"/>
                  <a:pt x="6276711" y="3005667"/>
                  <a:pt x="6650831" y="3632200"/>
                </a:cubicBezTo>
                <a:cubicBezTo>
                  <a:pt x="7024952" y="4258601"/>
                  <a:pt x="7212013" y="5163146"/>
                  <a:pt x="7212013" y="6345833"/>
                </a:cubicBezTo>
                <a:cubicBezTo>
                  <a:pt x="7212013" y="7375592"/>
                  <a:pt x="7023894" y="8184092"/>
                  <a:pt x="6647656" y="8771335"/>
                </a:cubicBezTo>
                <a:cubicBezTo>
                  <a:pt x="6271419" y="9358445"/>
                  <a:pt x="5762956" y="9652000"/>
                  <a:pt x="5122267" y="9652000"/>
                </a:cubicBezTo>
                <a:cubicBezTo>
                  <a:pt x="4882423" y="9652000"/>
                  <a:pt x="4663281" y="9610658"/>
                  <a:pt x="4464844" y="9527976"/>
                </a:cubicBezTo>
                <a:lnTo>
                  <a:pt x="4464844" y="12103100"/>
                </a:lnTo>
                <a:lnTo>
                  <a:pt x="2709863" y="12103100"/>
                </a:lnTo>
                <a:lnTo>
                  <a:pt x="2709863" y="9540478"/>
                </a:lnTo>
                <a:cubicBezTo>
                  <a:pt x="2523861" y="9614826"/>
                  <a:pt x="2317155" y="9652000"/>
                  <a:pt x="2089746" y="9652000"/>
                </a:cubicBezTo>
                <a:cubicBezTo>
                  <a:pt x="1449057" y="9652000"/>
                  <a:pt x="940594" y="9360496"/>
                  <a:pt x="564356" y="8777486"/>
                </a:cubicBezTo>
                <a:cubicBezTo>
                  <a:pt x="188119" y="8194345"/>
                  <a:pt x="0" y="7340402"/>
                  <a:pt x="0" y="6215658"/>
                </a:cubicBezTo>
                <a:close/>
                <a:moveTo>
                  <a:pt x="5457031" y="6215460"/>
                </a:moveTo>
                <a:cubicBezTo>
                  <a:pt x="5457031" y="5528998"/>
                  <a:pt x="5386718" y="5013127"/>
                  <a:pt x="5246092" y="4667846"/>
                </a:cubicBezTo>
                <a:cubicBezTo>
                  <a:pt x="5105599" y="4322432"/>
                  <a:pt x="4903060" y="4149725"/>
                  <a:pt x="4638477" y="4149725"/>
                </a:cubicBezTo>
                <a:lnTo>
                  <a:pt x="4464844" y="4162227"/>
                </a:lnTo>
                <a:lnTo>
                  <a:pt x="4464844" y="8188127"/>
                </a:lnTo>
                <a:lnTo>
                  <a:pt x="4650978" y="8200629"/>
                </a:lnTo>
                <a:cubicBezTo>
                  <a:pt x="4919663" y="8200629"/>
                  <a:pt x="5121143" y="8048692"/>
                  <a:pt x="5255419" y="7744818"/>
                </a:cubicBezTo>
                <a:cubicBezTo>
                  <a:pt x="5389827" y="7440811"/>
                  <a:pt x="5457031" y="6931025"/>
                  <a:pt x="5457031" y="6215460"/>
                </a:cubicBezTo>
                <a:close/>
                <a:moveTo>
                  <a:pt x="1754981" y="6345833"/>
                </a:moveTo>
                <a:cubicBezTo>
                  <a:pt x="1754981" y="6970382"/>
                  <a:pt x="1818018" y="7432609"/>
                  <a:pt x="1944092" y="7732515"/>
                </a:cubicBezTo>
                <a:cubicBezTo>
                  <a:pt x="2070166" y="8032287"/>
                  <a:pt x="2263444" y="8186341"/>
                  <a:pt x="2523927" y="8194675"/>
                </a:cubicBezTo>
                <a:lnTo>
                  <a:pt x="2635449" y="8194675"/>
                </a:lnTo>
                <a:lnTo>
                  <a:pt x="2709863" y="8188524"/>
                </a:lnTo>
                <a:lnTo>
                  <a:pt x="2709863" y="4162227"/>
                </a:lnTo>
                <a:lnTo>
                  <a:pt x="2561035" y="4149725"/>
                </a:lnTo>
                <a:cubicBezTo>
                  <a:pt x="2073275" y="4149725"/>
                  <a:pt x="1806641" y="4714280"/>
                  <a:pt x="1761133" y="584339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19" name="Freeform 2419"/>
          <p:cNvSpPr/>
          <p:nvPr/>
        </p:nvSpPr>
        <p:spPr>
          <a:xfrm>
            <a:off x="2455694" y="965824"/>
            <a:ext cx="65941" cy="87172"/>
          </a:xfrm>
          <a:custGeom>
            <a:avLst/>
            <a:gdLst/>
            <a:ahLst/>
            <a:cxnLst/>
            <a:rect l="0" t="0" r="0" b="0"/>
            <a:pathLst>
              <a:path w="5072460" h="6705600">
                <a:moveTo>
                  <a:pt x="3323828" y="0"/>
                </a:moveTo>
                <a:lnTo>
                  <a:pt x="5072460" y="0"/>
                </a:lnTo>
                <a:lnTo>
                  <a:pt x="5072460" y="6705600"/>
                </a:lnTo>
                <a:lnTo>
                  <a:pt x="3323828" y="6705600"/>
                </a:lnTo>
                <a:lnTo>
                  <a:pt x="3323828" y="2584252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411499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0" name="Freeform 2420"/>
          <p:cNvSpPr/>
          <p:nvPr/>
        </p:nvSpPr>
        <p:spPr>
          <a:xfrm>
            <a:off x="2538079" y="965824"/>
            <a:ext cx="65782" cy="87172"/>
          </a:xfrm>
          <a:custGeom>
            <a:avLst/>
            <a:gdLst/>
            <a:ahLst/>
            <a:cxnLst/>
            <a:rect l="0" t="0" r="0" b="0"/>
            <a:pathLst>
              <a:path w="5060157" h="6705600">
                <a:moveTo>
                  <a:pt x="5060157" y="6705600"/>
                </a:moveTo>
                <a:lnTo>
                  <a:pt x="3305175" y="6705600"/>
                </a:lnTo>
                <a:lnTo>
                  <a:pt x="3305175" y="4130874"/>
                </a:lnTo>
                <a:lnTo>
                  <a:pt x="1761133" y="4130874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2679700"/>
                </a:lnTo>
                <a:lnTo>
                  <a:pt x="3305175" y="2679700"/>
                </a:lnTo>
                <a:lnTo>
                  <a:pt x="3305175" y="0"/>
                </a:lnTo>
                <a:lnTo>
                  <a:pt x="506015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1" name="Freeform 2421"/>
          <p:cNvSpPr/>
          <p:nvPr/>
        </p:nvSpPr>
        <p:spPr>
          <a:xfrm>
            <a:off x="2618044" y="964173"/>
            <a:ext cx="66911" cy="90474"/>
          </a:xfrm>
          <a:custGeom>
            <a:avLst/>
            <a:gdLst/>
            <a:ahLst/>
            <a:cxnLst/>
            <a:rect l="0" t="0" r="0" b="0"/>
            <a:pathLst>
              <a:path w="5147072" h="6959600">
                <a:moveTo>
                  <a:pt x="3379589" y="6832600"/>
                </a:moveTo>
                <a:cubicBezTo>
                  <a:pt x="3329980" y="6729810"/>
                  <a:pt x="3280370" y="6557103"/>
                  <a:pt x="3230761" y="6314480"/>
                </a:cubicBezTo>
                <a:cubicBezTo>
                  <a:pt x="2916568" y="6744560"/>
                  <a:pt x="2490787" y="6959600"/>
                  <a:pt x="1953419" y="6959600"/>
                </a:cubicBezTo>
                <a:cubicBezTo>
                  <a:pt x="1391179" y="6959600"/>
                  <a:pt x="925049" y="6773334"/>
                  <a:pt x="555030" y="6400800"/>
                </a:cubicBezTo>
                <a:cubicBezTo>
                  <a:pt x="185010" y="6028135"/>
                  <a:pt x="0" y="5545799"/>
                  <a:pt x="0" y="4953794"/>
                </a:cubicBezTo>
                <a:cubicBezTo>
                  <a:pt x="0" y="4249870"/>
                  <a:pt x="224234" y="3705424"/>
                  <a:pt x="672703" y="3320455"/>
                </a:cubicBezTo>
                <a:cubicBezTo>
                  <a:pt x="1121304" y="2935486"/>
                  <a:pt x="1767284" y="2738835"/>
                  <a:pt x="2610644" y="2730500"/>
                </a:cubicBezTo>
                <a:lnTo>
                  <a:pt x="3144044" y="2730500"/>
                </a:lnTo>
                <a:lnTo>
                  <a:pt x="3144044" y="2192735"/>
                </a:lnTo>
                <a:cubicBezTo>
                  <a:pt x="3144044" y="1891771"/>
                  <a:pt x="3092318" y="1679509"/>
                  <a:pt x="2988866" y="1555949"/>
                </a:cubicBezTo>
                <a:cubicBezTo>
                  <a:pt x="2885546" y="1432256"/>
                  <a:pt x="2734667" y="1370410"/>
                  <a:pt x="2536230" y="1370410"/>
                </a:cubicBezTo>
                <a:cubicBezTo>
                  <a:pt x="2098080" y="1370410"/>
                  <a:pt x="1879005" y="1624807"/>
                  <a:pt x="1879005" y="2133600"/>
                </a:cubicBezTo>
                <a:lnTo>
                  <a:pt x="124023" y="2133600"/>
                </a:lnTo>
                <a:cubicBezTo>
                  <a:pt x="124023" y="1515137"/>
                  <a:pt x="356526" y="1004954"/>
                  <a:pt x="821531" y="603052"/>
                </a:cubicBezTo>
                <a:cubicBezTo>
                  <a:pt x="1286669" y="201018"/>
                  <a:pt x="1874771" y="0"/>
                  <a:pt x="2585839" y="0"/>
                </a:cubicBezTo>
                <a:cubicBezTo>
                  <a:pt x="3321777" y="0"/>
                  <a:pt x="3891293" y="191162"/>
                  <a:pt x="4294386" y="573485"/>
                </a:cubicBezTo>
                <a:cubicBezTo>
                  <a:pt x="4697479" y="955808"/>
                  <a:pt x="4899025" y="1502437"/>
                  <a:pt x="4899025" y="2213372"/>
                </a:cubicBezTo>
                <a:lnTo>
                  <a:pt x="4899025" y="5369322"/>
                </a:lnTo>
                <a:cubicBezTo>
                  <a:pt x="4907227" y="5947966"/>
                  <a:pt x="4989909" y="6400602"/>
                  <a:pt x="5147072" y="6727230"/>
                </a:cubicBezTo>
                <a:lnTo>
                  <a:pt x="5147072" y="6832600"/>
                </a:lnTo>
                <a:close/>
                <a:moveTo>
                  <a:pt x="2344142" y="5582841"/>
                </a:moveTo>
                <a:cubicBezTo>
                  <a:pt x="2538346" y="5582841"/>
                  <a:pt x="2703645" y="5543484"/>
                  <a:pt x="2840037" y="5464771"/>
                </a:cubicBezTo>
                <a:cubicBezTo>
                  <a:pt x="2976562" y="5385925"/>
                  <a:pt x="3077898" y="5292527"/>
                  <a:pt x="3144044" y="5184577"/>
                </a:cubicBezTo>
                <a:lnTo>
                  <a:pt x="3144044" y="3784799"/>
                </a:lnTo>
                <a:lnTo>
                  <a:pt x="2722364" y="3784799"/>
                </a:lnTo>
                <a:cubicBezTo>
                  <a:pt x="2424708" y="3784799"/>
                  <a:pt x="2190088" y="3880181"/>
                  <a:pt x="2018506" y="4070946"/>
                </a:cubicBezTo>
                <a:cubicBezTo>
                  <a:pt x="1846924" y="4261710"/>
                  <a:pt x="1761133" y="4516835"/>
                  <a:pt x="1761133" y="4836319"/>
                </a:cubicBezTo>
                <a:cubicBezTo>
                  <a:pt x="1761133" y="5334000"/>
                  <a:pt x="1955469" y="5582841"/>
                  <a:pt x="2344142" y="5582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2" name="Freeform 2422"/>
          <p:cNvSpPr/>
          <p:nvPr/>
        </p:nvSpPr>
        <p:spPr>
          <a:xfrm>
            <a:off x="2698061" y="965824"/>
            <a:ext cx="65782" cy="87172"/>
          </a:xfrm>
          <a:custGeom>
            <a:avLst/>
            <a:gdLst/>
            <a:ahLst/>
            <a:cxnLst/>
            <a:rect l="0" t="0" r="0" b="0"/>
            <a:pathLst>
              <a:path w="5060157" h="6705600">
                <a:moveTo>
                  <a:pt x="5060157" y="6705600"/>
                </a:moveTo>
                <a:lnTo>
                  <a:pt x="3305175" y="6705600"/>
                </a:lnTo>
                <a:lnTo>
                  <a:pt x="3305175" y="4130874"/>
                </a:lnTo>
                <a:lnTo>
                  <a:pt x="1761133" y="4130874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2679700"/>
                </a:lnTo>
                <a:lnTo>
                  <a:pt x="3305175" y="2679700"/>
                </a:lnTo>
                <a:lnTo>
                  <a:pt x="3305175" y="0"/>
                </a:lnTo>
                <a:lnTo>
                  <a:pt x="506015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3" name="Freeform 2423"/>
          <p:cNvSpPr/>
          <p:nvPr/>
        </p:nvSpPr>
        <p:spPr>
          <a:xfrm>
            <a:off x="2777783" y="964173"/>
            <a:ext cx="65782" cy="90474"/>
          </a:xfrm>
          <a:custGeom>
            <a:avLst/>
            <a:gdLst/>
            <a:ahLst/>
            <a:cxnLst/>
            <a:rect l="0" t="0" r="0" b="0"/>
            <a:pathLst>
              <a:path w="5060156" h="6959600">
                <a:moveTo>
                  <a:pt x="2635647" y="5502275"/>
                </a:moveTo>
                <a:cubicBezTo>
                  <a:pt x="3144044" y="5502275"/>
                  <a:pt x="3402409" y="5171546"/>
                  <a:pt x="3410744" y="4510088"/>
                </a:cubicBezTo>
                <a:lnTo>
                  <a:pt x="5060156" y="4510088"/>
                </a:lnTo>
                <a:cubicBezTo>
                  <a:pt x="5051954" y="5241793"/>
                  <a:pt x="4826661" y="5833005"/>
                  <a:pt x="4384278" y="6283722"/>
                </a:cubicBezTo>
                <a:cubicBezTo>
                  <a:pt x="3941894" y="6734308"/>
                  <a:pt x="3371387" y="6959600"/>
                  <a:pt x="2672754" y="6959600"/>
                </a:cubicBezTo>
                <a:cubicBezTo>
                  <a:pt x="1808758" y="6959600"/>
                  <a:pt x="1149350" y="6690850"/>
                  <a:pt x="694531" y="6153349"/>
                </a:cubicBezTo>
                <a:cubicBezTo>
                  <a:pt x="239845" y="5615716"/>
                  <a:pt x="8334" y="4823752"/>
                  <a:pt x="0" y="3777457"/>
                </a:cubicBezTo>
                <a:lnTo>
                  <a:pt x="0" y="3244057"/>
                </a:lnTo>
                <a:cubicBezTo>
                  <a:pt x="0" y="2189560"/>
                  <a:pt x="224300" y="1385293"/>
                  <a:pt x="672901" y="831255"/>
                </a:cubicBezTo>
                <a:cubicBezTo>
                  <a:pt x="1121502" y="277085"/>
                  <a:pt x="1784019" y="0"/>
                  <a:pt x="2660451" y="0"/>
                </a:cubicBezTo>
                <a:cubicBezTo>
                  <a:pt x="3400358" y="0"/>
                  <a:pt x="3983236" y="228402"/>
                  <a:pt x="4409083" y="685205"/>
                </a:cubicBezTo>
                <a:cubicBezTo>
                  <a:pt x="4834929" y="1142008"/>
                  <a:pt x="5051954" y="1790039"/>
                  <a:pt x="5060156" y="2629297"/>
                </a:cubicBezTo>
                <a:lnTo>
                  <a:pt x="3410744" y="2629297"/>
                </a:lnTo>
                <a:cubicBezTo>
                  <a:pt x="3406643" y="2253192"/>
                  <a:pt x="3344598" y="1963870"/>
                  <a:pt x="3224609" y="1761332"/>
                </a:cubicBezTo>
                <a:cubicBezTo>
                  <a:pt x="3104753" y="1558661"/>
                  <a:pt x="2906315" y="1457325"/>
                  <a:pt x="2629297" y="1457325"/>
                </a:cubicBezTo>
                <a:cubicBezTo>
                  <a:pt x="2323438" y="1457325"/>
                  <a:pt x="2104363" y="1565937"/>
                  <a:pt x="1972072" y="1783160"/>
                </a:cubicBezTo>
                <a:cubicBezTo>
                  <a:pt x="1839780" y="2000250"/>
                  <a:pt x="1769467" y="2421070"/>
                  <a:pt x="1761133" y="3045619"/>
                </a:cubicBezTo>
                <a:lnTo>
                  <a:pt x="1761133" y="3728046"/>
                </a:lnTo>
                <a:cubicBezTo>
                  <a:pt x="1761133" y="4273881"/>
                  <a:pt x="1787988" y="4655410"/>
                  <a:pt x="1841698" y="4872633"/>
                </a:cubicBezTo>
                <a:cubicBezTo>
                  <a:pt x="1895541" y="5089724"/>
                  <a:pt x="1984441" y="5248937"/>
                  <a:pt x="2108398" y="5350272"/>
                </a:cubicBezTo>
                <a:cubicBezTo>
                  <a:pt x="2232488" y="5451608"/>
                  <a:pt x="2408237" y="5502275"/>
                  <a:pt x="2635647" y="55022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4" name="Freeform 2424"/>
          <p:cNvSpPr/>
          <p:nvPr/>
        </p:nvSpPr>
        <p:spPr>
          <a:xfrm>
            <a:off x="2856226" y="965824"/>
            <a:ext cx="65941" cy="87172"/>
          </a:xfrm>
          <a:custGeom>
            <a:avLst/>
            <a:gdLst/>
            <a:ahLst/>
            <a:cxnLst/>
            <a:rect l="0" t="0" r="0" b="0"/>
            <a:pathLst>
              <a:path w="5072460" h="6705600">
                <a:moveTo>
                  <a:pt x="3323828" y="0"/>
                </a:moveTo>
                <a:lnTo>
                  <a:pt x="5072460" y="0"/>
                </a:lnTo>
                <a:lnTo>
                  <a:pt x="5072460" y="6705600"/>
                </a:lnTo>
                <a:lnTo>
                  <a:pt x="3323828" y="6705600"/>
                </a:lnTo>
                <a:lnTo>
                  <a:pt x="3323828" y="2584252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411499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5" name="Freeform 2425"/>
          <p:cNvSpPr/>
          <p:nvPr/>
        </p:nvSpPr>
        <p:spPr>
          <a:xfrm>
            <a:off x="2938691" y="964173"/>
            <a:ext cx="67959" cy="122339"/>
          </a:xfrm>
          <a:custGeom>
            <a:avLst/>
            <a:gdLst/>
            <a:ahLst/>
            <a:cxnLst/>
            <a:rect l="0" t="0" r="0" b="0"/>
            <a:pathLst>
              <a:path w="5227637" h="9410700">
                <a:moveTo>
                  <a:pt x="5227637" y="3690740"/>
                </a:moveTo>
                <a:cubicBezTo>
                  <a:pt x="5227637" y="4745236"/>
                  <a:pt x="5046729" y="5553671"/>
                  <a:pt x="4684911" y="6116043"/>
                </a:cubicBezTo>
                <a:cubicBezTo>
                  <a:pt x="4323225" y="6678415"/>
                  <a:pt x="3784798" y="6959600"/>
                  <a:pt x="3069630" y="6959600"/>
                </a:cubicBezTo>
                <a:cubicBezTo>
                  <a:pt x="2523926" y="6959600"/>
                  <a:pt x="2085710" y="6738343"/>
                  <a:pt x="1754981" y="6295827"/>
                </a:cubicBezTo>
                <a:lnTo>
                  <a:pt x="1754981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24608" y="127000"/>
                </a:lnTo>
                <a:lnTo>
                  <a:pt x="1686719" y="738188"/>
                </a:lnTo>
                <a:cubicBezTo>
                  <a:pt x="2021549" y="246063"/>
                  <a:pt x="2478352" y="0"/>
                  <a:pt x="3057128" y="0"/>
                </a:cubicBezTo>
                <a:cubicBezTo>
                  <a:pt x="3772297" y="0"/>
                  <a:pt x="4310724" y="260549"/>
                  <a:pt x="4672409" y="781646"/>
                </a:cubicBezTo>
                <a:cubicBezTo>
                  <a:pt x="5034227" y="1302611"/>
                  <a:pt x="5219303" y="2100660"/>
                  <a:pt x="5227637" y="3175794"/>
                </a:cubicBezTo>
                <a:close/>
                <a:moveTo>
                  <a:pt x="3478808" y="3250208"/>
                </a:moveTo>
                <a:cubicBezTo>
                  <a:pt x="3478808" y="2600789"/>
                  <a:pt x="3407502" y="2141670"/>
                  <a:pt x="3264892" y="1872854"/>
                </a:cubicBezTo>
                <a:cubicBezTo>
                  <a:pt x="3122282" y="1604037"/>
                  <a:pt x="2881444" y="1469629"/>
                  <a:pt x="2542381" y="1469629"/>
                </a:cubicBezTo>
                <a:cubicBezTo>
                  <a:pt x="2182812" y="1469629"/>
                  <a:pt x="1920346" y="1620573"/>
                  <a:pt x="1754981" y="1922463"/>
                </a:cubicBezTo>
                <a:lnTo>
                  <a:pt x="1754981" y="5067896"/>
                </a:lnTo>
                <a:cubicBezTo>
                  <a:pt x="1912011" y="5357482"/>
                  <a:pt x="2178645" y="5502275"/>
                  <a:pt x="2554883" y="5502275"/>
                </a:cubicBezTo>
                <a:cubicBezTo>
                  <a:pt x="2902148" y="5502275"/>
                  <a:pt x="3142919" y="5355432"/>
                  <a:pt x="3277195" y="5061744"/>
                </a:cubicBezTo>
                <a:cubicBezTo>
                  <a:pt x="3411604" y="4768057"/>
                  <a:pt x="3478808" y="4311055"/>
                  <a:pt x="3478808" y="36907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6" name="Freeform 2426"/>
          <p:cNvSpPr/>
          <p:nvPr/>
        </p:nvSpPr>
        <p:spPr>
          <a:xfrm>
            <a:off x="3017756" y="964173"/>
            <a:ext cx="70618" cy="9047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7" name="Freeform 2427"/>
          <p:cNvSpPr/>
          <p:nvPr/>
        </p:nvSpPr>
        <p:spPr>
          <a:xfrm>
            <a:off x="3103920" y="965824"/>
            <a:ext cx="67154" cy="87172"/>
          </a:xfrm>
          <a:custGeom>
            <a:avLst/>
            <a:gdLst/>
            <a:ahLst/>
            <a:cxnLst/>
            <a:rect l="0" t="0" r="0" b="0"/>
            <a:pathLst>
              <a:path w="5165725" h="6705600">
                <a:moveTo>
                  <a:pt x="0" y="6705600"/>
                </a:moveTo>
                <a:lnTo>
                  <a:pt x="0" y="0"/>
                </a:lnTo>
                <a:lnTo>
                  <a:pt x="2437209" y="0"/>
                </a:lnTo>
                <a:cubicBezTo>
                  <a:pt x="3218524" y="0"/>
                  <a:pt x="3818996" y="160999"/>
                  <a:pt x="4238625" y="482997"/>
                </a:cubicBezTo>
                <a:cubicBezTo>
                  <a:pt x="4658254" y="804995"/>
                  <a:pt x="4868068" y="1267355"/>
                  <a:pt x="4868068" y="1870075"/>
                </a:cubicBezTo>
                <a:cubicBezTo>
                  <a:pt x="4868068" y="2179770"/>
                  <a:pt x="4778110" y="2457450"/>
                  <a:pt x="4598193" y="2703116"/>
                </a:cubicBezTo>
                <a:cubicBezTo>
                  <a:pt x="4418409" y="2948650"/>
                  <a:pt x="4156935" y="3137496"/>
                  <a:pt x="3813770" y="3269655"/>
                </a:cubicBezTo>
                <a:cubicBezTo>
                  <a:pt x="4231283" y="3356439"/>
                  <a:pt x="4560953" y="3531130"/>
                  <a:pt x="4802783" y="3793729"/>
                </a:cubicBezTo>
                <a:cubicBezTo>
                  <a:pt x="5044744" y="4056328"/>
                  <a:pt x="5165725" y="4388115"/>
                  <a:pt x="5165725" y="4789091"/>
                </a:cubicBezTo>
                <a:cubicBezTo>
                  <a:pt x="5165725" y="6066764"/>
                  <a:pt x="4361590" y="6705600"/>
                  <a:pt x="2753320" y="6705600"/>
                </a:cubicBezTo>
                <a:close/>
                <a:moveTo>
                  <a:pt x="1748829" y="3927079"/>
                </a:moveTo>
                <a:lnTo>
                  <a:pt x="1748829" y="5260777"/>
                </a:lnTo>
                <a:lnTo>
                  <a:pt x="2796778" y="5260777"/>
                </a:lnTo>
                <a:cubicBezTo>
                  <a:pt x="3024187" y="5260777"/>
                  <a:pt x="3183334" y="5204950"/>
                  <a:pt x="3274218" y="5093296"/>
                </a:cubicBezTo>
                <a:cubicBezTo>
                  <a:pt x="3365235" y="4981642"/>
                  <a:pt x="3410743" y="4818261"/>
                  <a:pt x="3410743" y="4603155"/>
                </a:cubicBezTo>
                <a:cubicBezTo>
                  <a:pt x="3410743" y="4355108"/>
                  <a:pt x="3361134" y="4181475"/>
                  <a:pt x="3261915" y="4082257"/>
                </a:cubicBezTo>
                <a:cubicBezTo>
                  <a:pt x="3162697" y="3982906"/>
                  <a:pt x="3020086" y="3931180"/>
                  <a:pt x="2834084" y="3927079"/>
                </a:cubicBezTo>
                <a:close/>
                <a:moveTo>
                  <a:pt x="1748829" y="2717800"/>
                </a:moveTo>
                <a:lnTo>
                  <a:pt x="2462014" y="2717800"/>
                </a:lnTo>
                <a:cubicBezTo>
                  <a:pt x="2697625" y="2717800"/>
                  <a:pt x="2863982" y="2667331"/>
                  <a:pt x="2961084" y="2566393"/>
                </a:cubicBezTo>
                <a:cubicBezTo>
                  <a:pt x="3058318" y="2465454"/>
                  <a:pt x="3106936" y="2316097"/>
                  <a:pt x="3106936" y="2118321"/>
                </a:cubicBezTo>
                <a:cubicBezTo>
                  <a:pt x="3106936" y="1685859"/>
                  <a:pt x="2904331" y="1461361"/>
                  <a:pt x="2499122" y="1444824"/>
                </a:cubicBezTo>
                <a:lnTo>
                  <a:pt x="1748829" y="1444824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8" name="Freeform 2428"/>
          <p:cNvSpPr/>
          <p:nvPr/>
        </p:nvSpPr>
        <p:spPr>
          <a:xfrm>
            <a:off x="3182025" y="964173"/>
            <a:ext cx="66911" cy="90474"/>
          </a:xfrm>
          <a:custGeom>
            <a:avLst/>
            <a:gdLst/>
            <a:ahLst/>
            <a:cxnLst/>
            <a:rect l="0" t="0" r="0" b="0"/>
            <a:pathLst>
              <a:path w="5147072" h="6959600">
                <a:moveTo>
                  <a:pt x="3379589" y="6832600"/>
                </a:moveTo>
                <a:cubicBezTo>
                  <a:pt x="3329980" y="6729810"/>
                  <a:pt x="3280370" y="6557103"/>
                  <a:pt x="3230761" y="6314480"/>
                </a:cubicBezTo>
                <a:cubicBezTo>
                  <a:pt x="2916568" y="6744560"/>
                  <a:pt x="2490787" y="6959600"/>
                  <a:pt x="1953419" y="6959600"/>
                </a:cubicBezTo>
                <a:cubicBezTo>
                  <a:pt x="1391179" y="6959600"/>
                  <a:pt x="925049" y="6773334"/>
                  <a:pt x="555030" y="6400800"/>
                </a:cubicBezTo>
                <a:cubicBezTo>
                  <a:pt x="185010" y="6028135"/>
                  <a:pt x="0" y="5545799"/>
                  <a:pt x="0" y="4953794"/>
                </a:cubicBezTo>
                <a:cubicBezTo>
                  <a:pt x="0" y="4249870"/>
                  <a:pt x="224234" y="3705424"/>
                  <a:pt x="672703" y="3320455"/>
                </a:cubicBezTo>
                <a:cubicBezTo>
                  <a:pt x="1121304" y="2935486"/>
                  <a:pt x="1767284" y="2738835"/>
                  <a:pt x="2610644" y="2730500"/>
                </a:cubicBezTo>
                <a:lnTo>
                  <a:pt x="3144044" y="2730500"/>
                </a:lnTo>
                <a:lnTo>
                  <a:pt x="3144044" y="2192735"/>
                </a:lnTo>
                <a:cubicBezTo>
                  <a:pt x="3144044" y="1891771"/>
                  <a:pt x="3092318" y="1679509"/>
                  <a:pt x="2988866" y="1555949"/>
                </a:cubicBezTo>
                <a:cubicBezTo>
                  <a:pt x="2885546" y="1432256"/>
                  <a:pt x="2734667" y="1370410"/>
                  <a:pt x="2536230" y="1370410"/>
                </a:cubicBezTo>
                <a:cubicBezTo>
                  <a:pt x="2098080" y="1370410"/>
                  <a:pt x="1879005" y="1624807"/>
                  <a:pt x="1879005" y="2133600"/>
                </a:cubicBezTo>
                <a:lnTo>
                  <a:pt x="124023" y="2133600"/>
                </a:lnTo>
                <a:cubicBezTo>
                  <a:pt x="124023" y="1515137"/>
                  <a:pt x="356526" y="1004954"/>
                  <a:pt x="821531" y="603052"/>
                </a:cubicBezTo>
                <a:cubicBezTo>
                  <a:pt x="1286669" y="201018"/>
                  <a:pt x="1874771" y="0"/>
                  <a:pt x="2585839" y="0"/>
                </a:cubicBezTo>
                <a:cubicBezTo>
                  <a:pt x="3321777" y="0"/>
                  <a:pt x="3891293" y="191162"/>
                  <a:pt x="4294386" y="573485"/>
                </a:cubicBezTo>
                <a:cubicBezTo>
                  <a:pt x="4697479" y="955808"/>
                  <a:pt x="4899025" y="1502437"/>
                  <a:pt x="4899025" y="2213372"/>
                </a:cubicBezTo>
                <a:lnTo>
                  <a:pt x="4899025" y="5369322"/>
                </a:lnTo>
                <a:cubicBezTo>
                  <a:pt x="4907227" y="5947966"/>
                  <a:pt x="4989909" y="6400602"/>
                  <a:pt x="5147072" y="6727230"/>
                </a:cubicBezTo>
                <a:lnTo>
                  <a:pt x="5147072" y="6832600"/>
                </a:lnTo>
                <a:close/>
                <a:moveTo>
                  <a:pt x="2344142" y="5582841"/>
                </a:moveTo>
                <a:cubicBezTo>
                  <a:pt x="2538346" y="5582841"/>
                  <a:pt x="2703645" y="5543484"/>
                  <a:pt x="2840037" y="5464771"/>
                </a:cubicBezTo>
                <a:cubicBezTo>
                  <a:pt x="2976562" y="5385925"/>
                  <a:pt x="3077898" y="5292527"/>
                  <a:pt x="3144044" y="5184577"/>
                </a:cubicBezTo>
                <a:lnTo>
                  <a:pt x="3144044" y="3784799"/>
                </a:lnTo>
                <a:lnTo>
                  <a:pt x="2722364" y="3784799"/>
                </a:lnTo>
                <a:cubicBezTo>
                  <a:pt x="2424708" y="3784799"/>
                  <a:pt x="2190088" y="3880181"/>
                  <a:pt x="2018506" y="4070946"/>
                </a:cubicBezTo>
                <a:cubicBezTo>
                  <a:pt x="1846924" y="4261710"/>
                  <a:pt x="1761133" y="4516835"/>
                  <a:pt x="1761133" y="4836319"/>
                </a:cubicBezTo>
                <a:cubicBezTo>
                  <a:pt x="1761133" y="5334000"/>
                  <a:pt x="1955469" y="5582841"/>
                  <a:pt x="2344142" y="5582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29" name="Freeform 2429"/>
          <p:cNvSpPr/>
          <p:nvPr/>
        </p:nvSpPr>
        <p:spPr>
          <a:xfrm>
            <a:off x="3262042" y="965824"/>
            <a:ext cx="65782" cy="87172"/>
          </a:xfrm>
          <a:custGeom>
            <a:avLst/>
            <a:gdLst/>
            <a:ahLst/>
            <a:cxnLst/>
            <a:rect l="0" t="0" r="0" b="0"/>
            <a:pathLst>
              <a:path w="5060157" h="6705600">
                <a:moveTo>
                  <a:pt x="5060157" y="6705600"/>
                </a:moveTo>
                <a:lnTo>
                  <a:pt x="3305175" y="6705600"/>
                </a:lnTo>
                <a:lnTo>
                  <a:pt x="3305175" y="4130874"/>
                </a:lnTo>
                <a:lnTo>
                  <a:pt x="1761133" y="4130874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2679700"/>
                </a:lnTo>
                <a:lnTo>
                  <a:pt x="3305175" y="2679700"/>
                </a:lnTo>
                <a:lnTo>
                  <a:pt x="3305175" y="0"/>
                </a:lnTo>
                <a:lnTo>
                  <a:pt x="506015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0" name="Freeform 2430"/>
          <p:cNvSpPr/>
          <p:nvPr/>
        </p:nvSpPr>
        <p:spPr>
          <a:xfrm>
            <a:off x="3344427" y="965824"/>
            <a:ext cx="65941" cy="87172"/>
          </a:xfrm>
          <a:custGeom>
            <a:avLst/>
            <a:gdLst/>
            <a:ahLst/>
            <a:cxnLst/>
            <a:rect l="0" t="0" r="0" b="0"/>
            <a:pathLst>
              <a:path w="5072460" h="6705600">
                <a:moveTo>
                  <a:pt x="3323828" y="0"/>
                </a:moveTo>
                <a:lnTo>
                  <a:pt x="5072460" y="0"/>
                </a:lnTo>
                <a:lnTo>
                  <a:pt x="5072460" y="6705600"/>
                </a:lnTo>
                <a:lnTo>
                  <a:pt x="3323828" y="6705600"/>
                </a:lnTo>
                <a:lnTo>
                  <a:pt x="3323828" y="2584252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411499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1" name="Freeform 2431"/>
          <p:cNvSpPr/>
          <p:nvPr/>
        </p:nvSpPr>
        <p:spPr>
          <a:xfrm>
            <a:off x="3421732" y="965824"/>
            <a:ext cx="68281" cy="87172"/>
          </a:xfrm>
          <a:custGeom>
            <a:avLst/>
            <a:gdLst/>
            <a:ahLst/>
            <a:cxnLst/>
            <a:rect l="0" t="0" r="0" b="0"/>
            <a:pathLst>
              <a:path w="5252442" h="6705600">
                <a:moveTo>
                  <a:pt x="5252442" y="0"/>
                </a:moveTo>
                <a:lnTo>
                  <a:pt x="5252442" y="6705600"/>
                </a:lnTo>
                <a:lnTo>
                  <a:pt x="3509764" y="6705600"/>
                </a:lnTo>
                <a:lnTo>
                  <a:pt x="3509764" y="4395788"/>
                </a:lnTo>
                <a:lnTo>
                  <a:pt x="2858690" y="4395788"/>
                </a:lnTo>
                <a:lnTo>
                  <a:pt x="1767284" y="6705600"/>
                </a:lnTo>
                <a:lnTo>
                  <a:pt x="0" y="6705600"/>
                </a:lnTo>
                <a:lnTo>
                  <a:pt x="1246386" y="4060825"/>
                </a:lnTo>
                <a:cubicBezTo>
                  <a:pt x="907455" y="3874823"/>
                  <a:pt x="645980" y="3625784"/>
                  <a:pt x="461962" y="3313708"/>
                </a:cubicBezTo>
                <a:cubicBezTo>
                  <a:pt x="277945" y="3001632"/>
                  <a:pt x="185936" y="2647223"/>
                  <a:pt x="185936" y="2250480"/>
                </a:cubicBezTo>
                <a:cubicBezTo>
                  <a:pt x="185936" y="1585053"/>
                  <a:pt x="414337" y="1043650"/>
                  <a:pt x="871140" y="626269"/>
                </a:cubicBezTo>
                <a:cubicBezTo>
                  <a:pt x="1328076" y="208757"/>
                  <a:pt x="1945150" y="0"/>
                  <a:pt x="2722364" y="0"/>
                </a:cubicBezTo>
                <a:close/>
                <a:moveTo>
                  <a:pt x="1940917" y="2306440"/>
                </a:moveTo>
                <a:cubicBezTo>
                  <a:pt x="1940917" y="2541919"/>
                  <a:pt x="2012222" y="2739232"/>
                  <a:pt x="2154833" y="2898379"/>
                </a:cubicBezTo>
                <a:cubicBezTo>
                  <a:pt x="2297443" y="3057393"/>
                  <a:pt x="2480402" y="3136900"/>
                  <a:pt x="2703711" y="3136900"/>
                </a:cubicBezTo>
                <a:lnTo>
                  <a:pt x="3509764" y="3136900"/>
                </a:lnTo>
                <a:lnTo>
                  <a:pt x="3509764" y="1444824"/>
                </a:lnTo>
                <a:lnTo>
                  <a:pt x="2697559" y="1444824"/>
                </a:lnTo>
                <a:cubicBezTo>
                  <a:pt x="2478352" y="1444824"/>
                  <a:pt x="2297443" y="1528498"/>
                  <a:pt x="2154833" y="1695847"/>
                </a:cubicBezTo>
                <a:cubicBezTo>
                  <a:pt x="2012222" y="1863196"/>
                  <a:pt x="1940917" y="2066727"/>
                  <a:pt x="1940917" y="23064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2" name="Freeform 2432"/>
          <p:cNvSpPr/>
          <p:nvPr/>
        </p:nvSpPr>
        <p:spPr>
          <a:xfrm>
            <a:off x="3550698" y="965824"/>
            <a:ext cx="64252" cy="87172"/>
          </a:xfrm>
          <a:custGeom>
            <a:avLst/>
            <a:gdLst/>
            <a:ahLst/>
            <a:cxnLst/>
            <a:rect l="0" t="0" r="0" b="0"/>
            <a:pathLst>
              <a:path w="4942482" h="6705600">
                <a:moveTo>
                  <a:pt x="1717873" y="3842941"/>
                </a:moveTo>
                <a:lnTo>
                  <a:pt x="1097756" y="3842941"/>
                </a:lnTo>
                <a:lnTo>
                  <a:pt x="109775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756" y="0"/>
                </a:lnTo>
                <a:lnTo>
                  <a:pt x="1097756" y="2832100"/>
                </a:lnTo>
                <a:lnTo>
                  <a:pt x="1643459" y="2832100"/>
                </a:lnTo>
                <a:lnTo>
                  <a:pt x="3472656" y="0"/>
                </a:lnTo>
                <a:lnTo>
                  <a:pt x="4781153" y="0"/>
                </a:lnTo>
                <a:lnTo>
                  <a:pt x="2542579" y="3185518"/>
                </a:lnTo>
                <a:lnTo>
                  <a:pt x="4942482" y="6705600"/>
                </a:lnTo>
                <a:lnTo>
                  <a:pt x="3565723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3" name="Freeform 2433"/>
          <p:cNvSpPr/>
          <p:nvPr/>
        </p:nvSpPr>
        <p:spPr>
          <a:xfrm>
            <a:off x="3623779" y="964173"/>
            <a:ext cx="67474" cy="9047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4" name="Freeform 2434"/>
          <p:cNvSpPr/>
          <p:nvPr/>
        </p:nvSpPr>
        <p:spPr>
          <a:xfrm>
            <a:off x="3710766" y="965824"/>
            <a:ext cx="82629" cy="87172"/>
          </a:xfrm>
          <a:custGeom>
            <a:avLst/>
            <a:gdLst/>
            <a:ahLst/>
            <a:cxnLst/>
            <a:rect l="0" t="0" r="0" b="0"/>
            <a:pathLst>
              <a:path w="6356152" h="6705600">
                <a:moveTo>
                  <a:pt x="3193653" y="5187157"/>
                </a:moveTo>
                <a:lnTo>
                  <a:pt x="4991894" y="0"/>
                </a:lnTo>
                <a:lnTo>
                  <a:pt x="6356152" y="0"/>
                </a:lnTo>
                <a:lnTo>
                  <a:pt x="6356152" y="6705600"/>
                </a:lnTo>
                <a:lnTo>
                  <a:pt x="5264745" y="6705600"/>
                </a:lnTo>
                <a:lnTo>
                  <a:pt x="5264745" y="2082404"/>
                </a:lnTo>
                <a:lnTo>
                  <a:pt x="3571875" y="6705600"/>
                </a:lnTo>
                <a:lnTo>
                  <a:pt x="2821583" y="6705600"/>
                </a:lnTo>
                <a:lnTo>
                  <a:pt x="1091406" y="1970683"/>
                </a:lnTo>
                <a:lnTo>
                  <a:pt x="109140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1386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5" name="Freeform 2435"/>
          <p:cNvSpPr/>
          <p:nvPr/>
        </p:nvSpPr>
        <p:spPr>
          <a:xfrm>
            <a:off x="3817255" y="965824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4619823" y="6705600"/>
                </a:moveTo>
                <a:lnTo>
                  <a:pt x="3528417" y="6705600"/>
                </a:lnTo>
                <a:lnTo>
                  <a:pt x="3528417" y="948730"/>
                </a:lnTo>
                <a:lnTo>
                  <a:pt x="1103908" y="948730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461982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6" name="Freeform 2436"/>
          <p:cNvSpPr/>
          <p:nvPr/>
        </p:nvSpPr>
        <p:spPr>
          <a:xfrm>
            <a:off x="3898551" y="964173"/>
            <a:ext cx="61185" cy="9047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7" name="Freeform 2437"/>
          <p:cNvSpPr/>
          <p:nvPr/>
        </p:nvSpPr>
        <p:spPr>
          <a:xfrm>
            <a:off x="3980374" y="965824"/>
            <a:ext cx="59977" cy="87172"/>
          </a:xfrm>
          <a:custGeom>
            <a:avLst/>
            <a:gdLst/>
            <a:ahLst/>
            <a:cxnLst/>
            <a:rect l="0" t="0" r="0" b="0"/>
            <a:pathLst>
              <a:path w="4613672" h="6705600">
                <a:moveTo>
                  <a:pt x="4613672" y="6705600"/>
                </a:moveTo>
                <a:lnTo>
                  <a:pt x="3522266" y="6705600"/>
                </a:lnTo>
                <a:lnTo>
                  <a:pt x="3522266" y="3844727"/>
                </a:lnTo>
                <a:lnTo>
                  <a:pt x="1103908" y="3844727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03908" y="0"/>
                </a:lnTo>
                <a:lnTo>
                  <a:pt x="1103908" y="2908300"/>
                </a:lnTo>
                <a:lnTo>
                  <a:pt x="3522266" y="2908300"/>
                </a:lnTo>
                <a:lnTo>
                  <a:pt x="3522266" y="0"/>
                </a:lnTo>
                <a:lnTo>
                  <a:pt x="461367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8" name="Freeform 2438"/>
          <p:cNvSpPr/>
          <p:nvPr/>
        </p:nvSpPr>
        <p:spPr>
          <a:xfrm>
            <a:off x="4064245" y="965824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39" name="Freeform 2439"/>
          <p:cNvSpPr/>
          <p:nvPr/>
        </p:nvSpPr>
        <p:spPr>
          <a:xfrm>
            <a:off x="4148280" y="965824"/>
            <a:ext cx="60057" cy="87172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0" name="Freeform 2440"/>
          <p:cNvSpPr/>
          <p:nvPr/>
        </p:nvSpPr>
        <p:spPr>
          <a:xfrm>
            <a:off x="4268108" y="935611"/>
            <a:ext cx="67394" cy="117386"/>
          </a:xfrm>
          <a:custGeom>
            <a:avLst/>
            <a:gdLst/>
            <a:ahLst/>
            <a:cxnLst/>
            <a:rect l="0" t="0" r="0" b="0"/>
            <a:pathLst>
              <a:path w="5184180" h="9029700">
                <a:moveTo>
                  <a:pt x="4663281" y="5127229"/>
                </a:moveTo>
                <a:lnTo>
                  <a:pt x="1823244" y="5127229"/>
                </a:lnTo>
                <a:lnTo>
                  <a:pt x="1823244" y="7516615"/>
                </a:lnTo>
                <a:lnTo>
                  <a:pt x="5184180" y="7516615"/>
                </a:lnTo>
                <a:lnTo>
                  <a:pt x="5184180" y="9029700"/>
                </a:lnTo>
                <a:lnTo>
                  <a:pt x="0" y="9029700"/>
                </a:lnTo>
                <a:lnTo>
                  <a:pt x="0" y="0"/>
                </a:lnTo>
                <a:lnTo>
                  <a:pt x="5171877" y="0"/>
                </a:lnTo>
                <a:lnTo>
                  <a:pt x="5171877" y="1519238"/>
                </a:lnTo>
                <a:lnTo>
                  <a:pt x="1823244" y="1519238"/>
                </a:lnTo>
                <a:lnTo>
                  <a:pt x="1823244" y="3657600"/>
                </a:lnTo>
                <a:lnTo>
                  <a:pt x="4663281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1" name="Freeform 2441"/>
          <p:cNvSpPr/>
          <p:nvPr/>
        </p:nvSpPr>
        <p:spPr>
          <a:xfrm>
            <a:off x="4345994" y="965824"/>
            <a:ext cx="65539" cy="88823"/>
          </a:xfrm>
          <a:custGeom>
            <a:avLst/>
            <a:gdLst/>
            <a:ahLst/>
            <a:cxnLst/>
            <a:rect l="0" t="0" r="0" b="0"/>
            <a:pathLst>
              <a:path w="5041503" h="6832600">
                <a:moveTo>
                  <a:pt x="3342481" y="6094810"/>
                </a:moveTo>
                <a:cubicBezTo>
                  <a:pt x="2978679" y="6586670"/>
                  <a:pt x="2490854" y="6832600"/>
                  <a:pt x="1879005" y="6832600"/>
                </a:cubicBezTo>
                <a:cubicBezTo>
                  <a:pt x="1263055" y="6832600"/>
                  <a:pt x="795867" y="6620802"/>
                  <a:pt x="477441" y="6197204"/>
                </a:cubicBezTo>
                <a:cubicBezTo>
                  <a:pt x="159147" y="5773473"/>
                  <a:pt x="0" y="5156531"/>
                  <a:pt x="0" y="4346377"/>
                </a:cubicBezTo>
                <a:lnTo>
                  <a:pt x="0" y="0"/>
                </a:lnTo>
                <a:lnTo>
                  <a:pt x="1754981" y="0"/>
                </a:lnTo>
                <a:lnTo>
                  <a:pt x="1754981" y="4389636"/>
                </a:lnTo>
                <a:cubicBezTo>
                  <a:pt x="1763183" y="5042628"/>
                  <a:pt x="1980208" y="5369124"/>
                  <a:pt x="2406055" y="5369124"/>
                </a:cubicBezTo>
                <a:cubicBezTo>
                  <a:pt x="2807031" y="5369124"/>
                  <a:pt x="3096419" y="5195557"/>
                  <a:pt x="3274219" y="4848424"/>
                </a:cubicBezTo>
                <a:lnTo>
                  <a:pt x="3274219" y="0"/>
                </a:lnTo>
                <a:lnTo>
                  <a:pt x="5041503" y="0"/>
                </a:lnTo>
                <a:lnTo>
                  <a:pt x="5041503" y="6705600"/>
                </a:lnTo>
                <a:lnTo>
                  <a:pt x="3392091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2" name="Freeform 2442"/>
          <p:cNvSpPr/>
          <p:nvPr/>
        </p:nvSpPr>
        <p:spPr>
          <a:xfrm>
            <a:off x="4427708" y="964173"/>
            <a:ext cx="43369" cy="88823"/>
          </a:xfrm>
          <a:custGeom>
            <a:avLst/>
            <a:gdLst/>
            <a:ahLst/>
            <a:cxnLst/>
            <a:rect l="0" t="0" r="0" b="0"/>
            <a:pathLst>
              <a:path w="3336132" h="6832600">
                <a:moveTo>
                  <a:pt x="3317478" y="1816894"/>
                </a:moveTo>
                <a:lnTo>
                  <a:pt x="2734667" y="1767285"/>
                </a:lnTo>
                <a:cubicBezTo>
                  <a:pt x="2255110" y="1767285"/>
                  <a:pt x="1930599" y="1978092"/>
                  <a:pt x="1761133" y="2399705"/>
                </a:cubicBezTo>
                <a:lnTo>
                  <a:pt x="1761133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655564" y="127000"/>
                </a:lnTo>
                <a:lnTo>
                  <a:pt x="1705174" y="852091"/>
                </a:lnTo>
                <a:cubicBezTo>
                  <a:pt x="1982192" y="284030"/>
                  <a:pt x="2364648" y="0"/>
                  <a:pt x="2852539" y="0"/>
                </a:cubicBezTo>
                <a:cubicBezTo>
                  <a:pt x="3050977" y="0"/>
                  <a:pt x="3212174" y="26855"/>
                  <a:pt x="3336132" y="8056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3" name="Freeform 2443"/>
          <p:cNvSpPr/>
          <p:nvPr/>
        </p:nvSpPr>
        <p:spPr>
          <a:xfrm>
            <a:off x="4477625" y="964173"/>
            <a:ext cx="66911" cy="90474"/>
          </a:xfrm>
          <a:custGeom>
            <a:avLst/>
            <a:gdLst/>
            <a:ahLst/>
            <a:cxnLst/>
            <a:rect l="0" t="0" r="0" b="0"/>
            <a:pathLst>
              <a:path w="5147072" h="6959600">
                <a:moveTo>
                  <a:pt x="3379589" y="6832600"/>
                </a:moveTo>
                <a:cubicBezTo>
                  <a:pt x="3329980" y="6729810"/>
                  <a:pt x="3280370" y="6557103"/>
                  <a:pt x="3230761" y="6314480"/>
                </a:cubicBezTo>
                <a:cubicBezTo>
                  <a:pt x="2916568" y="6744560"/>
                  <a:pt x="2490787" y="6959600"/>
                  <a:pt x="1953419" y="6959600"/>
                </a:cubicBezTo>
                <a:cubicBezTo>
                  <a:pt x="1391179" y="6959600"/>
                  <a:pt x="925049" y="6773334"/>
                  <a:pt x="555030" y="6400800"/>
                </a:cubicBezTo>
                <a:cubicBezTo>
                  <a:pt x="185010" y="6028135"/>
                  <a:pt x="0" y="5545799"/>
                  <a:pt x="0" y="4953794"/>
                </a:cubicBezTo>
                <a:cubicBezTo>
                  <a:pt x="0" y="4249870"/>
                  <a:pt x="224234" y="3705424"/>
                  <a:pt x="672703" y="3320455"/>
                </a:cubicBezTo>
                <a:cubicBezTo>
                  <a:pt x="1121304" y="2935486"/>
                  <a:pt x="1767284" y="2738835"/>
                  <a:pt x="2610644" y="2730500"/>
                </a:cubicBezTo>
                <a:lnTo>
                  <a:pt x="3144044" y="2730500"/>
                </a:lnTo>
                <a:lnTo>
                  <a:pt x="3144044" y="2192735"/>
                </a:lnTo>
                <a:cubicBezTo>
                  <a:pt x="3144044" y="1891771"/>
                  <a:pt x="3092318" y="1679509"/>
                  <a:pt x="2988866" y="1555949"/>
                </a:cubicBezTo>
                <a:cubicBezTo>
                  <a:pt x="2885546" y="1432256"/>
                  <a:pt x="2734667" y="1370410"/>
                  <a:pt x="2536230" y="1370410"/>
                </a:cubicBezTo>
                <a:cubicBezTo>
                  <a:pt x="2098080" y="1370410"/>
                  <a:pt x="1879005" y="1624807"/>
                  <a:pt x="1879005" y="2133600"/>
                </a:cubicBezTo>
                <a:lnTo>
                  <a:pt x="124023" y="2133600"/>
                </a:lnTo>
                <a:cubicBezTo>
                  <a:pt x="124023" y="1515137"/>
                  <a:pt x="356526" y="1004954"/>
                  <a:pt x="821531" y="603052"/>
                </a:cubicBezTo>
                <a:cubicBezTo>
                  <a:pt x="1286669" y="201018"/>
                  <a:pt x="1874771" y="0"/>
                  <a:pt x="2585839" y="0"/>
                </a:cubicBezTo>
                <a:cubicBezTo>
                  <a:pt x="3321777" y="0"/>
                  <a:pt x="3891293" y="191162"/>
                  <a:pt x="4294386" y="573485"/>
                </a:cubicBezTo>
                <a:cubicBezTo>
                  <a:pt x="4697479" y="955808"/>
                  <a:pt x="4899025" y="1502437"/>
                  <a:pt x="4899025" y="2213372"/>
                </a:cubicBezTo>
                <a:lnTo>
                  <a:pt x="4899025" y="5369322"/>
                </a:lnTo>
                <a:cubicBezTo>
                  <a:pt x="4907227" y="5947966"/>
                  <a:pt x="4989909" y="6400602"/>
                  <a:pt x="5147072" y="6727230"/>
                </a:cubicBezTo>
                <a:lnTo>
                  <a:pt x="5147072" y="6832600"/>
                </a:lnTo>
                <a:close/>
                <a:moveTo>
                  <a:pt x="2344142" y="5582841"/>
                </a:moveTo>
                <a:cubicBezTo>
                  <a:pt x="2538346" y="5582841"/>
                  <a:pt x="2703645" y="5543484"/>
                  <a:pt x="2840037" y="5464771"/>
                </a:cubicBezTo>
                <a:cubicBezTo>
                  <a:pt x="2976562" y="5385925"/>
                  <a:pt x="3077898" y="5292527"/>
                  <a:pt x="3144044" y="5184577"/>
                </a:cubicBezTo>
                <a:lnTo>
                  <a:pt x="3144044" y="3784799"/>
                </a:lnTo>
                <a:lnTo>
                  <a:pt x="2722364" y="3784799"/>
                </a:lnTo>
                <a:cubicBezTo>
                  <a:pt x="2424708" y="3784799"/>
                  <a:pt x="2190088" y="3880181"/>
                  <a:pt x="2018506" y="4070946"/>
                </a:cubicBezTo>
                <a:cubicBezTo>
                  <a:pt x="1846924" y="4261710"/>
                  <a:pt x="1761133" y="4516835"/>
                  <a:pt x="1761133" y="4836319"/>
                </a:cubicBezTo>
                <a:cubicBezTo>
                  <a:pt x="1761133" y="5334000"/>
                  <a:pt x="1955469" y="5582841"/>
                  <a:pt x="2344142" y="5582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4" name="Freeform 2444"/>
          <p:cNvSpPr/>
          <p:nvPr/>
        </p:nvSpPr>
        <p:spPr>
          <a:xfrm>
            <a:off x="4554095" y="964173"/>
            <a:ext cx="64409" cy="90474"/>
          </a:xfrm>
          <a:custGeom>
            <a:avLst/>
            <a:gdLst/>
            <a:ahLst/>
            <a:cxnLst/>
            <a:rect l="0" t="0" r="0" b="0"/>
            <a:pathLst>
              <a:path w="4954587" h="6959600">
                <a:moveTo>
                  <a:pt x="3249414" y="5036940"/>
                </a:moveTo>
                <a:cubicBezTo>
                  <a:pt x="3249414" y="4887979"/>
                  <a:pt x="3178043" y="4750462"/>
                  <a:pt x="3035300" y="4624388"/>
                </a:cubicBezTo>
                <a:cubicBezTo>
                  <a:pt x="2892689" y="4498182"/>
                  <a:pt x="2575454" y="4327525"/>
                  <a:pt x="2083593" y="4112419"/>
                </a:cubicBezTo>
                <a:cubicBezTo>
                  <a:pt x="1360090" y="3818864"/>
                  <a:pt x="862938" y="3514924"/>
                  <a:pt x="592137" y="3200599"/>
                </a:cubicBezTo>
                <a:cubicBezTo>
                  <a:pt x="321336" y="2886274"/>
                  <a:pt x="185936" y="2495484"/>
                  <a:pt x="185936" y="2028230"/>
                </a:cubicBezTo>
                <a:cubicBezTo>
                  <a:pt x="185936" y="1441120"/>
                  <a:pt x="397801" y="956337"/>
                  <a:pt x="821531" y="573882"/>
                </a:cubicBezTo>
                <a:cubicBezTo>
                  <a:pt x="1245261" y="191294"/>
                  <a:pt x="1806509" y="0"/>
                  <a:pt x="2505273" y="0"/>
                </a:cubicBezTo>
                <a:cubicBezTo>
                  <a:pt x="3241079" y="0"/>
                  <a:pt x="3830174" y="190236"/>
                  <a:pt x="4272558" y="570707"/>
                </a:cubicBezTo>
                <a:cubicBezTo>
                  <a:pt x="4714941" y="951178"/>
                  <a:pt x="4936133" y="1461890"/>
                  <a:pt x="4936133" y="2102843"/>
                </a:cubicBezTo>
                <a:lnTo>
                  <a:pt x="3181151" y="2102843"/>
                </a:lnTo>
                <a:cubicBezTo>
                  <a:pt x="3181151" y="1556743"/>
                  <a:pt x="2953742" y="1283693"/>
                  <a:pt x="2498923" y="1283693"/>
                </a:cubicBezTo>
                <a:cubicBezTo>
                  <a:pt x="2312921" y="1283693"/>
                  <a:pt x="2159992" y="1341636"/>
                  <a:pt x="2040136" y="1457524"/>
                </a:cubicBezTo>
                <a:cubicBezTo>
                  <a:pt x="1920279" y="1573279"/>
                  <a:pt x="1860351" y="1734543"/>
                  <a:pt x="1860351" y="1941315"/>
                </a:cubicBezTo>
                <a:cubicBezTo>
                  <a:pt x="1860351" y="2090275"/>
                  <a:pt x="1926497" y="2221640"/>
                  <a:pt x="2058789" y="2335411"/>
                </a:cubicBezTo>
                <a:cubicBezTo>
                  <a:pt x="2191080" y="2449050"/>
                  <a:pt x="2503156" y="2611372"/>
                  <a:pt x="2995017" y="2822377"/>
                </a:cubicBezTo>
                <a:cubicBezTo>
                  <a:pt x="3710318" y="3087093"/>
                  <a:pt x="4215738" y="3381772"/>
                  <a:pt x="4511278" y="3706416"/>
                </a:cubicBezTo>
                <a:cubicBezTo>
                  <a:pt x="4806818" y="4030928"/>
                  <a:pt x="4954587" y="4451615"/>
                  <a:pt x="4954587" y="4968479"/>
                </a:cubicBezTo>
                <a:cubicBezTo>
                  <a:pt x="4954587" y="5568157"/>
                  <a:pt x="4729294" y="6049963"/>
                  <a:pt x="4278709" y="6413897"/>
                </a:cubicBezTo>
                <a:cubicBezTo>
                  <a:pt x="3828124" y="6777699"/>
                  <a:pt x="3236978" y="6959600"/>
                  <a:pt x="2505273" y="6959600"/>
                </a:cubicBezTo>
                <a:cubicBezTo>
                  <a:pt x="2013280" y="6959600"/>
                  <a:pt x="1579165" y="6863490"/>
                  <a:pt x="1202928" y="6671271"/>
                </a:cubicBezTo>
                <a:cubicBezTo>
                  <a:pt x="826690" y="6478919"/>
                  <a:pt x="532143" y="6211160"/>
                  <a:pt x="319286" y="5867996"/>
                </a:cubicBezTo>
                <a:cubicBezTo>
                  <a:pt x="106428" y="5524699"/>
                  <a:pt x="0" y="5154547"/>
                  <a:pt x="0" y="4757540"/>
                </a:cubicBezTo>
                <a:lnTo>
                  <a:pt x="1668065" y="4757540"/>
                </a:lnTo>
                <a:cubicBezTo>
                  <a:pt x="1676267" y="5063663"/>
                  <a:pt x="1747573" y="5293255"/>
                  <a:pt x="1881981" y="5446316"/>
                </a:cubicBezTo>
                <a:cubicBezTo>
                  <a:pt x="2016389" y="5599378"/>
                  <a:pt x="2236523" y="5675908"/>
                  <a:pt x="2542381" y="5675908"/>
                </a:cubicBezTo>
                <a:cubicBezTo>
                  <a:pt x="3013736" y="5675908"/>
                  <a:pt x="3249414" y="5462919"/>
                  <a:pt x="3249414" y="50369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5" name="Freeform 2445"/>
          <p:cNvSpPr/>
          <p:nvPr/>
        </p:nvSpPr>
        <p:spPr>
          <a:xfrm>
            <a:off x="4632677" y="931158"/>
            <a:ext cx="24829" cy="121838"/>
          </a:xfrm>
          <a:custGeom>
            <a:avLst/>
            <a:gdLst/>
            <a:ahLst/>
            <a:cxnLst/>
            <a:rect l="0" t="0" r="0" b="0"/>
            <a:pathLst>
              <a:path w="1909961" h="9372203">
                <a:moveTo>
                  <a:pt x="1841698" y="9372203"/>
                </a:moveTo>
                <a:lnTo>
                  <a:pt x="80565" y="9372203"/>
                </a:lnTo>
                <a:lnTo>
                  <a:pt x="80565" y="2666603"/>
                </a:lnTo>
                <a:lnTo>
                  <a:pt x="1841698" y="2666603"/>
                </a:lnTo>
                <a:close/>
                <a:moveTo>
                  <a:pt x="0" y="930077"/>
                </a:moveTo>
                <a:cubicBezTo>
                  <a:pt x="0" y="657291"/>
                  <a:pt x="86783" y="434116"/>
                  <a:pt x="260350" y="260549"/>
                </a:cubicBezTo>
                <a:cubicBezTo>
                  <a:pt x="434049" y="86850"/>
                  <a:pt x="665559" y="0"/>
                  <a:pt x="954881" y="0"/>
                </a:cubicBezTo>
                <a:cubicBezTo>
                  <a:pt x="1244335" y="0"/>
                  <a:pt x="1475846" y="86850"/>
                  <a:pt x="1649412" y="260549"/>
                </a:cubicBezTo>
                <a:cubicBezTo>
                  <a:pt x="1823111" y="434116"/>
                  <a:pt x="1909961" y="657291"/>
                  <a:pt x="1909961" y="930077"/>
                </a:cubicBezTo>
                <a:cubicBezTo>
                  <a:pt x="1909961" y="1198894"/>
                  <a:pt x="1824170" y="1422202"/>
                  <a:pt x="1652587" y="1600002"/>
                </a:cubicBezTo>
                <a:cubicBezTo>
                  <a:pt x="1481005" y="1777669"/>
                  <a:pt x="1248436" y="1866503"/>
                  <a:pt x="954881" y="1866503"/>
                </a:cubicBezTo>
                <a:cubicBezTo>
                  <a:pt x="661458" y="1866503"/>
                  <a:pt x="428956" y="1777669"/>
                  <a:pt x="257373" y="1600002"/>
                </a:cubicBezTo>
                <a:cubicBezTo>
                  <a:pt x="85791" y="1422202"/>
                  <a:pt x="0" y="1198894"/>
                  <a:pt x="0" y="9300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6" name="Freeform 2446"/>
          <p:cNvSpPr/>
          <p:nvPr/>
        </p:nvSpPr>
        <p:spPr>
          <a:xfrm>
            <a:off x="4671618" y="964173"/>
            <a:ext cx="66911" cy="90474"/>
          </a:xfrm>
          <a:custGeom>
            <a:avLst/>
            <a:gdLst/>
            <a:ahLst/>
            <a:cxnLst/>
            <a:rect l="0" t="0" r="0" b="0"/>
            <a:pathLst>
              <a:path w="5147072" h="6959600">
                <a:moveTo>
                  <a:pt x="3379589" y="6832600"/>
                </a:moveTo>
                <a:cubicBezTo>
                  <a:pt x="3329980" y="6729810"/>
                  <a:pt x="3280370" y="6557103"/>
                  <a:pt x="3230761" y="6314480"/>
                </a:cubicBezTo>
                <a:cubicBezTo>
                  <a:pt x="2916568" y="6744560"/>
                  <a:pt x="2490787" y="6959600"/>
                  <a:pt x="1953419" y="6959600"/>
                </a:cubicBezTo>
                <a:cubicBezTo>
                  <a:pt x="1391179" y="6959600"/>
                  <a:pt x="925049" y="6773334"/>
                  <a:pt x="555030" y="6400800"/>
                </a:cubicBezTo>
                <a:cubicBezTo>
                  <a:pt x="185010" y="6028135"/>
                  <a:pt x="0" y="5545799"/>
                  <a:pt x="0" y="4953794"/>
                </a:cubicBezTo>
                <a:cubicBezTo>
                  <a:pt x="0" y="4249870"/>
                  <a:pt x="224234" y="3705424"/>
                  <a:pt x="672703" y="3320455"/>
                </a:cubicBezTo>
                <a:cubicBezTo>
                  <a:pt x="1121304" y="2935486"/>
                  <a:pt x="1767284" y="2738835"/>
                  <a:pt x="2610644" y="2730500"/>
                </a:cubicBezTo>
                <a:lnTo>
                  <a:pt x="3144044" y="2730500"/>
                </a:lnTo>
                <a:lnTo>
                  <a:pt x="3144044" y="2192735"/>
                </a:lnTo>
                <a:cubicBezTo>
                  <a:pt x="3144044" y="1891771"/>
                  <a:pt x="3092318" y="1679509"/>
                  <a:pt x="2988866" y="1555949"/>
                </a:cubicBezTo>
                <a:cubicBezTo>
                  <a:pt x="2885546" y="1432256"/>
                  <a:pt x="2734667" y="1370410"/>
                  <a:pt x="2536230" y="1370410"/>
                </a:cubicBezTo>
                <a:cubicBezTo>
                  <a:pt x="2098080" y="1370410"/>
                  <a:pt x="1879005" y="1624807"/>
                  <a:pt x="1879005" y="2133600"/>
                </a:cubicBezTo>
                <a:lnTo>
                  <a:pt x="124023" y="2133600"/>
                </a:lnTo>
                <a:cubicBezTo>
                  <a:pt x="124023" y="1515137"/>
                  <a:pt x="356526" y="1004954"/>
                  <a:pt x="821531" y="603052"/>
                </a:cubicBezTo>
                <a:cubicBezTo>
                  <a:pt x="1286669" y="201018"/>
                  <a:pt x="1874771" y="0"/>
                  <a:pt x="2585839" y="0"/>
                </a:cubicBezTo>
                <a:cubicBezTo>
                  <a:pt x="3321777" y="0"/>
                  <a:pt x="3891293" y="191162"/>
                  <a:pt x="4294386" y="573485"/>
                </a:cubicBezTo>
                <a:cubicBezTo>
                  <a:pt x="4697479" y="955808"/>
                  <a:pt x="4899025" y="1502437"/>
                  <a:pt x="4899025" y="2213372"/>
                </a:cubicBezTo>
                <a:lnTo>
                  <a:pt x="4899025" y="5369322"/>
                </a:lnTo>
                <a:cubicBezTo>
                  <a:pt x="4907227" y="5947966"/>
                  <a:pt x="4989909" y="6400602"/>
                  <a:pt x="5147072" y="6727230"/>
                </a:cubicBezTo>
                <a:lnTo>
                  <a:pt x="5147072" y="6832600"/>
                </a:lnTo>
                <a:close/>
                <a:moveTo>
                  <a:pt x="2344142" y="5582841"/>
                </a:moveTo>
                <a:cubicBezTo>
                  <a:pt x="2538346" y="5582841"/>
                  <a:pt x="2703645" y="5543484"/>
                  <a:pt x="2840037" y="5464771"/>
                </a:cubicBezTo>
                <a:cubicBezTo>
                  <a:pt x="2976562" y="5385925"/>
                  <a:pt x="3077898" y="5292527"/>
                  <a:pt x="3144044" y="5184577"/>
                </a:cubicBezTo>
                <a:lnTo>
                  <a:pt x="3144044" y="3784799"/>
                </a:lnTo>
                <a:lnTo>
                  <a:pt x="2722364" y="3784799"/>
                </a:lnTo>
                <a:cubicBezTo>
                  <a:pt x="2424708" y="3784799"/>
                  <a:pt x="2190088" y="3880181"/>
                  <a:pt x="2018506" y="4070946"/>
                </a:cubicBezTo>
                <a:cubicBezTo>
                  <a:pt x="1846924" y="4261710"/>
                  <a:pt x="1761133" y="4516835"/>
                  <a:pt x="1761133" y="4836319"/>
                </a:cubicBezTo>
                <a:cubicBezTo>
                  <a:pt x="1761133" y="5334000"/>
                  <a:pt x="1955469" y="5582841"/>
                  <a:pt x="2344142" y="5582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7" name="Freeform 2447"/>
          <p:cNvSpPr/>
          <p:nvPr/>
        </p:nvSpPr>
        <p:spPr>
          <a:xfrm>
            <a:off x="4751149" y="964173"/>
            <a:ext cx="65459" cy="88823"/>
          </a:xfrm>
          <a:custGeom>
            <a:avLst/>
            <a:gdLst/>
            <a:ahLst/>
            <a:cxnLst/>
            <a:rect l="0" t="0" r="0" b="0"/>
            <a:pathLst>
              <a:path w="5035352" h="6832600">
                <a:moveTo>
                  <a:pt x="1649611" y="127000"/>
                </a:moveTo>
                <a:lnTo>
                  <a:pt x="1699220" y="787400"/>
                </a:lnTo>
                <a:cubicBezTo>
                  <a:pt x="2096095" y="262467"/>
                  <a:pt x="2614877" y="0"/>
                  <a:pt x="3255566" y="0"/>
                </a:cubicBezTo>
                <a:cubicBezTo>
                  <a:pt x="4409017" y="0"/>
                  <a:pt x="5002279" y="808104"/>
                  <a:pt x="5035352" y="2424311"/>
                </a:cubicBezTo>
                <a:lnTo>
                  <a:pt x="5035352" y="6832600"/>
                </a:lnTo>
                <a:lnTo>
                  <a:pt x="3274219" y="6832600"/>
                </a:lnTo>
                <a:lnTo>
                  <a:pt x="3274219" y="2554685"/>
                </a:lnTo>
                <a:cubicBezTo>
                  <a:pt x="3274219" y="2174346"/>
                  <a:pt x="3217333" y="1898452"/>
                  <a:pt x="3103563" y="1727002"/>
                </a:cubicBezTo>
                <a:cubicBezTo>
                  <a:pt x="2989924" y="1555420"/>
                  <a:pt x="2790494" y="1469629"/>
                  <a:pt x="2505273" y="1469629"/>
                </a:cubicBezTo>
                <a:cubicBezTo>
                  <a:pt x="2186980" y="1469629"/>
                  <a:pt x="1938933" y="1632876"/>
                  <a:pt x="1761133" y="1959372"/>
                </a:cubicBezTo>
                <a:lnTo>
                  <a:pt x="1761133" y="6832600"/>
                </a:lnTo>
                <a:lnTo>
                  <a:pt x="0" y="6832600"/>
                </a:lnTo>
                <a:lnTo>
                  <a:pt x="0" y="127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8" name="Freeform 2448"/>
          <p:cNvSpPr/>
          <p:nvPr/>
        </p:nvSpPr>
        <p:spPr>
          <a:xfrm>
            <a:off x="210513" y="1135636"/>
            <a:ext cx="78597" cy="117386"/>
          </a:xfrm>
          <a:custGeom>
            <a:avLst/>
            <a:gdLst/>
            <a:ahLst/>
            <a:cxnLst/>
            <a:rect l="0" t="0" r="0" b="0"/>
            <a:pathLst>
              <a:path w="6045994" h="9029700">
                <a:moveTo>
                  <a:pt x="2728516" y="5735638"/>
                </a:moveTo>
                <a:lnTo>
                  <a:pt x="1823045" y="5735638"/>
                </a:lnTo>
                <a:lnTo>
                  <a:pt x="1823045" y="9029700"/>
                </a:lnTo>
                <a:lnTo>
                  <a:pt x="0" y="9029700"/>
                </a:lnTo>
                <a:lnTo>
                  <a:pt x="0" y="0"/>
                </a:lnTo>
                <a:lnTo>
                  <a:pt x="2908300" y="0"/>
                </a:lnTo>
                <a:cubicBezTo>
                  <a:pt x="3821906" y="0"/>
                  <a:pt x="4527748" y="236935"/>
                  <a:pt x="5025827" y="710804"/>
                </a:cubicBezTo>
                <a:cubicBezTo>
                  <a:pt x="5524037" y="1184540"/>
                  <a:pt x="5773142" y="1858037"/>
                  <a:pt x="5773142" y="2731294"/>
                </a:cubicBezTo>
                <a:cubicBezTo>
                  <a:pt x="5773142" y="3931312"/>
                  <a:pt x="5337043" y="4771364"/>
                  <a:pt x="4464844" y="5251450"/>
                </a:cubicBezTo>
                <a:lnTo>
                  <a:pt x="6045994" y="8942983"/>
                </a:lnTo>
                <a:lnTo>
                  <a:pt x="6045994" y="9029700"/>
                </a:lnTo>
                <a:lnTo>
                  <a:pt x="4086423" y="9029700"/>
                </a:lnTo>
                <a:close/>
                <a:moveTo>
                  <a:pt x="1823045" y="4216400"/>
                </a:moveTo>
                <a:lnTo>
                  <a:pt x="2858691" y="4216400"/>
                </a:lnTo>
                <a:cubicBezTo>
                  <a:pt x="3222493" y="4216400"/>
                  <a:pt x="3495344" y="4095221"/>
                  <a:pt x="3677245" y="3852863"/>
                </a:cubicBezTo>
                <a:cubicBezTo>
                  <a:pt x="3859146" y="3610505"/>
                  <a:pt x="3950097" y="3286324"/>
                  <a:pt x="3950097" y="2880321"/>
                </a:cubicBezTo>
                <a:cubicBezTo>
                  <a:pt x="3950097" y="1972932"/>
                  <a:pt x="3596613" y="1519238"/>
                  <a:pt x="2889647" y="1519238"/>
                </a:cubicBezTo>
                <a:lnTo>
                  <a:pt x="1823045" y="1519238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49" name="Freeform 2449"/>
          <p:cNvSpPr/>
          <p:nvPr/>
        </p:nvSpPr>
        <p:spPr>
          <a:xfrm>
            <a:off x="298589" y="1164198"/>
            <a:ext cx="68119" cy="90474"/>
          </a:xfrm>
          <a:custGeom>
            <a:avLst/>
            <a:gdLst/>
            <a:ahLst/>
            <a:cxnLst/>
            <a:rect l="0" t="0" r="0" b="0"/>
            <a:pathLst>
              <a:path w="5239941" h="6959600">
                <a:moveTo>
                  <a:pt x="2864842" y="6959600"/>
                </a:moveTo>
                <a:cubicBezTo>
                  <a:pt x="1963671" y="6959600"/>
                  <a:pt x="1260872" y="6690850"/>
                  <a:pt x="756444" y="6153349"/>
                </a:cubicBezTo>
                <a:cubicBezTo>
                  <a:pt x="252148" y="5615716"/>
                  <a:pt x="0" y="4846506"/>
                  <a:pt x="0" y="3845719"/>
                </a:cubicBezTo>
                <a:lnTo>
                  <a:pt x="0" y="3312319"/>
                </a:lnTo>
                <a:cubicBezTo>
                  <a:pt x="0" y="2253721"/>
                  <a:pt x="231511" y="1437019"/>
                  <a:pt x="694531" y="862211"/>
                </a:cubicBezTo>
                <a:cubicBezTo>
                  <a:pt x="1157552" y="287404"/>
                  <a:pt x="1821061" y="0"/>
                  <a:pt x="2685058" y="0"/>
                </a:cubicBezTo>
                <a:cubicBezTo>
                  <a:pt x="3528417" y="0"/>
                  <a:pt x="4162954" y="270074"/>
                  <a:pt x="4588669" y="810221"/>
                </a:cubicBezTo>
                <a:cubicBezTo>
                  <a:pt x="5014516" y="1350368"/>
                  <a:pt x="5231606" y="2150203"/>
                  <a:pt x="5239941" y="3209727"/>
                </a:cubicBezTo>
                <a:lnTo>
                  <a:pt x="5239941" y="4072732"/>
                </a:lnTo>
                <a:lnTo>
                  <a:pt x="1748631" y="4072732"/>
                </a:lnTo>
                <a:cubicBezTo>
                  <a:pt x="1773502" y="4567767"/>
                  <a:pt x="1883040" y="4929783"/>
                  <a:pt x="2077244" y="5158780"/>
                </a:cubicBezTo>
                <a:cubicBezTo>
                  <a:pt x="2271580" y="5387777"/>
                  <a:pt x="2571353" y="5502275"/>
                  <a:pt x="2976563" y="5502275"/>
                </a:cubicBezTo>
                <a:cubicBezTo>
                  <a:pt x="3563541" y="5502275"/>
                  <a:pt x="4053417" y="5301589"/>
                  <a:pt x="4446191" y="4900216"/>
                </a:cubicBezTo>
                <a:lnTo>
                  <a:pt x="5134570" y="5960865"/>
                </a:lnTo>
                <a:cubicBezTo>
                  <a:pt x="4919596" y="6258653"/>
                  <a:pt x="4607454" y="6499556"/>
                  <a:pt x="4198144" y="6683574"/>
                </a:cubicBezTo>
                <a:cubicBezTo>
                  <a:pt x="3788834" y="6867591"/>
                  <a:pt x="3344399" y="6959600"/>
                  <a:pt x="2864842" y="6959600"/>
                </a:cubicBezTo>
                <a:close/>
                <a:moveTo>
                  <a:pt x="1761133" y="2844800"/>
                </a:moveTo>
                <a:lnTo>
                  <a:pt x="3515916" y="2844800"/>
                </a:lnTo>
                <a:lnTo>
                  <a:pt x="3515916" y="2683074"/>
                </a:lnTo>
                <a:cubicBezTo>
                  <a:pt x="3507714" y="2280643"/>
                  <a:pt x="3441568" y="1975776"/>
                  <a:pt x="3317478" y="1768475"/>
                </a:cubicBezTo>
                <a:cubicBezTo>
                  <a:pt x="3193521" y="1561042"/>
                  <a:pt x="2978547" y="1457325"/>
                  <a:pt x="2672556" y="1457325"/>
                </a:cubicBezTo>
                <a:cubicBezTo>
                  <a:pt x="2366698" y="1457325"/>
                  <a:pt x="2144514" y="1567260"/>
                  <a:pt x="2006005" y="1787129"/>
                </a:cubicBezTo>
                <a:cubicBezTo>
                  <a:pt x="1867495" y="2006997"/>
                  <a:pt x="1785872" y="2359555"/>
                  <a:pt x="1761133" y="284480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0" name="Freeform 2450"/>
          <p:cNvSpPr/>
          <p:nvPr/>
        </p:nvSpPr>
        <p:spPr>
          <a:xfrm>
            <a:off x="375895" y="1164198"/>
            <a:ext cx="64409" cy="90474"/>
          </a:xfrm>
          <a:custGeom>
            <a:avLst/>
            <a:gdLst/>
            <a:ahLst/>
            <a:cxnLst/>
            <a:rect l="0" t="0" r="0" b="0"/>
            <a:pathLst>
              <a:path w="4954587" h="6959600">
                <a:moveTo>
                  <a:pt x="3249414" y="5036940"/>
                </a:moveTo>
                <a:cubicBezTo>
                  <a:pt x="3249414" y="4887979"/>
                  <a:pt x="3178043" y="4750462"/>
                  <a:pt x="3035300" y="4624388"/>
                </a:cubicBezTo>
                <a:cubicBezTo>
                  <a:pt x="2892689" y="4498182"/>
                  <a:pt x="2575454" y="4327525"/>
                  <a:pt x="2083593" y="4112419"/>
                </a:cubicBezTo>
                <a:cubicBezTo>
                  <a:pt x="1360090" y="3818864"/>
                  <a:pt x="862938" y="3514924"/>
                  <a:pt x="592137" y="3200599"/>
                </a:cubicBezTo>
                <a:cubicBezTo>
                  <a:pt x="321336" y="2886274"/>
                  <a:pt x="185936" y="2495484"/>
                  <a:pt x="185936" y="2028230"/>
                </a:cubicBezTo>
                <a:cubicBezTo>
                  <a:pt x="185936" y="1441120"/>
                  <a:pt x="397801" y="956337"/>
                  <a:pt x="821531" y="573882"/>
                </a:cubicBezTo>
                <a:cubicBezTo>
                  <a:pt x="1245261" y="191294"/>
                  <a:pt x="1806509" y="0"/>
                  <a:pt x="2505273" y="0"/>
                </a:cubicBezTo>
                <a:cubicBezTo>
                  <a:pt x="3241079" y="0"/>
                  <a:pt x="3830174" y="190236"/>
                  <a:pt x="4272558" y="570707"/>
                </a:cubicBezTo>
                <a:cubicBezTo>
                  <a:pt x="4714941" y="951178"/>
                  <a:pt x="4936133" y="1461890"/>
                  <a:pt x="4936133" y="2102843"/>
                </a:cubicBezTo>
                <a:lnTo>
                  <a:pt x="3181151" y="2102843"/>
                </a:lnTo>
                <a:cubicBezTo>
                  <a:pt x="3181151" y="1556743"/>
                  <a:pt x="2953742" y="1283693"/>
                  <a:pt x="2498923" y="1283693"/>
                </a:cubicBezTo>
                <a:cubicBezTo>
                  <a:pt x="2312921" y="1283693"/>
                  <a:pt x="2159992" y="1341636"/>
                  <a:pt x="2040136" y="1457524"/>
                </a:cubicBezTo>
                <a:cubicBezTo>
                  <a:pt x="1920279" y="1573279"/>
                  <a:pt x="1860351" y="1734543"/>
                  <a:pt x="1860351" y="1941315"/>
                </a:cubicBezTo>
                <a:cubicBezTo>
                  <a:pt x="1860351" y="2090275"/>
                  <a:pt x="1926497" y="2221640"/>
                  <a:pt x="2058789" y="2335411"/>
                </a:cubicBezTo>
                <a:cubicBezTo>
                  <a:pt x="2191080" y="2449050"/>
                  <a:pt x="2503156" y="2611372"/>
                  <a:pt x="2995017" y="2822377"/>
                </a:cubicBezTo>
                <a:cubicBezTo>
                  <a:pt x="3710318" y="3087093"/>
                  <a:pt x="4215738" y="3381772"/>
                  <a:pt x="4511278" y="3706416"/>
                </a:cubicBezTo>
                <a:cubicBezTo>
                  <a:pt x="4806818" y="4030928"/>
                  <a:pt x="4954587" y="4451615"/>
                  <a:pt x="4954587" y="4968479"/>
                </a:cubicBezTo>
                <a:cubicBezTo>
                  <a:pt x="4954587" y="5568157"/>
                  <a:pt x="4729294" y="6049963"/>
                  <a:pt x="4278709" y="6413897"/>
                </a:cubicBezTo>
                <a:cubicBezTo>
                  <a:pt x="3828124" y="6777699"/>
                  <a:pt x="3236978" y="6959600"/>
                  <a:pt x="2505273" y="6959600"/>
                </a:cubicBezTo>
                <a:cubicBezTo>
                  <a:pt x="2013280" y="6959600"/>
                  <a:pt x="1579165" y="6863490"/>
                  <a:pt x="1202928" y="6671271"/>
                </a:cubicBezTo>
                <a:cubicBezTo>
                  <a:pt x="826690" y="6478919"/>
                  <a:pt x="532143" y="6211160"/>
                  <a:pt x="319286" y="5867996"/>
                </a:cubicBezTo>
                <a:cubicBezTo>
                  <a:pt x="106428" y="5524699"/>
                  <a:pt x="0" y="5154547"/>
                  <a:pt x="0" y="4757540"/>
                </a:cubicBezTo>
                <a:lnTo>
                  <a:pt x="1668065" y="4757540"/>
                </a:lnTo>
                <a:cubicBezTo>
                  <a:pt x="1676267" y="5063663"/>
                  <a:pt x="1747573" y="5293255"/>
                  <a:pt x="1881981" y="5446316"/>
                </a:cubicBezTo>
                <a:cubicBezTo>
                  <a:pt x="2016389" y="5599378"/>
                  <a:pt x="2236523" y="5675908"/>
                  <a:pt x="2542381" y="5675908"/>
                </a:cubicBezTo>
                <a:cubicBezTo>
                  <a:pt x="3013736" y="5675908"/>
                  <a:pt x="3249414" y="5462919"/>
                  <a:pt x="3249414" y="50369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1" name="Freeform 2451"/>
          <p:cNvSpPr/>
          <p:nvPr/>
        </p:nvSpPr>
        <p:spPr>
          <a:xfrm>
            <a:off x="451817" y="1164198"/>
            <a:ext cx="70618" cy="9047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2" name="Freeform 2452"/>
          <p:cNvSpPr/>
          <p:nvPr/>
        </p:nvSpPr>
        <p:spPr>
          <a:xfrm>
            <a:off x="535967" y="1165849"/>
            <a:ext cx="65539" cy="88823"/>
          </a:xfrm>
          <a:custGeom>
            <a:avLst/>
            <a:gdLst/>
            <a:ahLst/>
            <a:cxnLst/>
            <a:rect l="0" t="0" r="0" b="0"/>
            <a:pathLst>
              <a:path w="5041503" h="6832600">
                <a:moveTo>
                  <a:pt x="3342481" y="6094810"/>
                </a:moveTo>
                <a:cubicBezTo>
                  <a:pt x="2978679" y="6586670"/>
                  <a:pt x="2490854" y="6832600"/>
                  <a:pt x="1879005" y="6832600"/>
                </a:cubicBezTo>
                <a:cubicBezTo>
                  <a:pt x="1263055" y="6832600"/>
                  <a:pt x="795867" y="6620802"/>
                  <a:pt x="477441" y="6197204"/>
                </a:cubicBezTo>
                <a:cubicBezTo>
                  <a:pt x="159147" y="5773473"/>
                  <a:pt x="0" y="5156531"/>
                  <a:pt x="0" y="4346377"/>
                </a:cubicBezTo>
                <a:lnTo>
                  <a:pt x="0" y="0"/>
                </a:lnTo>
                <a:lnTo>
                  <a:pt x="1754981" y="0"/>
                </a:lnTo>
                <a:lnTo>
                  <a:pt x="1754981" y="4389636"/>
                </a:lnTo>
                <a:cubicBezTo>
                  <a:pt x="1763183" y="5042628"/>
                  <a:pt x="1980208" y="5369124"/>
                  <a:pt x="2406055" y="5369124"/>
                </a:cubicBezTo>
                <a:cubicBezTo>
                  <a:pt x="2807031" y="5369124"/>
                  <a:pt x="3096419" y="5195557"/>
                  <a:pt x="3274219" y="4848424"/>
                </a:cubicBezTo>
                <a:lnTo>
                  <a:pt x="3274219" y="0"/>
                </a:lnTo>
                <a:lnTo>
                  <a:pt x="5041503" y="0"/>
                </a:lnTo>
                <a:lnTo>
                  <a:pt x="5041503" y="6705600"/>
                </a:lnTo>
                <a:lnTo>
                  <a:pt x="3392091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3" name="Freeform 2453"/>
          <p:cNvSpPr/>
          <p:nvPr/>
        </p:nvSpPr>
        <p:spPr>
          <a:xfrm>
            <a:off x="617681" y="1164198"/>
            <a:ext cx="43369" cy="88823"/>
          </a:xfrm>
          <a:custGeom>
            <a:avLst/>
            <a:gdLst/>
            <a:ahLst/>
            <a:cxnLst/>
            <a:rect l="0" t="0" r="0" b="0"/>
            <a:pathLst>
              <a:path w="3336132" h="6832600">
                <a:moveTo>
                  <a:pt x="3317478" y="1816894"/>
                </a:moveTo>
                <a:lnTo>
                  <a:pt x="2734667" y="1767285"/>
                </a:lnTo>
                <a:cubicBezTo>
                  <a:pt x="2255110" y="1767285"/>
                  <a:pt x="1930599" y="1978092"/>
                  <a:pt x="1761133" y="2399705"/>
                </a:cubicBezTo>
                <a:lnTo>
                  <a:pt x="1761133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655564" y="127000"/>
                </a:lnTo>
                <a:lnTo>
                  <a:pt x="1705174" y="852091"/>
                </a:lnTo>
                <a:cubicBezTo>
                  <a:pt x="1982192" y="284030"/>
                  <a:pt x="2364648" y="0"/>
                  <a:pt x="2852539" y="0"/>
                </a:cubicBezTo>
                <a:cubicBezTo>
                  <a:pt x="3050977" y="0"/>
                  <a:pt x="3212174" y="26855"/>
                  <a:pt x="3336132" y="8056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4" name="Freeform 2454"/>
          <p:cNvSpPr/>
          <p:nvPr/>
        </p:nvSpPr>
        <p:spPr>
          <a:xfrm>
            <a:off x="668181" y="1164198"/>
            <a:ext cx="65782" cy="90474"/>
          </a:xfrm>
          <a:custGeom>
            <a:avLst/>
            <a:gdLst/>
            <a:ahLst/>
            <a:cxnLst/>
            <a:rect l="0" t="0" r="0" b="0"/>
            <a:pathLst>
              <a:path w="5060156" h="6959600">
                <a:moveTo>
                  <a:pt x="2635647" y="5502275"/>
                </a:moveTo>
                <a:cubicBezTo>
                  <a:pt x="3144044" y="5502275"/>
                  <a:pt x="3402409" y="5171348"/>
                  <a:pt x="3410744" y="4509493"/>
                </a:cubicBezTo>
                <a:lnTo>
                  <a:pt x="5060156" y="4509493"/>
                </a:lnTo>
                <a:cubicBezTo>
                  <a:pt x="5051954" y="5241463"/>
                  <a:pt x="4826661" y="5832806"/>
                  <a:pt x="4384278" y="6283524"/>
                </a:cubicBezTo>
                <a:cubicBezTo>
                  <a:pt x="3941894" y="6734242"/>
                  <a:pt x="3371387" y="6959600"/>
                  <a:pt x="2672754" y="6959600"/>
                </a:cubicBezTo>
                <a:cubicBezTo>
                  <a:pt x="1808758" y="6959600"/>
                  <a:pt x="1149350" y="6690850"/>
                  <a:pt x="694531" y="6153349"/>
                </a:cubicBezTo>
                <a:cubicBezTo>
                  <a:pt x="239845" y="5615716"/>
                  <a:pt x="8334" y="4823752"/>
                  <a:pt x="0" y="3777457"/>
                </a:cubicBezTo>
                <a:lnTo>
                  <a:pt x="0" y="3244057"/>
                </a:lnTo>
                <a:cubicBezTo>
                  <a:pt x="0" y="2189560"/>
                  <a:pt x="224300" y="1385293"/>
                  <a:pt x="672901" y="831255"/>
                </a:cubicBezTo>
                <a:cubicBezTo>
                  <a:pt x="1121502" y="277085"/>
                  <a:pt x="1784019" y="0"/>
                  <a:pt x="2660451" y="0"/>
                </a:cubicBezTo>
                <a:cubicBezTo>
                  <a:pt x="3400358" y="0"/>
                  <a:pt x="3983236" y="228468"/>
                  <a:pt x="4409083" y="685404"/>
                </a:cubicBezTo>
                <a:cubicBezTo>
                  <a:pt x="4834929" y="1142339"/>
                  <a:pt x="5051954" y="1790568"/>
                  <a:pt x="5060156" y="2630091"/>
                </a:cubicBezTo>
                <a:lnTo>
                  <a:pt x="3410744" y="2630091"/>
                </a:lnTo>
                <a:cubicBezTo>
                  <a:pt x="3406643" y="2253589"/>
                  <a:pt x="3344598" y="1964003"/>
                  <a:pt x="3224609" y="1761332"/>
                </a:cubicBezTo>
                <a:cubicBezTo>
                  <a:pt x="3104753" y="1558661"/>
                  <a:pt x="2906315" y="1457325"/>
                  <a:pt x="2629297" y="1457325"/>
                </a:cubicBezTo>
                <a:cubicBezTo>
                  <a:pt x="2323438" y="1457325"/>
                  <a:pt x="2104363" y="1565937"/>
                  <a:pt x="1972072" y="1783160"/>
                </a:cubicBezTo>
                <a:cubicBezTo>
                  <a:pt x="1839780" y="2000250"/>
                  <a:pt x="1769467" y="2421070"/>
                  <a:pt x="1761133" y="3045619"/>
                </a:cubicBezTo>
                <a:lnTo>
                  <a:pt x="1761133" y="3728046"/>
                </a:lnTo>
                <a:cubicBezTo>
                  <a:pt x="1761133" y="4273881"/>
                  <a:pt x="1787988" y="4655410"/>
                  <a:pt x="1841698" y="4872633"/>
                </a:cubicBezTo>
                <a:cubicBezTo>
                  <a:pt x="1895541" y="5089724"/>
                  <a:pt x="1984441" y="5248937"/>
                  <a:pt x="2108398" y="5350272"/>
                </a:cubicBezTo>
                <a:cubicBezTo>
                  <a:pt x="2232488" y="5451608"/>
                  <a:pt x="2408237" y="5502275"/>
                  <a:pt x="2635647" y="55022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5" name="Freeform 2455"/>
          <p:cNvSpPr/>
          <p:nvPr/>
        </p:nvSpPr>
        <p:spPr>
          <a:xfrm>
            <a:off x="744689" y="1164198"/>
            <a:ext cx="68119" cy="90474"/>
          </a:xfrm>
          <a:custGeom>
            <a:avLst/>
            <a:gdLst/>
            <a:ahLst/>
            <a:cxnLst/>
            <a:rect l="0" t="0" r="0" b="0"/>
            <a:pathLst>
              <a:path w="5239941" h="6959600">
                <a:moveTo>
                  <a:pt x="2864842" y="6959600"/>
                </a:moveTo>
                <a:cubicBezTo>
                  <a:pt x="1963671" y="6959600"/>
                  <a:pt x="1260872" y="6690850"/>
                  <a:pt x="756444" y="6153349"/>
                </a:cubicBezTo>
                <a:cubicBezTo>
                  <a:pt x="252148" y="5615716"/>
                  <a:pt x="0" y="4846506"/>
                  <a:pt x="0" y="3845719"/>
                </a:cubicBezTo>
                <a:lnTo>
                  <a:pt x="0" y="3312319"/>
                </a:lnTo>
                <a:cubicBezTo>
                  <a:pt x="0" y="2253721"/>
                  <a:pt x="231511" y="1437019"/>
                  <a:pt x="694531" y="862211"/>
                </a:cubicBezTo>
                <a:cubicBezTo>
                  <a:pt x="1157552" y="287404"/>
                  <a:pt x="1821061" y="0"/>
                  <a:pt x="2685058" y="0"/>
                </a:cubicBezTo>
                <a:cubicBezTo>
                  <a:pt x="3528417" y="0"/>
                  <a:pt x="4162954" y="270074"/>
                  <a:pt x="4588669" y="810221"/>
                </a:cubicBezTo>
                <a:cubicBezTo>
                  <a:pt x="5014516" y="1350368"/>
                  <a:pt x="5231606" y="2150203"/>
                  <a:pt x="5239941" y="3209727"/>
                </a:cubicBezTo>
                <a:lnTo>
                  <a:pt x="5239941" y="4072732"/>
                </a:lnTo>
                <a:lnTo>
                  <a:pt x="1748631" y="4072732"/>
                </a:lnTo>
                <a:cubicBezTo>
                  <a:pt x="1773502" y="4567767"/>
                  <a:pt x="1883040" y="4929783"/>
                  <a:pt x="2077244" y="5158780"/>
                </a:cubicBezTo>
                <a:cubicBezTo>
                  <a:pt x="2271580" y="5387777"/>
                  <a:pt x="2571353" y="5502275"/>
                  <a:pt x="2976563" y="5502275"/>
                </a:cubicBezTo>
                <a:cubicBezTo>
                  <a:pt x="3563541" y="5502275"/>
                  <a:pt x="4053417" y="5301589"/>
                  <a:pt x="4446191" y="4900216"/>
                </a:cubicBezTo>
                <a:lnTo>
                  <a:pt x="5134570" y="5960865"/>
                </a:lnTo>
                <a:cubicBezTo>
                  <a:pt x="4919596" y="6258653"/>
                  <a:pt x="4607454" y="6499556"/>
                  <a:pt x="4198144" y="6683574"/>
                </a:cubicBezTo>
                <a:cubicBezTo>
                  <a:pt x="3788834" y="6867591"/>
                  <a:pt x="3344399" y="6959600"/>
                  <a:pt x="2864842" y="6959600"/>
                </a:cubicBezTo>
                <a:close/>
                <a:moveTo>
                  <a:pt x="1761133" y="2844800"/>
                </a:moveTo>
                <a:lnTo>
                  <a:pt x="3515916" y="2844800"/>
                </a:lnTo>
                <a:lnTo>
                  <a:pt x="3515916" y="2683074"/>
                </a:lnTo>
                <a:cubicBezTo>
                  <a:pt x="3507714" y="2280643"/>
                  <a:pt x="3441568" y="1975776"/>
                  <a:pt x="3317478" y="1768475"/>
                </a:cubicBezTo>
                <a:cubicBezTo>
                  <a:pt x="3193521" y="1561042"/>
                  <a:pt x="2978547" y="1457325"/>
                  <a:pt x="2672556" y="1457325"/>
                </a:cubicBezTo>
                <a:cubicBezTo>
                  <a:pt x="2366698" y="1457325"/>
                  <a:pt x="2144514" y="1567260"/>
                  <a:pt x="2006005" y="1787129"/>
                </a:cubicBezTo>
                <a:cubicBezTo>
                  <a:pt x="1867495" y="2006997"/>
                  <a:pt x="1785872" y="2359555"/>
                  <a:pt x="1761133" y="284480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6" name="Freeform 2456"/>
          <p:cNvSpPr/>
          <p:nvPr/>
        </p:nvSpPr>
        <p:spPr>
          <a:xfrm>
            <a:off x="821995" y="1164198"/>
            <a:ext cx="64409" cy="90474"/>
          </a:xfrm>
          <a:custGeom>
            <a:avLst/>
            <a:gdLst/>
            <a:ahLst/>
            <a:cxnLst/>
            <a:rect l="0" t="0" r="0" b="0"/>
            <a:pathLst>
              <a:path w="4954587" h="6959600">
                <a:moveTo>
                  <a:pt x="3249414" y="5036940"/>
                </a:moveTo>
                <a:cubicBezTo>
                  <a:pt x="3249414" y="4887979"/>
                  <a:pt x="3178043" y="4750462"/>
                  <a:pt x="3035300" y="4624388"/>
                </a:cubicBezTo>
                <a:cubicBezTo>
                  <a:pt x="2892689" y="4498182"/>
                  <a:pt x="2575454" y="4327525"/>
                  <a:pt x="2083593" y="4112419"/>
                </a:cubicBezTo>
                <a:cubicBezTo>
                  <a:pt x="1360090" y="3818864"/>
                  <a:pt x="862938" y="3514924"/>
                  <a:pt x="592137" y="3200599"/>
                </a:cubicBezTo>
                <a:cubicBezTo>
                  <a:pt x="321336" y="2886274"/>
                  <a:pt x="185936" y="2495484"/>
                  <a:pt x="185936" y="2028230"/>
                </a:cubicBezTo>
                <a:cubicBezTo>
                  <a:pt x="185936" y="1441120"/>
                  <a:pt x="397801" y="956337"/>
                  <a:pt x="821531" y="573882"/>
                </a:cubicBezTo>
                <a:cubicBezTo>
                  <a:pt x="1245261" y="191294"/>
                  <a:pt x="1806509" y="0"/>
                  <a:pt x="2505273" y="0"/>
                </a:cubicBezTo>
                <a:cubicBezTo>
                  <a:pt x="3241079" y="0"/>
                  <a:pt x="3830174" y="190236"/>
                  <a:pt x="4272558" y="570707"/>
                </a:cubicBezTo>
                <a:cubicBezTo>
                  <a:pt x="4714941" y="951178"/>
                  <a:pt x="4936133" y="1461890"/>
                  <a:pt x="4936133" y="2102843"/>
                </a:cubicBezTo>
                <a:lnTo>
                  <a:pt x="3181151" y="2102843"/>
                </a:lnTo>
                <a:cubicBezTo>
                  <a:pt x="3181151" y="1556743"/>
                  <a:pt x="2953742" y="1283693"/>
                  <a:pt x="2498923" y="1283693"/>
                </a:cubicBezTo>
                <a:cubicBezTo>
                  <a:pt x="2312921" y="1283693"/>
                  <a:pt x="2159992" y="1341636"/>
                  <a:pt x="2040136" y="1457524"/>
                </a:cubicBezTo>
                <a:cubicBezTo>
                  <a:pt x="1920279" y="1573279"/>
                  <a:pt x="1860351" y="1734543"/>
                  <a:pt x="1860351" y="1941315"/>
                </a:cubicBezTo>
                <a:cubicBezTo>
                  <a:pt x="1860351" y="2090275"/>
                  <a:pt x="1926497" y="2221640"/>
                  <a:pt x="2058789" y="2335411"/>
                </a:cubicBezTo>
                <a:cubicBezTo>
                  <a:pt x="2191080" y="2449050"/>
                  <a:pt x="2503156" y="2611372"/>
                  <a:pt x="2995017" y="2822377"/>
                </a:cubicBezTo>
                <a:cubicBezTo>
                  <a:pt x="3710318" y="3087093"/>
                  <a:pt x="4215738" y="3381772"/>
                  <a:pt x="4511278" y="3706416"/>
                </a:cubicBezTo>
                <a:cubicBezTo>
                  <a:pt x="4806818" y="4030928"/>
                  <a:pt x="4954587" y="4451615"/>
                  <a:pt x="4954587" y="4968479"/>
                </a:cubicBezTo>
                <a:cubicBezTo>
                  <a:pt x="4954587" y="5568157"/>
                  <a:pt x="4729294" y="6049963"/>
                  <a:pt x="4278709" y="6413897"/>
                </a:cubicBezTo>
                <a:cubicBezTo>
                  <a:pt x="3828124" y="6777699"/>
                  <a:pt x="3236978" y="6959600"/>
                  <a:pt x="2505273" y="6959600"/>
                </a:cubicBezTo>
                <a:cubicBezTo>
                  <a:pt x="2013280" y="6959600"/>
                  <a:pt x="1579165" y="6863490"/>
                  <a:pt x="1202928" y="6671271"/>
                </a:cubicBezTo>
                <a:cubicBezTo>
                  <a:pt x="826690" y="6478919"/>
                  <a:pt x="532143" y="6211160"/>
                  <a:pt x="319286" y="5867996"/>
                </a:cubicBezTo>
                <a:cubicBezTo>
                  <a:pt x="106428" y="5524699"/>
                  <a:pt x="0" y="5154547"/>
                  <a:pt x="0" y="4757540"/>
                </a:cubicBezTo>
                <a:lnTo>
                  <a:pt x="1668065" y="4757540"/>
                </a:lnTo>
                <a:cubicBezTo>
                  <a:pt x="1676267" y="5063663"/>
                  <a:pt x="1747573" y="5293255"/>
                  <a:pt x="1881981" y="5446316"/>
                </a:cubicBezTo>
                <a:cubicBezTo>
                  <a:pt x="2016389" y="5599378"/>
                  <a:pt x="2236523" y="5675908"/>
                  <a:pt x="2542381" y="5675908"/>
                </a:cubicBezTo>
                <a:cubicBezTo>
                  <a:pt x="3013736" y="5675908"/>
                  <a:pt x="3249414" y="5462919"/>
                  <a:pt x="3249414" y="50369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7" name="Freeform 2457"/>
          <p:cNvSpPr/>
          <p:nvPr/>
        </p:nvSpPr>
        <p:spPr>
          <a:xfrm>
            <a:off x="937905" y="1133985"/>
            <a:ext cx="81582" cy="120688"/>
          </a:xfrm>
          <a:custGeom>
            <a:avLst/>
            <a:gdLst/>
            <a:ahLst/>
            <a:cxnLst/>
            <a:rect l="0" t="0" r="0" b="0"/>
            <a:pathLst>
              <a:path w="6275586" h="9283700">
                <a:moveTo>
                  <a:pt x="6275586" y="8135938"/>
                </a:moveTo>
                <a:cubicBezTo>
                  <a:pt x="5924219" y="8516409"/>
                  <a:pt x="5493214" y="8802820"/>
                  <a:pt x="4982568" y="8995172"/>
                </a:cubicBezTo>
                <a:cubicBezTo>
                  <a:pt x="4472054" y="9187523"/>
                  <a:pt x="3912923" y="9283700"/>
                  <a:pt x="3305175" y="9283700"/>
                </a:cubicBezTo>
                <a:cubicBezTo>
                  <a:pt x="2267479" y="9283700"/>
                  <a:pt x="1461294" y="8962033"/>
                  <a:pt x="886619" y="8318699"/>
                </a:cubicBezTo>
                <a:cubicBezTo>
                  <a:pt x="312077" y="7675365"/>
                  <a:pt x="16537" y="6739335"/>
                  <a:pt x="0" y="5510610"/>
                </a:cubicBezTo>
                <a:lnTo>
                  <a:pt x="0" y="3884811"/>
                </a:lnTo>
                <a:cubicBezTo>
                  <a:pt x="0" y="2639550"/>
                  <a:pt x="271794" y="1680766"/>
                  <a:pt x="815380" y="1008460"/>
                </a:cubicBezTo>
                <a:cubicBezTo>
                  <a:pt x="1359099" y="336154"/>
                  <a:pt x="2151857" y="0"/>
                  <a:pt x="3193654" y="0"/>
                </a:cubicBezTo>
                <a:cubicBezTo>
                  <a:pt x="4173406" y="0"/>
                  <a:pt x="4912321" y="242028"/>
                  <a:pt x="5410399" y="726083"/>
                </a:cubicBezTo>
                <a:cubicBezTo>
                  <a:pt x="5908609" y="1210138"/>
                  <a:pt x="6197005" y="1969294"/>
                  <a:pt x="6275586" y="3003550"/>
                </a:cubicBezTo>
                <a:lnTo>
                  <a:pt x="4501952" y="3003550"/>
                </a:lnTo>
                <a:cubicBezTo>
                  <a:pt x="4452343" y="2428082"/>
                  <a:pt x="4332420" y="2035837"/>
                  <a:pt x="4142185" y="1826816"/>
                </a:cubicBezTo>
                <a:cubicBezTo>
                  <a:pt x="3952082" y="1617663"/>
                  <a:pt x="3654492" y="1513086"/>
                  <a:pt x="3249415" y="1513086"/>
                </a:cubicBezTo>
                <a:cubicBezTo>
                  <a:pt x="2757422" y="1513086"/>
                  <a:pt x="2399771" y="1693135"/>
                  <a:pt x="2176463" y="2053233"/>
                </a:cubicBezTo>
                <a:cubicBezTo>
                  <a:pt x="1953287" y="2413199"/>
                  <a:pt x="1837598" y="2986353"/>
                  <a:pt x="1829396" y="3772694"/>
                </a:cubicBezTo>
                <a:lnTo>
                  <a:pt x="1829396" y="5411590"/>
                </a:lnTo>
                <a:cubicBezTo>
                  <a:pt x="1829396" y="6235237"/>
                  <a:pt x="1952361" y="6834320"/>
                  <a:pt x="2198291" y="7208838"/>
                </a:cubicBezTo>
                <a:cubicBezTo>
                  <a:pt x="2444221" y="7583356"/>
                  <a:pt x="2848306" y="7770615"/>
                  <a:pt x="3410546" y="7770615"/>
                </a:cubicBezTo>
                <a:cubicBezTo>
                  <a:pt x="3770247" y="7770615"/>
                  <a:pt x="4061751" y="7698185"/>
                  <a:pt x="4285060" y="7553325"/>
                </a:cubicBezTo>
                <a:lnTo>
                  <a:pt x="4446191" y="7441605"/>
                </a:lnTo>
                <a:lnTo>
                  <a:pt x="4446191" y="5783660"/>
                </a:lnTo>
                <a:lnTo>
                  <a:pt x="3168849" y="5783660"/>
                </a:lnTo>
                <a:lnTo>
                  <a:pt x="3168849" y="4406900"/>
                </a:lnTo>
                <a:lnTo>
                  <a:pt x="6275586" y="44069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8" name="Freeform 2458"/>
          <p:cNvSpPr/>
          <p:nvPr/>
        </p:nvSpPr>
        <p:spPr>
          <a:xfrm>
            <a:off x="1034889" y="1164198"/>
            <a:ext cx="43369" cy="88823"/>
          </a:xfrm>
          <a:custGeom>
            <a:avLst/>
            <a:gdLst/>
            <a:ahLst/>
            <a:cxnLst/>
            <a:rect l="0" t="0" r="0" b="0"/>
            <a:pathLst>
              <a:path w="3336132" h="6832600">
                <a:moveTo>
                  <a:pt x="3317478" y="1816894"/>
                </a:moveTo>
                <a:lnTo>
                  <a:pt x="2734667" y="1767285"/>
                </a:lnTo>
                <a:cubicBezTo>
                  <a:pt x="2255110" y="1767285"/>
                  <a:pt x="1930599" y="1978092"/>
                  <a:pt x="1761133" y="2399705"/>
                </a:cubicBezTo>
                <a:lnTo>
                  <a:pt x="1761133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655564" y="127000"/>
                </a:lnTo>
                <a:lnTo>
                  <a:pt x="1705174" y="852091"/>
                </a:lnTo>
                <a:cubicBezTo>
                  <a:pt x="1982192" y="284030"/>
                  <a:pt x="2364648" y="0"/>
                  <a:pt x="2852539" y="0"/>
                </a:cubicBezTo>
                <a:cubicBezTo>
                  <a:pt x="3050977" y="0"/>
                  <a:pt x="3212174" y="26855"/>
                  <a:pt x="3336132" y="8056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59" name="Freeform 2459"/>
          <p:cNvSpPr/>
          <p:nvPr/>
        </p:nvSpPr>
        <p:spPr>
          <a:xfrm>
            <a:off x="1084150" y="1164198"/>
            <a:ext cx="70618" cy="9047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60" name="Freeform 2460"/>
          <p:cNvSpPr/>
          <p:nvPr/>
        </p:nvSpPr>
        <p:spPr>
          <a:xfrm>
            <a:off x="1168300" y="1165849"/>
            <a:ext cx="65539" cy="88823"/>
          </a:xfrm>
          <a:custGeom>
            <a:avLst/>
            <a:gdLst/>
            <a:ahLst/>
            <a:cxnLst/>
            <a:rect l="0" t="0" r="0" b="0"/>
            <a:pathLst>
              <a:path w="5041503" h="6832600">
                <a:moveTo>
                  <a:pt x="3342481" y="6094810"/>
                </a:moveTo>
                <a:cubicBezTo>
                  <a:pt x="2978679" y="6586670"/>
                  <a:pt x="2490854" y="6832600"/>
                  <a:pt x="1879005" y="6832600"/>
                </a:cubicBezTo>
                <a:cubicBezTo>
                  <a:pt x="1263055" y="6832600"/>
                  <a:pt x="795867" y="6620802"/>
                  <a:pt x="477441" y="6197204"/>
                </a:cubicBezTo>
                <a:cubicBezTo>
                  <a:pt x="159147" y="5773473"/>
                  <a:pt x="0" y="5156531"/>
                  <a:pt x="0" y="4346377"/>
                </a:cubicBezTo>
                <a:lnTo>
                  <a:pt x="0" y="0"/>
                </a:lnTo>
                <a:lnTo>
                  <a:pt x="1754981" y="0"/>
                </a:lnTo>
                <a:lnTo>
                  <a:pt x="1754981" y="4389636"/>
                </a:lnTo>
                <a:cubicBezTo>
                  <a:pt x="1763183" y="5042628"/>
                  <a:pt x="1980208" y="5369124"/>
                  <a:pt x="2406055" y="5369124"/>
                </a:cubicBezTo>
                <a:cubicBezTo>
                  <a:pt x="2807031" y="5369124"/>
                  <a:pt x="3096419" y="5195557"/>
                  <a:pt x="3274219" y="4848424"/>
                </a:cubicBezTo>
                <a:lnTo>
                  <a:pt x="3274219" y="0"/>
                </a:lnTo>
                <a:lnTo>
                  <a:pt x="5041503" y="0"/>
                </a:lnTo>
                <a:lnTo>
                  <a:pt x="5041503" y="6705600"/>
                </a:lnTo>
                <a:lnTo>
                  <a:pt x="3392091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61" name="Freeform 2461"/>
          <p:cNvSpPr/>
          <p:nvPr/>
        </p:nvSpPr>
        <p:spPr>
          <a:xfrm>
            <a:off x="1250094" y="1164198"/>
            <a:ext cx="67959" cy="122339"/>
          </a:xfrm>
          <a:custGeom>
            <a:avLst/>
            <a:gdLst/>
            <a:ahLst/>
            <a:cxnLst/>
            <a:rect l="0" t="0" r="0" b="0"/>
            <a:pathLst>
              <a:path w="5227637" h="9410700">
                <a:moveTo>
                  <a:pt x="5227637" y="3690740"/>
                </a:moveTo>
                <a:cubicBezTo>
                  <a:pt x="5227637" y="4745236"/>
                  <a:pt x="5046729" y="5553671"/>
                  <a:pt x="4684911" y="6116043"/>
                </a:cubicBezTo>
                <a:cubicBezTo>
                  <a:pt x="4323225" y="6678415"/>
                  <a:pt x="3784798" y="6959600"/>
                  <a:pt x="3069630" y="6959600"/>
                </a:cubicBezTo>
                <a:cubicBezTo>
                  <a:pt x="2523926" y="6959600"/>
                  <a:pt x="2085710" y="6738343"/>
                  <a:pt x="1754981" y="6295827"/>
                </a:cubicBezTo>
                <a:lnTo>
                  <a:pt x="1754981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24608" y="127000"/>
                </a:lnTo>
                <a:lnTo>
                  <a:pt x="1686719" y="738188"/>
                </a:lnTo>
                <a:cubicBezTo>
                  <a:pt x="2021549" y="246063"/>
                  <a:pt x="2478352" y="0"/>
                  <a:pt x="3057128" y="0"/>
                </a:cubicBezTo>
                <a:cubicBezTo>
                  <a:pt x="3772297" y="0"/>
                  <a:pt x="4310724" y="260549"/>
                  <a:pt x="4672409" y="781646"/>
                </a:cubicBezTo>
                <a:cubicBezTo>
                  <a:pt x="5034227" y="1302611"/>
                  <a:pt x="5219303" y="2100660"/>
                  <a:pt x="5227637" y="3175794"/>
                </a:cubicBezTo>
                <a:close/>
                <a:moveTo>
                  <a:pt x="3478808" y="3250208"/>
                </a:moveTo>
                <a:cubicBezTo>
                  <a:pt x="3478808" y="2600789"/>
                  <a:pt x="3407502" y="2141670"/>
                  <a:pt x="3264892" y="1872854"/>
                </a:cubicBezTo>
                <a:cubicBezTo>
                  <a:pt x="3122282" y="1604037"/>
                  <a:pt x="2881444" y="1469629"/>
                  <a:pt x="2542381" y="1469629"/>
                </a:cubicBezTo>
                <a:cubicBezTo>
                  <a:pt x="2182812" y="1469629"/>
                  <a:pt x="1920346" y="1620573"/>
                  <a:pt x="1754981" y="1922463"/>
                </a:cubicBezTo>
                <a:lnTo>
                  <a:pt x="1754981" y="5067896"/>
                </a:lnTo>
                <a:cubicBezTo>
                  <a:pt x="1912011" y="5357482"/>
                  <a:pt x="2178645" y="5502275"/>
                  <a:pt x="2554883" y="5502275"/>
                </a:cubicBezTo>
                <a:cubicBezTo>
                  <a:pt x="2902148" y="5502275"/>
                  <a:pt x="3142919" y="5355432"/>
                  <a:pt x="3277195" y="5061744"/>
                </a:cubicBezTo>
                <a:cubicBezTo>
                  <a:pt x="3411604" y="4768057"/>
                  <a:pt x="3478808" y="4311055"/>
                  <a:pt x="3478808" y="36907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62" name="Freeform 2462"/>
          <p:cNvSpPr/>
          <p:nvPr/>
        </p:nvSpPr>
        <p:spPr>
          <a:xfrm>
            <a:off x="1371161" y="1122758"/>
            <a:ext cx="39180" cy="166916"/>
          </a:xfrm>
          <a:custGeom>
            <a:avLst/>
            <a:gdLst/>
            <a:ahLst/>
            <a:cxnLst/>
            <a:rect l="0" t="0" r="0" b="0"/>
            <a:pathLst>
              <a:path w="3013869" h="12839700">
                <a:moveTo>
                  <a:pt x="0" y="6345436"/>
                </a:moveTo>
                <a:cubicBezTo>
                  <a:pt x="0" y="5419130"/>
                  <a:pt x="108479" y="4530064"/>
                  <a:pt x="325438" y="3678238"/>
                </a:cubicBezTo>
                <a:cubicBezTo>
                  <a:pt x="542528" y="2826412"/>
                  <a:pt x="867106" y="2064544"/>
                  <a:pt x="1299170" y="1392635"/>
                </a:cubicBezTo>
                <a:cubicBezTo>
                  <a:pt x="1731235" y="720593"/>
                  <a:pt x="2193197" y="256382"/>
                  <a:pt x="2685058" y="0"/>
                </a:cubicBezTo>
                <a:lnTo>
                  <a:pt x="3013869" y="967582"/>
                </a:lnTo>
                <a:cubicBezTo>
                  <a:pt x="2546615" y="1405996"/>
                  <a:pt x="2176529" y="2079030"/>
                  <a:pt x="1903611" y="2986683"/>
                </a:cubicBezTo>
                <a:cubicBezTo>
                  <a:pt x="1630826" y="3894336"/>
                  <a:pt x="1488281" y="4943608"/>
                  <a:pt x="1475978" y="6134497"/>
                </a:cubicBezTo>
                <a:lnTo>
                  <a:pt x="1475978" y="6506766"/>
                </a:lnTo>
                <a:cubicBezTo>
                  <a:pt x="1475978" y="7747265"/>
                  <a:pt x="1611313" y="8837878"/>
                  <a:pt x="1881981" y="9778604"/>
                </a:cubicBezTo>
                <a:cubicBezTo>
                  <a:pt x="2152782" y="10719329"/>
                  <a:pt x="2530078" y="11421268"/>
                  <a:pt x="3013869" y="11884421"/>
                </a:cubicBezTo>
                <a:lnTo>
                  <a:pt x="2685058" y="12839700"/>
                </a:lnTo>
                <a:cubicBezTo>
                  <a:pt x="2197299" y="12583318"/>
                  <a:pt x="1739437" y="12126383"/>
                  <a:pt x="1311474" y="11468893"/>
                </a:cubicBezTo>
                <a:cubicBezTo>
                  <a:pt x="883642" y="10811404"/>
                  <a:pt x="560189" y="10062964"/>
                  <a:pt x="341114" y="9223574"/>
                </a:cubicBezTo>
                <a:cubicBezTo>
                  <a:pt x="122039" y="8384051"/>
                  <a:pt x="8335" y="7509405"/>
                  <a:pt x="0" y="659963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63" name="Freeform 2463"/>
          <p:cNvSpPr/>
          <p:nvPr/>
        </p:nvSpPr>
        <p:spPr>
          <a:xfrm>
            <a:off x="1424246" y="1135636"/>
            <a:ext cx="67394" cy="117386"/>
          </a:xfrm>
          <a:custGeom>
            <a:avLst/>
            <a:gdLst/>
            <a:ahLst/>
            <a:cxnLst/>
            <a:rect l="0" t="0" r="0" b="0"/>
            <a:pathLst>
              <a:path w="5184180" h="9029700">
                <a:moveTo>
                  <a:pt x="4663281" y="5127229"/>
                </a:moveTo>
                <a:lnTo>
                  <a:pt x="1823244" y="5127229"/>
                </a:lnTo>
                <a:lnTo>
                  <a:pt x="1823244" y="7516615"/>
                </a:lnTo>
                <a:lnTo>
                  <a:pt x="5184180" y="7516615"/>
                </a:lnTo>
                <a:lnTo>
                  <a:pt x="5184180" y="9029700"/>
                </a:lnTo>
                <a:lnTo>
                  <a:pt x="0" y="9029700"/>
                </a:lnTo>
                <a:lnTo>
                  <a:pt x="0" y="0"/>
                </a:lnTo>
                <a:lnTo>
                  <a:pt x="5171877" y="0"/>
                </a:lnTo>
                <a:lnTo>
                  <a:pt x="5171877" y="1519238"/>
                </a:lnTo>
                <a:lnTo>
                  <a:pt x="1823244" y="1519238"/>
                </a:lnTo>
                <a:lnTo>
                  <a:pt x="1823244" y="3657600"/>
                </a:lnTo>
                <a:lnTo>
                  <a:pt x="4663281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64" name="Freeform 2464"/>
          <p:cNvSpPr/>
          <p:nvPr/>
        </p:nvSpPr>
        <p:spPr>
          <a:xfrm>
            <a:off x="1505228" y="1135636"/>
            <a:ext cx="78597" cy="117386"/>
          </a:xfrm>
          <a:custGeom>
            <a:avLst/>
            <a:gdLst/>
            <a:ahLst/>
            <a:cxnLst/>
            <a:rect l="0" t="0" r="0" b="0"/>
            <a:pathLst>
              <a:path w="6045994" h="9029700">
                <a:moveTo>
                  <a:pt x="2728516" y="5735638"/>
                </a:moveTo>
                <a:lnTo>
                  <a:pt x="1823045" y="5735638"/>
                </a:lnTo>
                <a:lnTo>
                  <a:pt x="1823045" y="9029700"/>
                </a:lnTo>
                <a:lnTo>
                  <a:pt x="0" y="9029700"/>
                </a:lnTo>
                <a:lnTo>
                  <a:pt x="0" y="0"/>
                </a:lnTo>
                <a:lnTo>
                  <a:pt x="2908300" y="0"/>
                </a:lnTo>
                <a:cubicBezTo>
                  <a:pt x="3821906" y="0"/>
                  <a:pt x="4527748" y="236935"/>
                  <a:pt x="5025827" y="710804"/>
                </a:cubicBezTo>
                <a:cubicBezTo>
                  <a:pt x="5524037" y="1184540"/>
                  <a:pt x="5773142" y="1858037"/>
                  <a:pt x="5773142" y="2731294"/>
                </a:cubicBezTo>
                <a:cubicBezTo>
                  <a:pt x="5773142" y="3931312"/>
                  <a:pt x="5337043" y="4771364"/>
                  <a:pt x="4464844" y="5251450"/>
                </a:cubicBezTo>
                <a:lnTo>
                  <a:pt x="6045994" y="8942983"/>
                </a:lnTo>
                <a:lnTo>
                  <a:pt x="6045994" y="9029700"/>
                </a:lnTo>
                <a:lnTo>
                  <a:pt x="4086423" y="9029700"/>
                </a:lnTo>
                <a:close/>
                <a:moveTo>
                  <a:pt x="1823045" y="4216400"/>
                </a:moveTo>
                <a:lnTo>
                  <a:pt x="2858691" y="4216400"/>
                </a:lnTo>
                <a:cubicBezTo>
                  <a:pt x="3222493" y="4216400"/>
                  <a:pt x="3495344" y="4095221"/>
                  <a:pt x="3677245" y="3852863"/>
                </a:cubicBezTo>
                <a:cubicBezTo>
                  <a:pt x="3859146" y="3610505"/>
                  <a:pt x="3950097" y="3286324"/>
                  <a:pt x="3950097" y="2880321"/>
                </a:cubicBezTo>
                <a:cubicBezTo>
                  <a:pt x="3950097" y="1972932"/>
                  <a:pt x="3596613" y="1519238"/>
                  <a:pt x="2889647" y="1519238"/>
                </a:cubicBezTo>
                <a:lnTo>
                  <a:pt x="1823045" y="1519238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65" name="Freeform 2465"/>
          <p:cNvSpPr/>
          <p:nvPr/>
        </p:nvSpPr>
        <p:spPr>
          <a:xfrm>
            <a:off x="1594673" y="1133985"/>
            <a:ext cx="81582" cy="120688"/>
          </a:xfrm>
          <a:custGeom>
            <a:avLst/>
            <a:gdLst/>
            <a:ahLst/>
            <a:cxnLst/>
            <a:rect l="0" t="0" r="0" b="0"/>
            <a:pathLst>
              <a:path w="6275586" h="9283700">
                <a:moveTo>
                  <a:pt x="6275586" y="8135938"/>
                </a:moveTo>
                <a:cubicBezTo>
                  <a:pt x="5924219" y="8516409"/>
                  <a:pt x="5493214" y="8802820"/>
                  <a:pt x="4982568" y="8995172"/>
                </a:cubicBezTo>
                <a:cubicBezTo>
                  <a:pt x="4472054" y="9187523"/>
                  <a:pt x="3912923" y="9283700"/>
                  <a:pt x="3305175" y="9283700"/>
                </a:cubicBezTo>
                <a:cubicBezTo>
                  <a:pt x="2267479" y="9283700"/>
                  <a:pt x="1461294" y="8962033"/>
                  <a:pt x="886619" y="8318699"/>
                </a:cubicBezTo>
                <a:cubicBezTo>
                  <a:pt x="312077" y="7675365"/>
                  <a:pt x="16537" y="6739335"/>
                  <a:pt x="0" y="5510610"/>
                </a:cubicBezTo>
                <a:lnTo>
                  <a:pt x="0" y="3884811"/>
                </a:lnTo>
                <a:cubicBezTo>
                  <a:pt x="0" y="2639550"/>
                  <a:pt x="271794" y="1680766"/>
                  <a:pt x="815380" y="1008460"/>
                </a:cubicBezTo>
                <a:cubicBezTo>
                  <a:pt x="1359099" y="336154"/>
                  <a:pt x="2151857" y="0"/>
                  <a:pt x="3193654" y="0"/>
                </a:cubicBezTo>
                <a:cubicBezTo>
                  <a:pt x="4173406" y="0"/>
                  <a:pt x="4912321" y="242028"/>
                  <a:pt x="5410399" y="726083"/>
                </a:cubicBezTo>
                <a:cubicBezTo>
                  <a:pt x="5908609" y="1210138"/>
                  <a:pt x="6197005" y="1969294"/>
                  <a:pt x="6275586" y="3003550"/>
                </a:cubicBezTo>
                <a:lnTo>
                  <a:pt x="4501952" y="3003550"/>
                </a:lnTo>
                <a:cubicBezTo>
                  <a:pt x="4452343" y="2428082"/>
                  <a:pt x="4332420" y="2035837"/>
                  <a:pt x="4142185" y="1826816"/>
                </a:cubicBezTo>
                <a:cubicBezTo>
                  <a:pt x="3952082" y="1617663"/>
                  <a:pt x="3654492" y="1513086"/>
                  <a:pt x="3249415" y="1513086"/>
                </a:cubicBezTo>
                <a:cubicBezTo>
                  <a:pt x="2757422" y="1513086"/>
                  <a:pt x="2399771" y="1693135"/>
                  <a:pt x="2176463" y="2053233"/>
                </a:cubicBezTo>
                <a:cubicBezTo>
                  <a:pt x="1953287" y="2413199"/>
                  <a:pt x="1837598" y="2986353"/>
                  <a:pt x="1829396" y="3772694"/>
                </a:cubicBezTo>
                <a:lnTo>
                  <a:pt x="1829396" y="5411590"/>
                </a:lnTo>
                <a:cubicBezTo>
                  <a:pt x="1829396" y="6235237"/>
                  <a:pt x="1952361" y="6834320"/>
                  <a:pt x="2198291" y="7208838"/>
                </a:cubicBezTo>
                <a:cubicBezTo>
                  <a:pt x="2444221" y="7583356"/>
                  <a:pt x="2848306" y="7770615"/>
                  <a:pt x="3410546" y="7770615"/>
                </a:cubicBezTo>
                <a:cubicBezTo>
                  <a:pt x="3770247" y="7770615"/>
                  <a:pt x="4061751" y="7698185"/>
                  <a:pt x="4285060" y="7553325"/>
                </a:cubicBezTo>
                <a:lnTo>
                  <a:pt x="4446191" y="7441605"/>
                </a:lnTo>
                <a:lnTo>
                  <a:pt x="4446191" y="5783660"/>
                </a:lnTo>
                <a:lnTo>
                  <a:pt x="3168849" y="5783660"/>
                </a:lnTo>
                <a:lnTo>
                  <a:pt x="3168849" y="4406900"/>
                </a:lnTo>
                <a:lnTo>
                  <a:pt x="6275586" y="44069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66" name="Freeform 2466"/>
          <p:cNvSpPr/>
          <p:nvPr/>
        </p:nvSpPr>
        <p:spPr>
          <a:xfrm>
            <a:off x="1687947" y="1122758"/>
            <a:ext cx="40307" cy="166916"/>
          </a:xfrm>
          <a:custGeom>
            <a:avLst/>
            <a:gdLst/>
            <a:ahLst/>
            <a:cxnLst/>
            <a:rect l="0" t="0" r="0" b="0"/>
            <a:pathLst>
              <a:path w="3100586" h="12839700">
                <a:moveTo>
                  <a:pt x="3100586" y="6494265"/>
                </a:moveTo>
                <a:cubicBezTo>
                  <a:pt x="3100586" y="7457745"/>
                  <a:pt x="2977555" y="8369565"/>
                  <a:pt x="2731492" y="9229725"/>
                </a:cubicBezTo>
                <a:cubicBezTo>
                  <a:pt x="2485562" y="10089885"/>
                  <a:pt x="2144514" y="10844543"/>
                  <a:pt x="1708349" y="11493698"/>
                </a:cubicBezTo>
                <a:cubicBezTo>
                  <a:pt x="1272315" y="12142985"/>
                  <a:pt x="810353" y="12591653"/>
                  <a:pt x="322461" y="12839700"/>
                </a:cubicBezTo>
                <a:lnTo>
                  <a:pt x="0" y="11884421"/>
                </a:lnTo>
                <a:cubicBezTo>
                  <a:pt x="471355" y="11433704"/>
                  <a:pt x="843426" y="10744200"/>
                  <a:pt x="1116211" y="9815910"/>
                </a:cubicBezTo>
                <a:cubicBezTo>
                  <a:pt x="1389129" y="8887487"/>
                  <a:pt x="1529689" y="7836099"/>
                  <a:pt x="1537891" y="6661746"/>
                </a:cubicBezTo>
                <a:lnTo>
                  <a:pt x="1537891" y="6332935"/>
                </a:lnTo>
                <a:cubicBezTo>
                  <a:pt x="1537891" y="5129610"/>
                  <a:pt x="1402490" y="4053483"/>
                  <a:pt x="1131689" y="3104555"/>
                </a:cubicBezTo>
                <a:cubicBezTo>
                  <a:pt x="860888" y="2155495"/>
                  <a:pt x="483658" y="1439069"/>
                  <a:pt x="0" y="955279"/>
                </a:cubicBezTo>
                <a:lnTo>
                  <a:pt x="322461" y="0"/>
                </a:lnTo>
                <a:cubicBezTo>
                  <a:pt x="640755" y="161264"/>
                  <a:pt x="966325" y="430080"/>
                  <a:pt x="1299170" y="806450"/>
                </a:cubicBezTo>
                <a:cubicBezTo>
                  <a:pt x="1632016" y="1182688"/>
                  <a:pt x="1932781" y="1647891"/>
                  <a:pt x="2201466" y="2202061"/>
                </a:cubicBezTo>
                <a:cubicBezTo>
                  <a:pt x="2470150" y="2756099"/>
                  <a:pt x="2687175" y="3379457"/>
                  <a:pt x="2852539" y="4072136"/>
                </a:cubicBezTo>
                <a:cubicBezTo>
                  <a:pt x="3017904" y="4764815"/>
                  <a:pt x="3100586" y="5572192"/>
                  <a:pt x="3100586" y="649426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6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67" name="Rectangle 2467"/>
          <p:cNvSpPr/>
          <p:nvPr/>
        </p:nvSpPr>
        <p:spPr>
          <a:xfrm>
            <a:off x="321249" y="2964729"/>
            <a:ext cx="2136775" cy="819150"/>
          </a:xfrm>
          <a:prstGeom prst="rect">
            <a:avLst/>
          </a:prstGeom>
        </p:spPr>
      </p:sp>
      <p:sp>
        <p:nvSpPr>
          <p:cNvPr id="2468" name="Freeform 2468"/>
          <p:cNvSpPr/>
          <p:nvPr/>
        </p:nvSpPr>
        <p:spPr>
          <a:xfrm>
            <a:off x="581941" y="2995082"/>
            <a:ext cx="74787" cy="90296"/>
          </a:xfrm>
          <a:custGeom>
            <a:avLst/>
            <a:gdLst/>
            <a:ahLst/>
            <a:cxnLst/>
            <a:rect l="0" t="0" r="0" b="0"/>
            <a:pathLst>
              <a:path w="7478713" h="9029700">
                <a:moveTo>
                  <a:pt x="2933105" y="5343525"/>
                </a:moveTo>
                <a:lnTo>
                  <a:pt x="1860352" y="534352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19500"/>
                </a:lnTo>
                <a:lnTo>
                  <a:pt x="2709863" y="3619500"/>
                </a:lnTo>
                <a:lnTo>
                  <a:pt x="4917480" y="0"/>
                </a:lnTo>
                <a:lnTo>
                  <a:pt x="7187208" y="0"/>
                </a:lnTo>
                <a:lnTo>
                  <a:pt x="4402931" y="4276924"/>
                </a:lnTo>
                <a:lnTo>
                  <a:pt x="7478713" y="9029700"/>
                </a:lnTo>
                <a:lnTo>
                  <a:pt x="5258594" y="90297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69" name="Freeform 2469"/>
          <p:cNvSpPr/>
          <p:nvPr/>
        </p:nvSpPr>
        <p:spPr>
          <a:xfrm>
            <a:off x="662554" y="3017053"/>
            <a:ext cx="60398" cy="94106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0" name="Freeform 2470"/>
          <p:cNvSpPr/>
          <p:nvPr/>
        </p:nvSpPr>
        <p:spPr>
          <a:xfrm>
            <a:off x="731138" y="301705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1" name="Freeform 2471"/>
          <p:cNvSpPr/>
          <p:nvPr/>
        </p:nvSpPr>
        <p:spPr>
          <a:xfrm>
            <a:off x="806862" y="3018323"/>
            <a:ext cx="79684" cy="67055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2" name="Freeform 2472"/>
          <p:cNvSpPr/>
          <p:nvPr/>
        </p:nvSpPr>
        <p:spPr>
          <a:xfrm>
            <a:off x="899657" y="3017053"/>
            <a:ext cx="60896" cy="6959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3" name="Freeform 2473"/>
          <p:cNvSpPr/>
          <p:nvPr/>
        </p:nvSpPr>
        <p:spPr>
          <a:xfrm>
            <a:off x="997318" y="3018323"/>
            <a:ext cx="60646" cy="67055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4" name="Freeform 2474"/>
          <p:cNvSpPr/>
          <p:nvPr/>
        </p:nvSpPr>
        <p:spPr>
          <a:xfrm>
            <a:off x="1062354" y="301705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5" name="Freeform 2475"/>
          <p:cNvSpPr/>
          <p:nvPr/>
        </p:nvSpPr>
        <p:spPr>
          <a:xfrm>
            <a:off x="1136899" y="3018323"/>
            <a:ext cx="45702" cy="67055"/>
          </a:xfrm>
          <a:custGeom>
            <a:avLst/>
            <a:gdLst/>
            <a:ahLst/>
            <a:cxnLst/>
            <a:rect l="0" t="0" r="0" b="0"/>
            <a:pathLst>
              <a:path w="4570214" h="6705600">
                <a:moveTo>
                  <a:pt x="4570214" y="1451174"/>
                </a:move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5702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6" name="Freeform 2476"/>
          <p:cNvSpPr/>
          <p:nvPr/>
        </p:nvSpPr>
        <p:spPr>
          <a:xfrm>
            <a:off x="1186052" y="301705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7" name="Freeform 2477"/>
          <p:cNvSpPr/>
          <p:nvPr/>
        </p:nvSpPr>
        <p:spPr>
          <a:xfrm>
            <a:off x="1255884" y="3070123"/>
            <a:ext cx="21641" cy="37861"/>
          </a:xfrm>
          <a:custGeom>
            <a:avLst/>
            <a:gdLst/>
            <a:ahLst/>
            <a:cxnLst/>
            <a:rect l="0" t="0" r="0" b="0"/>
            <a:pathLst>
              <a:path w="2164160" h="3786187">
                <a:moveTo>
                  <a:pt x="936427" y="3786187"/>
                </a:moveTo>
                <a:lnTo>
                  <a:pt x="0" y="3296641"/>
                </a:lnTo>
                <a:lnTo>
                  <a:pt x="223242" y="2893813"/>
                </a:lnTo>
                <a:cubicBezTo>
                  <a:pt x="500261" y="2389782"/>
                  <a:pt x="642871" y="1887867"/>
                  <a:pt x="651074" y="1388070"/>
                </a:cubicBezTo>
                <a:lnTo>
                  <a:pt x="651074" y="0"/>
                </a:lnTo>
                <a:lnTo>
                  <a:pt x="2164160" y="0"/>
                </a:lnTo>
                <a:lnTo>
                  <a:pt x="2158008" y="1239441"/>
                </a:lnTo>
                <a:cubicBezTo>
                  <a:pt x="2153907" y="1697963"/>
                  <a:pt x="2038152" y="2160587"/>
                  <a:pt x="1810742" y="2627312"/>
                </a:cubicBezTo>
                <a:cubicBezTo>
                  <a:pt x="1583333" y="3094169"/>
                  <a:pt x="1291894" y="3480460"/>
                  <a:pt x="936427" y="378618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8" name="Freeform 2478"/>
          <p:cNvSpPr/>
          <p:nvPr/>
        </p:nvSpPr>
        <p:spPr>
          <a:xfrm>
            <a:off x="1324387" y="3018323"/>
            <a:ext cx="63623" cy="67055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79" name="Freeform 2479"/>
          <p:cNvSpPr/>
          <p:nvPr/>
        </p:nvSpPr>
        <p:spPr>
          <a:xfrm>
            <a:off x="1388490" y="301705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0" name="Freeform 2480"/>
          <p:cNvSpPr/>
          <p:nvPr/>
        </p:nvSpPr>
        <p:spPr>
          <a:xfrm>
            <a:off x="1464214" y="3018323"/>
            <a:ext cx="79684" cy="67055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1" name="Freeform 2481"/>
          <p:cNvSpPr/>
          <p:nvPr/>
        </p:nvSpPr>
        <p:spPr>
          <a:xfrm>
            <a:off x="1559428" y="3018323"/>
            <a:ext cx="58352" cy="67055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2" name="Freeform 2482"/>
          <p:cNvSpPr/>
          <p:nvPr/>
        </p:nvSpPr>
        <p:spPr>
          <a:xfrm>
            <a:off x="1628770" y="3017053"/>
            <a:ext cx="59656" cy="6959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3" name="Freeform 2483"/>
          <p:cNvSpPr/>
          <p:nvPr/>
        </p:nvSpPr>
        <p:spPr>
          <a:xfrm>
            <a:off x="1699509" y="301832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4" name="Freeform 2484"/>
          <p:cNvSpPr/>
          <p:nvPr/>
        </p:nvSpPr>
        <p:spPr>
          <a:xfrm>
            <a:off x="1771518" y="3018323"/>
            <a:ext cx="58352" cy="67055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5" name="Freeform 2485"/>
          <p:cNvSpPr/>
          <p:nvPr/>
        </p:nvSpPr>
        <p:spPr>
          <a:xfrm>
            <a:off x="1839185" y="3018323"/>
            <a:ext cx="60275" cy="67055"/>
          </a:xfrm>
          <a:custGeom>
            <a:avLst/>
            <a:gdLst/>
            <a:ahLst/>
            <a:cxnLst/>
            <a:rect l="0" t="0" r="0" b="0"/>
            <a:pathLst>
              <a:path w="6027539" h="6705600">
                <a:moveTo>
                  <a:pt x="6027539" y="0"/>
                </a:moveTo>
                <a:lnTo>
                  <a:pt x="6027539" y="6705600"/>
                </a:lnTo>
                <a:lnTo>
                  <a:pt x="4241602" y="6705600"/>
                </a:lnTo>
                <a:lnTo>
                  <a:pt x="4241602" y="4389636"/>
                </a:lnTo>
                <a:lnTo>
                  <a:pt x="3106936" y="4389636"/>
                </a:lnTo>
                <a:lnTo>
                  <a:pt x="1817092" y="6705600"/>
                </a:lnTo>
                <a:lnTo>
                  <a:pt x="0" y="6705600"/>
                </a:lnTo>
                <a:lnTo>
                  <a:pt x="1463477" y="4085829"/>
                </a:lnTo>
                <a:cubicBezTo>
                  <a:pt x="1062500" y="3899827"/>
                  <a:pt x="753467" y="3647679"/>
                  <a:pt x="536377" y="3329385"/>
                </a:cubicBezTo>
                <a:cubicBezTo>
                  <a:pt x="319418" y="3011091"/>
                  <a:pt x="210939" y="2649406"/>
                  <a:pt x="210939" y="2244329"/>
                </a:cubicBezTo>
                <a:cubicBezTo>
                  <a:pt x="210939" y="1595438"/>
                  <a:pt x="462095" y="1063295"/>
                  <a:pt x="964406" y="647899"/>
                </a:cubicBezTo>
                <a:cubicBezTo>
                  <a:pt x="1466718" y="232503"/>
                  <a:pt x="2139553" y="16537"/>
                  <a:pt x="2982912" y="0"/>
                </a:cubicBezTo>
                <a:close/>
                <a:moveTo>
                  <a:pt x="3013869" y="3136900"/>
                </a:moveTo>
                <a:lnTo>
                  <a:pt x="4241602" y="3136900"/>
                </a:lnTo>
                <a:lnTo>
                  <a:pt x="4241602" y="1438672"/>
                </a:lnTo>
                <a:lnTo>
                  <a:pt x="3075781" y="1438672"/>
                </a:lnTo>
                <a:cubicBezTo>
                  <a:pt x="2757487" y="1438672"/>
                  <a:pt x="2499122" y="1522347"/>
                  <a:pt x="2300684" y="1689696"/>
                </a:cubicBezTo>
                <a:cubicBezTo>
                  <a:pt x="2102247" y="1857045"/>
                  <a:pt x="2003028" y="2060575"/>
                  <a:pt x="2003028" y="2300288"/>
                </a:cubicBezTo>
                <a:cubicBezTo>
                  <a:pt x="2003028" y="2539868"/>
                  <a:pt x="2098080" y="2738173"/>
                  <a:pt x="2288183" y="2895204"/>
                </a:cubicBezTo>
                <a:cubicBezTo>
                  <a:pt x="2478418" y="3052234"/>
                  <a:pt x="2720314" y="3132800"/>
                  <a:pt x="3013869" y="313690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6" name="Freeform 2486"/>
          <p:cNvSpPr/>
          <p:nvPr/>
        </p:nvSpPr>
        <p:spPr>
          <a:xfrm>
            <a:off x="1947322" y="2995082"/>
            <a:ext cx="67095" cy="90296"/>
          </a:xfrm>
          <a:custGeom>
            <a:avLst/>
            <a:gdLst/>
            <a:ahLst/>
            <a:cxnLst/>
            <a:rect l="0" t="0" r="0" b="0"/>
            <a:pathLst>
              <a:path w="6709569" h="9029700">
                <a:moveTo>
                  <a:pt x="0" y="9029700"/>
                </a:moveTo>
                <a:lnTo>
                  <a:pt x="0" y="0"/>
                </a:lnTo>
                <a:lnTo>
                  <a:pt x="3162499" y="0"/>
                </a:lnTo>
                <a:cubicBezTo>
                  <a:pt x="4258006" y="0"/>
                  <a:pt x="5088930" y="209881"/>
                  <a:pt x="5655270" y="629643"/>
                </a:cubicBezTo>
                <a:cubicBezTo>
                  <a:pt x="6221744" y="1049404"/>
                  <a:pt x="6504980" y="1664627"/>
                  <a:pt x="6504980" y="2475310"/>
                </a:cubicBezTo>
                <a:cubicBezTo>
                  <a:pt x="6504980" y="2917825"/>
                  <a:pt x="6391275" y="3307623"/>
                  <a:pt x="6163866" y="3644702"/>
                </a:cubicBezTo>
                <a:cubicBezTo>
                  <a:pt x="5936456" y="3981781"/>
                  <a:pt x="5620213" y="4228902"/>
                  <a:pt x="5215136" y="4386065"/>
                </a:cubicBezTo>
                <a:cubicBezTo>
                  <a:pt x="5678157" y="4501820"/>
                  <a:pt x="6042951" y="4735381"/>
                  <a:pt x="6309519" y="5086747"/>
                </a:cubicBezTo>
                <a:cubicBezTo>
                  <a:pt x="6576219" y="5437982"/>
                  <a:pt x="6709569" y="5867797"/>
                  <a:pt x="6709569" y="6376194"/>
                </a:cubicBezTo>
                <a:cubicBezTo>
                  <a:pt x="6709569" y="7244160"/>
                  <a:pt x="6432550" y="7901385"/>
                  <a:pt x="5878513" y="8347869"/>
                </a:cubicBezTo>
                <a:cubicBezTo>
                  <a:pt x="5324607" y="8794221"/>
                  <a:pt x="4535024" y="9021498"/>
                  <a:pt x="3509764" y="9029700"/>
                </a:cubicBezTo>
                <a:close/>
                <a:moveTo>
                  <a:pt x="1860352" y="5099249"/>
                </a:moveTo>
                <a:lnTo>
                  <a:pt x="1860352" y="7535268"/>
                </a:lnTo>
                <a:lnTo>
                  <a:pt x="3454003" y="7535268"/>
                </a:lnTo>
                <a:cubicBezTo>
                  <a:pt x="3892153" y="7535268"/>
                  <a:pt x="4234193" y="7430956"/>
                  <a:pt x="4480124" y="7222332"/>
                </a:cubicBezTo>
                <a:cubicBezTo>
                  <a:pt x="4726186" y="7013575"/>
                  <a:pt x="4849217" y="6725312"/>
                  <a:pt x="4849217" y="6357541"/>
                </a:cubicBezTo>
                <a:cubicBezTo>
                  <a:pt x="4849217" y="5531115"/>
                  <a:pt x="4421320" y="5111684"/>
                  <a:pt x="3565525" y="5099249"/>
                </a:cubicBezTo>
                <a:close/>
                <a:moveTo>
                  <a:pt x="1860352" y="3784600"/>
                </a:moveTo>
                <a:lnTo>
                  <a:pt x="3236913" y="3784600"/>
                </a:lnTo>
                <a:cubicBezTo>
                  <a:pt x="4175390" y="3768064"/>
                  <a:pt x="4644628" y="3393612"/>
                  <a:pt x="4644628" y="2661246"/>
                </a:cubicBezTo>
                <a:cubicBezTo>
                  <a:pt x="4644628" y="2251671"/>
                  <a:pt x="4525764" y="1956925"/>
                  <a:pt x="4288036" y="1777008"/>
                </a:cubicBezTo>
                <a:cubicBezTo>
                  <a:pt x="4050308" y="1596960"/>
                  <a:pt x="3675129" y="1506935"/>
                  <a:pt x="3162499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7" name="Freeform 2487"/>
          <p:cNvSpPr/>
          <p:nvPr/>
        </p:nvSpPr>
        <p:spPr>
          <a:xfrm>
            <a:off x="2021115" y="2995082"/>
            <a:ext cx="73546" cy="90296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8" name="Freeform 2488"/>
          <p:cNvSpPr/>
          <p:nvPr/>
        </p:nvSpPr>
        <p:spPr>
          <a:xfrm>
            <a:off x="2100510" y="2993812"/>
            <a:ext cx="69268" cy="92836"/>
          </a:xfrm>
          <a:custGeom>
            <a:avLst/>
            <a:gdLst/>
            <a:ahLst/>
            <a:cxnLst/>
            <a:rect l="0" t="0" r="0" b="0"/>
            <a:pathLst>
              <a:path w="6926858" h="9283700">
                <a:moveTo>
                  <a:pt x="5060156" y="6789738"/>
                </a:moveTo>
                <a:cubicBezTo>
                  <a:pt x="5060156" y="6437974"/>
                  <a:pt x="4936133" y="6167967"/>
                  <a:pt x="4688086" y="5979716"/>
                </a:cubicBezTo>
                <a:cubicBezTo>
                  <a:pt x="4440039" y="5791333"/>
                  <a:pt x="3993554" y="5592631"/>
                  <a:pt x="3348633" y="5383610"/>
                </a:cubicBezTo>
                <a:cubicBezTo>
                  <a:pt x="2703711" y="5174589"/>
                  <a:pt x="2193197" y="4968743"/>
                  <a:pt x="1817092" y="4766072"/>
                </a:cubicBezTo>
                <a:cubicBezTo>
                  <a:pt x="791832" y="4211638"/>
                  <a:pt x="279201" y="3464851"/>
                  <a:pt x="279201" y="2525713"/>
                </a:cubicBezTo>
                <a:cubicBezTo>
                  <a:pt x="279201" y="2037557"/>
                  <a:pt x="416652" y="1602119"/>
                  <a:pt x="691554" y="1219399"/>
                </a:cubicBezTo>
                <a:cubicBezTo>
                  <a:pt x="966457" y="836679"/>
                  <a:pt x="1361215" y="537766"/>
                  <a:pt x="1875829" y="322660"/>
                </a:cubicBezTo>
                <a:cubicBezTo>
                  <a:pt x="2390576" y="107554"/>
                  <a:pt x="2968360" y="0"/>
                  <a:pt x="3609181" y="0"/>
                </a:cubicBezTo>
                <a:cubicBezTo>
                  <a:pt x="4254103" y="0"/>
                  <a:pt x="4828712" y="116880"/>
                  <a:pt x="5333008" y="350640"/>
                </a:cubicBezTo>
                <a:cubicBezTo>
                  <a:pt x="5837436" y="584399"/>
                  <a:pt x="6229151" y="914335"/>
                  <a:pt x="6508154" y="1340446"/>
                </a:cubicBezTo>
                <a:cubicBezTo>
                  <a:pt x="6787290" y="1766557"/>
                  <a:pt x="6926858" y="2250613"/>
                  <a:pt x="6926858" y="2792611"/>
                </a:cubicBezTo>
                <a:lnTo>
                  <a:pt x="5066506" y="2792611"/>
                </a:lnTo>
                <a:cubicBezTo>
                  <a:pt x="5066506" y="2378538"/>
                  <a:pt x="4936265" y="2056607"/>
                  <a:pt x="4675783" y="1826816"/>
                </a:cubicBezTo>
                <a:cubicBezTo>
                  <a:pt x="4415300" y="1597025"/>
                  <a:pt x="4049448" y="1482130"/>
                  <a:pt x="3578225" y="1482130"/>
                </a:cubicBezTo>
                <a:cubicBezTo>
                  <a:pt x="3123406" y="1482130"/>
                  <a:pt x="2769923" y="1578438"/>
                  <a:pt x="2517775" y="1771055"/>
                </a:cubicBezTo>
                <a:cubicBezTo>
                  <a:pt x="2265627" y="1963540"/>
                  <a:pt x="2139553" y="2217143"/>
                  <a:pt x="2139553" y="2531865"/>
                </a:cubicBezTo>
                <a:cubicBezTo>
                  <a:pt x="2139553" y="2825949"/>
                  <a:pt x="2287323" y="3072408"/>
                  <a:pt x="2582862" y="3271243"/>
                </a:cubicBezTo>
                <a:cubicBezTo>
                  <a:pt x="2878402" y="3469945"/>
                  <a:pt x="3313509" y="3656145"/>
                  <a:pt x="3888184" y="3829844"/>
                </a:cubicBezTo>
                <a:cubicBezTo>
                  <a:pt x="4946518" y="4148403"/>
                  <a:pt x="5717513" y="4543492"/>
                  <a:pt x="6201172" y="5015111"/>
                </a:cubicBezTo>
                <a:cubicBezTo>
                  <a:pt x="6684962" y="5486599"/>
                  <a:pt x="6926858" y="6073908"/>
                  <a:pt x="6926858" y="6777038"/>
                </a:cubicBezTo>
                <a:cubicBezTo>
                  <a:pt x="6926858" y="7558882"/>
                  <a:pt x="6631252" y="8172120"/>
                  <a:pt x="6040040" y="8616752"/>
                </a:cubicBezTo>
                <a:cubicBezTo>
                  <a:pt x="5448829" y="9061384"/>
                  <a:pt x="4653029" y="9283700"/>
                  <a:pt x="3652639" y="9283700"/>
                </a:cubicBezTo>
                <a:cubicBezTo>
                  <a:pt x="2958108" y="9283700"/>
                  <a:pt x="2325555" y="9156502"/>
                  <a:pt x="1754981" y="8902105"/>
                </a:cubicBezTo>
                <a:cubicBezTo>
                  <a:pt x="1184539" y="8647708"/>
                  <a:pt x="749432" y="8299186"/>
                  <a:pt x="449659" y="7856538"/>
                </a:cubicBezTo>
                <a:cubicBezTo>
                  <a:pt x="149886" y="7413758"/>
                  <a:pt x="0" y="6900731"/>
                  <a:pt x="0" y="6317457"/>
                </a:cubicBezTo>
                <a:lnTo>
                  <a:pt x="1866701" y="6317457"/>
                </a:lnTo>
                <a:cubicBezTo>
                  <a:pt x="1866701" y="7315200"/>
                  <a:pt x="2462014" y="7814072"/>
                  <a:pt x="3652639" y="7814072"/>
                </a:cubicBezTo>
                <a:cubicBezTo>
                  <a:pt x="4094890" y="7814072"/>
                  <a:pt x="4440039" y="7724048"/>
                  <a:pt x="4688086" y="7543999"/>
                </a:cubicBezTo>
                <a:cubicBezTo>
                  <a:pt x="4936133" y="7363950"/>
                  <a:pt x="5060156" y="7112530"/>
                  <a:pt x="5060156" y="678973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89" name="Freeform 2489"/>
          <p:cNvSpPr/>
          <p:nvPr/>
        </p:nvSpPr>
        <p:spPr>
          <a:xfrm>
            <a:off x="393870" y="3128432"/>
            <a:ext cx="60523" cy="90296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0" name="Freeform 2490"/>
          <p:cNvSpPr/>
          <p:nvPr/>
        </p:nvSpPr>
        <p:spPr>
          <a:xfrm>
            <a:off x="460132" y="3123479"/>
            <a:ext cx="60459" cy="96519"/>
          </a:xfrm>
          <a:custGeom>
            <a:avLst/>
            <a:gdLst/>
            <a:ahLst/>
            <a:cxnLst/>
            <a:rect l="0" t="0" r="0" b="0"/>
            <a:pathLst>
              <a:path w="6045994" h="9652000">
                <a:moveTo>
                  <a:pt x="0" y="6122591"/>
                </a:moveTo>
                <a:cubicBezTo>
                  <a:pt x="0" y="5076429"/>
                  <a:pt x="234553" y="4243190"/>
                  <a:pt x="703659" y="3622874"/>
                </a:cubicBezTo>
                <a:cubicBezTo>
                  <a:pt x="1172898" y="3002558"/>
                  <a:pt x="1814777" y="2692400"/>
                  <a:pt x="2629297" y="2692400"/>
                </a:cubicBezTo>
                <a:cubicBezTo>
                  <a:pt x="3282421" y="2692400"/>
                  <a:pt x="3821906" y="2936280"/>
                  <a:pt x="4247753" y="3424040"/>
                </a:cubicBezTo>
                <a:lnTo>
                  <a:pt x="4247753" y="0"/>
                </a:lnTo>
                <a:lnTo>
                  <a:pt x="6045994" y="0"/>
                </a:lnTo>
                <a:lnTo>
                  <a:pt x="6045994" y="9525000"/>
                </a:lnTo>
                <a:lnTo>
                  <a:pt x="4427538" y="9525000"/>
                </a:lnTo>
                <a:lnTo>
                  <a:pt x="4340820" y="8812015"/>
                </a:lnTo>
                <a:cubicBezTo>
                  <a:pt x="3894336" y="9372005"/>
                  <a:pt x="3319661" y="9652000"/>
                  <a:pt x="2616795" y="9652000"/>
                </a:cubicBezTo>
                <a:cubicBezTo>
                  <a:pt x="1827146" y="9652000"/>
                  <a:pt x="1193602" y="9340850"/>
                  <a:pt x="716161" y="8718550"/>
                </a:cubicBezTo>
                <a:cubicBezTo>
                  <a:pt x="238720" y="8096118"/>
                  <a:pt x="0" y="7230798"/>
                  <a:pt x="0" y="6122591"/>
                </a:cubicBezTo>
                <a:close/>
                <a:moveTo>
                  <a:pt x="1792089" y="6252766"/>
                </a:moveTo>
                <a:cubicBezTo>
                  <a:pt x="1792089" y="6881416"/>
                  <a:pt x="1901627" y="7363288"/>
                  <a:pt x="2120702" y="7698383"/>
                </a:cubicBezTo>
                <a:cubicBezTo>
                  <a:pt x="2339777" y="8033346"/>
                  <a:pt x="2658136" y="8200827"/>
                  <a:pt x="3075781" y="8200827"/>
                </a:cubicBezTo>
                <a:cubicBezTo>
                  <a:pt x="3629687" y="8200827"/>
                  <a:pt x="4020344" y="7967134"/>
                  <a:pt x="4247753" y="7499747"/>
                </a:cubicBezTo>
                <a:lnTo>
                  <a:pt x="4247753" y="4850805"/>
                </a:lnTo>
                <a:cubicBezTo>
                  <a:pt x="4024445" y="4383419"/>
                  <a:pt x="3637888" y="4149725"/>
                  <a:pt x="3088084" y="4149725"/>
                </a:cubicBezTo>
                <a:cubicBezTo>
                  <a:pt x="2224088" y="4149725"/>
                  <a:pt x="1792089" y="4850739"/>
                  <a:pt x="1792089" y="6252766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1" name="Freeform 2491"/>
          <p:cNvSpPr/>
          <p:nvPr/>
        </p:nvSpPr>
        <p:spPr>
          <a:xfrm>
            <a:off x="533989" y="3151673"/>
            <a:ext cx="57981" cy="68325"/>
          </a:xfrm>
          <a:custGeom>
            <a:avLst/>
            <a:gdLst/>
            <a:ahLst/>
            <a:cxnLst/>
            <a:rect l="0" t="0" r="0" b="0"/>
            <a:pathLst>
              <a:path w="5798146" h="6832600">
                <a:moveTo>
                  <a:pt x="4061818" y="6026547"/>
                </a:moveTo>
                <a:cubicBezTo>
                  <a:pt x="3619434" y="6563916"/>
                  <a:pt x="3007585" y="6832600"/>
                  <a:pt x="2226271" y="6832600"/>
                </a:cubicBezTo>
                <a:cubicBezTo>
                  <a:pt x="1506869" y="6832600"/>
                  <a:pt x="958057" y="6625961"/>
                  <a:pt x="579835" y="6212682"/>
                </a:cubicBezTo>
                <a:cubicBezTo>
                  <a:pt x="201613" y="5799270"/>
                  <a:pt x="8335" y="5193705"/>
                  <a:pt x="0" y="4395986"/>
                </a:cubicBezTo>
                <a:lnTo>
                  <a:pt x="0" y="0"/>
                </a:lnTo>
                <a:lnTo>
                  <a:pt x="1792089" y="0"/>
                </a:lnTo>
                <a:lnTo>
                  <a:pt x="1792089" y="4333677"/>
                </a:lnTo>
                <a:cubicBezTo>
                  <a:pt x="1792089" y="5032177"/>
                  <a:pt x="2110449" y="5381427"/>
                  <a:pt x="2747169" y="5381427"/>
                </a:cubicBezTo>
                <a:cubicBezTo>
                  <a:pt x="3354917" y="5381427"/>
                  <a:pt x="3772429" y="5170620"/>
                  <a:pt x="3999707" y="4749007"/>
                </a:cubicBezTo>
                <a:lnTo>
                  <a:pt x="3999707" y="0"/>
                </a:lnTo>
                <a:lnTo>
                  <a:pt x="5798146" y="0"/>
                </a:lnTo>
                <a:lnTo>
                  <a:pt x="5798146" y="6705600"/>
                </a:lnTo>
                <a:lnTo>
                  <a:pt x="4111427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2" name="Freeform 2492"/>
          <p:cNvSpPr/>
          <p:nvPr/>
        </p:nvSpPr>
        <p:spPr>
          <a:xfrm>
            <a:off x="602626" y="3150403"/>
            <a:ext cx="58787" cy="6959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760"/>
                  <a:pt x="3875484" y="5241727"/>
                </a:cubicBezTo>
                <a:cubicBezTo>
                  <a:pt x="4082256" y="5059694"/>
                  <a:pt x="4189809" y="4817666"/>
                  <a:pt x="4198144" y="4515644"/>
                </a:cubicBezTo>
                <a:lnTo>
                  <a:pt x="5878711" y="4515644"/>
                </a:lnTo>
                <a:cubicBezTo>
                  <a:pt x="5874478" y="4970463"/>
                  <a:pt x="5750388" y="5387116"/>
                  <a:pt x="5506442" y="5765602"/>
                </a:cubicBezTo>
                <a:cubicBezTo>
                  <a:pt x="5262629" y="6143956"/>
                  <a:pt x="4928857" y="6437578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853"/>
                  <a:pt x="5106591" y="716558"/>
                </a:cubicBezTo>
                <a:cubicBezTo>
                  <a:pt x="5613003" y="1194131"/>
                  <a:pt x="5870377" y="1829859"/>
                  <a:pt x="5878711" y="2623741"/>
                </a:cubicBezTo>
                <a:lnTo>
                  <a:pt x="4198144" y="2623741"/>
                </a:lnTo>
                <a:cubicBezTo>
                  <a:pt x="4189809" y="2276343"/>
                  <a:pt x="4082256" y="1994099"/>
                  <a:pt x="3875484" y="1777008"/>
                </a:cubicBezTo>
                <a:cubicBezTo>
                  <a:pt x="3668845" y="1559786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3" name="Freeform 2493"/>
          <p:cNvSpPr/>
          <p:nvPr/>
        </p:nvSpPr>
        <p:spPr>
          <a:xfrm>
            <a:off x="668916" y="3150403"/>
            <a:ext cx="59656" cy="6959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4" name="Freeform 2494"/>
          <p:cNvSpPr/>
          <p:nvPr/>
        </p:nvSpPr>
        <p:spPr>
          <a:xfrm>
            <a:off x="733393" y="3135163"/>
            <a:ext cx="39872" cy="84835"/>
          </a:xfrm>
          <a:custGeom>
            <a:avLst/>
            <a:gdLst/>
            <a:ahLst/>
            <a:cxnLst/>
            <a:rect l="0" t="0" r="0" b="0"/>
            <a:pathLst>
              <a:path w="3987205" h="8483600">
                <a:moveTo>
                  <a:pt x="2771775" y="0"/>
                </a:moveTo>
                <a:lnTo>
                  <a:pt x="2771775" y="1651000"/>
                </a:lnTo>
                <a:lnTo>
                  <a:pt x="3919141" y="1651000"/>
                </a:lnTo>
                <a:lnTo>
                  <a:pt x="3919141" y="2965649"/>
                </a:lnTo>
                <a:lnTo>
                  <a:pt x="2771775" y="2965649"/>
                </a:lnTo>
                <a:lnTo>
                  <a:pt x="2771775" y="6313290"/>
                </a:lnTo>
                <a:cubicBezTo>
                  <a:pt x="2771775" y="6561204"/>
                  <a:pt x="2819334" y="6738938"/>
                  <a:pt x="2914452" y="6846491"/>
                </a:cubicBezTo>
                <a:cubicBezTo>
                  <a:pt x="3009570" y="6953912"/>
                  <a:pt x="3191471" y="7007622"/>
                  <a:pt x="3460155" y="7007622"/>
                </a:cubicBezTo>
                <a:cubicBezTo>
                  <a:pt x="3658593" y="7007622"/>
                  <a:pt x="3834276" y="6993203"/>
                  <a:pt x="3987205" y="6964363"/>
                </a:cubicBezTo>
                <a:lnTo>
                  <a:pt x="3987205" y="8322271"/>
                </a:lnTo>
                <a:cubicBezTo>
                  <a:pt x="3635839" y="8429823"/>
                  <a:pt x="3274153" y="8483600"/>
                  <a:pt x="2902149" y="8483600"/>
                </a:cubicBezTo>
                <a:cubicBezTo>
                  <a:pt x="1645378" y="8483600"/>
                  <a:pt x="1004557" y="7849130"/>
                  <a:pt x="979686" y="6580188"/>
                </a:cubicBezTo>
                <a:lnTo>
                  <a:pt x="979686" y="2965649"/>
                </a:lnTo>
                <a:lnTo>
                  <a:pt x="0" y="2965649"/>
                </a:lnTo>
                <a:lnTo>
                  <a:pt x="0" y="1651000"/>
                </a:lnTo>
                <a:lnTo>
                  <a:pt x="979686" y="1651000"/>
                </a:lnTo>
                <a:lnTo>
                  <a:pt x="979686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5" name="Freeform 2495"/>
          <p:cNvSpPr/>
          <p:nvPr/>
        </p:nvSpPr>
        <p:spPr>
          <a:xfrm>
            <a:off x="782329" y="3125130"/>
            <a:ext cx="20091" cy="93598"/>
          </a:xfrm>
          <a:custGeom>
            <a:avLst/>
            <a:gdLst/>
            <a:ahLst/>
            <a:cxnLst/>
            <a:rect l="0" t="0" r="0" b="0"/>
            <a:pathLst>
              <a:path w="2009179" h="9359900">
                <a:moveTo>
                  <a:pt x="1903809" y="9359900"/>
                </a:moveTo>
                <a:lnTo>
                  <a:pt x="105568" y="9359900"/>
                </a:lnTo>
                <a:lnTo>
                  <a:pt x="105568" y="2654300"/>
                </a:lnTo>
                <a:lnTo>
                  <a:pt x="1903809" y="2654300"/>
                </a:lnTo>
                <a:close/>
                <a:moveTo>
                  <a:pt x="0" y="923925"/>
                </a:moveTo>
                <a:cubicBezTo>
                  <a:pt x="0" y="655241"/>
                  <a:pt x="89892" y="434116"/>
                  <a:pt x="269676" y="260549"/>
                </a:cubicBezTo>
                <a:cubicBezTo>
                  <a:pt x="449593" y="86850"/>
                  <a:pt x="694597" y="0"/>
                  <a:pt x="1004689" y="0"/>
                </a:cubicBezTo>
                <a:cubicBezTo>
                  <a:pt x="1310547" y="0"/>
                  <a:pt x="1554427" y="86850"/>
                  <a:pt x="1736328" y="260549"/>
                </a:cubicBezTo>
                <a:cubicBezTo>
                  <a:pt x="1918229" y="434116"/>
                  <a:pt x="2009179" y="655241"/>
                  <a:pt x="2009179" y="923925"/>
                </a:cubicBezTo>
                <a:cubicBezTo>
                  <a:pt x="2009179" y="1196843"/>
                  <a:pt x="1917170" y="1420152"/>
                  <a:pt x="1733153" y="1593850"/>
                </a:cubicBezTo>
                <a:cubicBezTo>
                  <a:pt x="1549267" y="1767417"/>
                  <a:pt x="1306446" y="1854200"/>
                  <a:pt x="1004689" y="1854200"/>
                </a:cubicBezTo>
                <a:cubicBezTo>
                  <a:pt x="702931" y="1854200"/>
                  <a:pt x="460044" y="1767417"/>
                  <a:pt x="276026" y="1593850"/>
                </a:cubicBezTo>
                <a:cubicBezTo>
                  <a:pt x="92008" y="1420152"/>
                  <a:pt x="0" y="1196843"/>
                  <a:pt x="0" y="923925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6" name="Freeform 2496"/>
          <p:cNvSpPr/>
          <p:nvPr/>
        </p:nvSpPr>
        <p:spPr>
          <a:xfrm>
            <a:off x="813319" y="31504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7" name="Freeform 2497"/>
          <p:cNvSpPr/>
          <p:nvPr/>
        </p:nvSpPr>
        <p:spPr>
          <a:xfrm>
            <a:off x="887491" y="3150403"/>
            <a:ext cx="57919" cy="68325"/>
          </a:xfrm>
          <a:custGeom>
            <a:avLst/>
            <a:gdLst/>
            <a:ahLst/>
            <a:cxnLst/>
            <a:rect l="0" t="0" r="0" b="0"/>
            <a:pathLst>
              <a:path w="5791994" h="6832600">
                <a:moveTo>
                  <a:pt x="1686719" y="127000"/>
                </a:moveTo>
                <a:lnTo>
                  <a:pt x="1742678" y="901700"/>
                </a:lnTo>
                <a:cubicBezTo>
                  <a:pt x="2222235" y="300567"/>
                  <a:pt x="2865041" y="0"/>
                  <a:pt x="3671094" y="0"/>
                </a:cubicBezTo>
                <a:cubicBezTo>
                  <a:pt x="4382162" y="0"/>
                  <a:pt x="4911328" y="208757"/>
                  <a:pt x="5258594" y="626269"/>
                </a:cubicBezTo>
                <a:cubicBezTo>
                  <a:pt x="5605859" y="1043650"/>
                  <a:pt x="5783659" y="1667801"/>
                  <a:pt x="5791994" y="2498725"/>
                </a:cubicBezTo>
                <a:lnTo>
                  <a:pt x="5791994" y="6832600"/>
                </a:lnTo>
                <a:lnTo>
                  <a:pt x="3999905" y="6832600"/>
                </a:lnTo>
                <a:lnTo>
                  <a:pt x="3999905" y="2542382"/>
                </a:lnTo>
                <a:cubicBezTo>
                  <a:pt x="3999905" y="2162043"/>
                  <a:pt x="3917222" y="1886149"/>
                  <a:pt x="3751858" y="1714699"/>
                </a:cubicBezTo>
                <a:cubicBezTo>
                  <a:pt x="3586493" y="1543117"/>
                  <a:pt x="3311525" y="1457325"/>
                  <a:pt x="2926953" y="1457325"/>
                </a:cubicBezTo>
                <a:cubicBezTo>
                  <a:pt x="2422657" y="1457325"/>
                  <a:pt x="2044435" y="1672233"/>
                  <a:pt x="1792287" y="2102049"/>
                </a:cubicBezTo>
                <a:lnTo>
                  <a:pt x="1792287" y="6832600"/>
                </a:lnTo>
                <a:lnTo>
                  <a:pt x="0" y="6832600"/>
                </a:lnTo>
                <a:lnTo>
                  <a:pt x="0" y="1270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8" name="Freeform 2498"/>
          <p:cNvSpPr/>
          <p:nvPr/>
        </p:nvSpPr>
        <p:spPr>
          <a:xfrm>
            <a:off x="992606" y="3117510"/>
            <a:ext cx="29827" cy="130428"/>
          </a:xfrm>
          <a:custGeom>
            <a:avLst/>
            <a:gdLst/>
            <a:ahLst/>
            <a:cxnLst/>
            <a:rect l="0" t="0" r="0" b="0"/>
            <a:pathLst>
              <a:path w="2982714" h="13042900">
                <a:moveTo>
                  <a:pt x="0" y="6477993"/>
                </a:moveTo>
                <a:cubicBezTo>
                  <a:pt x="0" y="5576161"/>
                  <a:pt x="115755" y="4700257"/>
                  <a:pt x="347265" y="3850283"/>
                </a:cubicBezTo>
                <a:cubicBezTo>
                  <a:pt x="578776" y="3000177"/>
                  <a:pt x="917773" y="2222500"/>
                  <a:pt x="1364257" y="1517254"/>
                </a:cubicBezTo>
                <a:cubicBezTo>
                  <a:pt x="1810742" y="811874"/>
                  <a:pt x="2290299" y="306124"/>
                  <a:pt x="2802929" y="0"/>
                </a:cubicBezTo>
                <a:lnTo>
                  <a:pt x="2982714" y="502643"/>
                </a:lnTo>
                <a:cubicBezTo>
                  <a:pt x="2709928" y="696979"/>
                  <a:pt x="2439127" y="980348"/>
                  <a:pt x="2170311" y="1352749"/>
                </a:cubicBezTo>
                <a:cubicBezTo>
                  <a:pt x="1901626" y="1725018"/>
                  <a:pt x="1661848" y="2167666"/>
                  <a:pt x="1450975" y="2680693"/>
                </a:cubicBezTo>
                <a:cubicBezTo>
                  <a:pt x="1240234" y="3193588"/>
                  <a:pt x="1069710" y="3769586"/>
                  <a:pt x="939403" y="4408686"/>
                </a:cubicBezTo>
                <a:cubicBezTo>
                  <a:pt x="809228" y="5047787"/>
                  <a:pt x="744140" y="5772746"/>
                  <a:pt x="744140" y="6583561"/>
                </a:cubicBezTo>
                <a:cubicBezTo>
                  <a:pt x="744140" y="7448087"/>
                  <a:pt x="842301" y="8279541"/>
                  <a:pt x="1038621" y="9077921"/>
                </a:cubicBezTo>
                <a:cubicBezTo>
                  <a:pt x="1235075" y="9876301"/>
                  <a:pt x="1504817" y="10580555"/>
                  <a:pt x="1847850" y="11190684"/>
                </a:cubicBezTo>
                <a:cubicBezTo>
                  <a:pt x="2191014" y="11800813"/>
                  <a:pt x="2569302" y="12258939"/>
                  <a:pt x="2982714" y="12565062"/>
                </a:cubicBezTo>
                <a:lnTo>
                  <a:pt x="2802929" y="13042900"/>
                </a:lnTo>
                <a:cubicBezTo>
                  <a:pt x="2277864" y="12728575"/>
                  <a:pt x="1792089" y="12220773"/>
                  <a:pt x="1345604" y="11519495"/>
                </a:cubicBezTo>
                <a:cubicBezTo>
                  <a:pt x="899120" y="10818349"/>
                  <a:pt x="563231" y="10046891"/>
                  <a:pt x="337939" y="9205119"/>
                </a:cubicBezTo>
                <a:cubicBezTo>
                  <a:pt x="112646" y="8363347"/>
                  <a:pt x="0" y="7454305"/>
                  <a:pt x="0" y="647799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499" name="Freeform 2499"/>
          <p:cNvSpPr/>
          <p:nvPr/>
        </p:nvSpPr>
        <p:spPr>
          <a:xfrm>
            <a:off x="1027535" y="3151673"/>
            <a:ext cx="64926" cy="86740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0" name="Freeform 2500"/>
          <p:cNvSpPr/>
          <p:nvPr/>
        </p:nvSpPr>
        <p:spPr>
          <a:xfrm>
            <a:off x="1102664" y="3150403"/>
            <a:ext cx="59902" cy="6959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1" name="Freeform 2501"/>
          <p:cNvSpPr/>
          <p:nvPr/>
        </p:nvSpPr>
        <p:spPr>
          <a:xfrm>
            <a:off x="1175024" y="3151673"/>
            <a:ext cx="50601" cy="67055"/>
          </a:xfrm>
          <a:custGeom>
            <a:avLst/>
            <a:gdLst/>
            <a:ahLst/>
            <a:cxnLst/>
            <a:rect l="0" t="0" r="0" b="0"/>
            <a:pathLst>
              <a:path w="5060156" h="6705600">
                <a:moveTo>
                  <a:pt x="5060156" y="6705600"/>
                </a:moveTo>
                <a:lnTo>
                  <a:pt x="4316015" y="6705600"/>
                </a:lnTo>
                <a:lnTo>
                  <a:pt x="4316015" y="3885208"/>
                </a:lnTo>
                <a:cubicBezTo>
                  <a:pt x="3704166" y="4108517"/>
                  <a:pt x="3119172" y="4220171"/>
                  <a:pt x="2561034" y="4220171"/>
                </a:cubicBezTo>
                <a:cubicBezTo>
                  <a:pt x="1672166" y="4220171"/>
                  <a:pt x="1027244" y="4024974"/>
                  <a:pt x="626268" y="3634582"/>
                </a:cubicBezTo>
                <a:cubicBezTo>
                  <a:pt x="225292" y="3244189"/>
                  <a:pt x="16536" y="2635846"/>
                  <a:pt x="0" y="1809552"/>
                </a:cubicBezTo>
                <a:lnTo>
                  <a:pt x="0" y="0"/>
                </a:lnTo>
                <a:lnTo>
                  <a:pt x="737790" y="0"/>
                </a:lnTo>
                <a:lnTo>
                  <a:pt x="737790" y="1772047"/>
                </a:lnTo>
                <a:cubicBezTo>
                  <a:pt x="746125" y="2412339"/>
                  <a:pt x="887743" y="2873971"/>
                  <a:pt x="1162645" y="3156943"/>
                </a:cubicBezTo>
                <a:cubicBezTo>
                  <a:pt x="1437547" y="3439915"/>
                  <a:pt x="1903677" y="3581400"/>
                  <a:pt x="2561034" y="3581400"/>
                </a:cubicBezTo>
                <a:cubicBezTo>
                  <a:pt x="3160447" y="3564864"/>
                  <a:pt x="3745441" y="3457443"/>
                  <a:pt x="4316015" y="3259138"/>
                </a:cubicBezTo>
                <a:lnTo>
                  <a:pt x="4316015" y="0"/>
                </a:lnTo>
                <a:lnTo>
                  <a:pt x="5060156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2" name="Freeform 2502"/>
          <p:cNvSpPr/>
          <p:nvPr/>
        </p:nvSpPr>
        <p:spPr>
          <a:xfrm>
            <a:off x="1241348" y="3150403"/>
            <a:ext cx="55250" cy="6959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3" name="Freeform 2503"/>
          <p:cNvSpPr/>
          <p:nvPr/>
        </p:nvSpPr>
        <p:spPr>
          <a:xfrm>
            <a:off x="1310910" y="3150403"/>
            <a:ext cx="54012" cy="94106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4" name="Freeform 2504"/>
          <p:cNvSpPr/>
          <p:nvPr/>
        </p:nvSpPr>
        <p:spPr>
          <a:xfrm>
            <a:off x="1381825" y="315167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5" name="Freeform 2505"/>
          <p:cNvSpPr/>
          <p:nvPr/>
        </p:nvSpPr>
        <p:spPr>
          <a:xfrm>
            <a:off x="1448796" y="3151673"/>
            <a:ext cx="52833" cy="67055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6" name="Freeform 2506"/>
          <p:cNvSpPr/>
          <p:nvPr/>
        </p:nvSpPr>
        <p:spPr>
          <a:xfrm>
            <a:off x="1517630" y="3151673"/>
            <a:ext cx="52833" cy="67055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7" name="Freeform 2507"/>
          <p:cNvSpPr/>
          <p:nvPr/>
        </p:nvSpPr>
        <p:spPr>
          <a:xfrm>
            <a:off x="1617141" y="3150403"/>
            <a:ext cx="59902" cy="6959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8" name="Freeform 2508"/>
          <p:cNvSpPr/>
          <p:nvPr/>
        </p:nvSpPr>
        <p:spPr>
          <a:xfrm>
            <a:off x="1692291" y="3150403"/>
            <a:ext cx="54012" cy="94106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09" name="Freeform 2509"/>
          <p:cNvSpPr/>
          <p:nvPr/>
        </p:nvSpPr>
        <p:spPr>
          <a:xfrm>
            <a:off x="1763145" y="3151673"/>
            <a:ext cx="41362" cy="67055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0" name="Freeform 2510"/>
          <p:cNvSpPr/>
          <p:nvPr/>
        </p:nvSpPr>
        <p:spPr>
          <a:xfrm>
            <a:off x="1812705" y="3150403"/>
            <a:ext cx="53764" cy="6959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1" name="Freeform 2511"/>
          <p:cNvSpPr/>
          <p:nvPr/>
        </p:nvSpPr>
        <p:spPr>
          <a:xfrm>
            <a:off x="1884618" y="315167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2" name="Freeform 2512"/>
          <p:cNvSpPr/>
          <p:nvPr/>
        </p:nvSpPr>
        <p:spPr>
          <a:xfrm>
            <a:off x="1955993" y="315167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3" name="Freeform 2513"/>
          <p:cNvSpPr/>
          <p:nvPr/>
        </p:nvSpPr>
        <p:spPr>
          <a:xfrm>
            <a:off x="2023275" y="3150403"/>
            <a:ext cx="51593" cy="69468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4" name="Freeform 2514"/>
          <p:cNvSpPr/>
          <p:nvPr/>
        </p:nvSpPr>
        <p:spPr>
          <a:xfrm>
            <a:off x="2087660" y="3150403"/>
            <a:ext cx="53764" cy="6959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5" name="Freeform 2515"/>
          <p:cNvSpPr/>
          <p:nvPr/>
        </p:nvSpPr>
        <p:spPr>
          <a:xfrm>
            <a:off x="2159573" y="3151673"/>
            <a:ext cx="57856" cy="86994"/>
          </a:xfrm>
          <a:custGeom>
            <a:avLst/>
            <a:gdLst/>
            <a:ahLst/>
            <a:cxnLst/>
            <a:rect l="0" t="0" r="0" b="0"/>
            <a:pathLst>
              <a:path w="5785643" h="8699500">
                <a:moveTo>
                  <a:pt x="0" y="0"/>
                </a:moveTo>
                <a:lnTo>
                  <a:pt x="744140" y="0"/>
                </a:lnTo>
                <a:lnTo>
                  <a:pt x="744140" y="6079332"/>
                </a:lnTo>
                <a:lnTo>
                  <a:pt x="4359473" y="6079332"/>
                </a:lnTo>
                <a:lnTo>
                  <a:pt x="4359473" y="0"/>
                </a:lnTo>
                <a:lnTo>
                  <a:pt x="5103614" y="0"/>
                </a:lnTo>
                <a:lnTo>
                  <a:pt x="5103614" y="6079332"/>
                </a:lnTo>
                <a:lnTo>
                  <a:pt x="5785643" y="6079332"/>
                </a:lnTo>
                <a:lnTo>
                  <a:pt x="5729883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6" name="Freeform 2516"/>
          <p:cNvSpPr/>
          <p:nvPr/>
        </p:nvSpPr>
        <p:spPr>
          <a:xfrm>
            <a:off x="2231837" y="315167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7" name="Freeform 2517"/>
          <p:cNvSpPr/>
          <p:nvPr/>
        </p:nvSpPr>
        <p:spPr>
          <a:xfrm>
            <a:off x="2298807" y="3151673"/>
            <a:ext cx="52833" cy="67055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8" name="Freeform 2518"/>
          <p:cNvSpPr/>
          <p:nvPr/>
        </p:nvSpPr>
        <p:spPr>
          <a:xfrm>
            <a:off x="668010" y="3261782"/>
            <a:ext cx="56183" cy="90296"/>
          </a:xfrm>
          <a:custGeom>
            <a:avLst/>
            <a:gdLst/>
            <a:ahLst/>
            <a:cxnLst/>
            <a:rect l="0" t="0" r="0" b="0"/>
            <a:pathLst>
              <a:path w="5618361" h="9029700">
                <a:moveTo>
                  <a:pt x="4985742" y="4696222"/>
                </a:moveTo>
                <a:lnTo>
                  <a:pt x="762794" y="4696222"/>
                </a:lnTo>
                <a:lnTo>
                  <a:pt x="762794" y="8384779"/>
                </a:lnTo>
                <a:lnTo>
                  <a:pt x="5618361" y="8384779"/>
                </a:lnTo>
                <a:lnTo>
                  <a:pt x="5618361" y="9029700"/>
                </a:lnTo>
                <a:lnTo>
                  <a:pt x="0" y="9029700"/>
                </a:lnTo>
                <a:lnTo>
                  <a:pt x="0" y="0"/>
                </a:lnTo>
                <a:lnTo>
                  <a:pt x="5587206" y="0"/>
                </a:lnTo>
                <a:lnTo>
                  <a:pt x="5587206" y="651074"/>
                </a:lnTo>
                <a:lnTo>
                  <a:pt x="762794" y="651074"/>
                </a:lnTo>
                <a:lnTo>
                  <a:pt x="762794" y="4051300"/>
                </a:lnTo>
                <a:lnTo>
                  <a:pt x="4985742" y="40513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19" name="Freeform 2519"/>
          <p:cNvSpPr/>
          <p:nvPr/>
        </p:nvSpPr>
        <p:spPr>
          <a:xfrm>
            <a:off x="739960" y="3261782"/>
            <a:ext cx="63873" cy="90296"/>
          </a:xfrm>
          <a:custGeom>
            <a:avLst/>
            <a:gdLst/>
            <a:ahLst/>
            <a:cxnLst/>
            <a:rect l="0" t="0" r="0" b="0"/>
            <a:pathLst>
              <a:path w="6387306" h="9029700">
                <a:moveTo>
                  <a:pt x="3392091" y="5273874"/>
                </a:moveTo>
                <a:lnTo>
                  <a:pt x="768945" y="5273874"/>
                </a:lnTo>
                <a:lnTo>
                  <a:pt x="768945" y="9029700"/>
                </a:lnTo>
                <a:lnTo>
                  <a:pt x="0" y="9029700"/>
                </a:lnTo>
                <a:lnTo>
                  <a:pt x="0" y="0"/>
                </a:lnTo>
                <a:lnTo>
                  <a:pt x="2933303" y="0"/>
                </a:lnTo>
                <a:cubicBezTo>
                  <a:pt x="3896519" y="0"/>
                  <a:pt x="4648862" y="233694"/>
                  <a:pt x="5190331" y="701080"/>
                </a:cubicBezTo>
                <a:cubicBezTo>
                  <a:pt x="5731933" y="1168466"/>
                  <a:pt x="6002734" y="1822054"/>
                  <a:pt x="6002734" y="2661841"/>
                </a:cubicBezTo>
                <a:cubicBezTo>
                  <a:pt x="6002734" y="3240882"/>
                  <a:pt x="5833203" y="3751726"/>
                  <a:pt x="5494139" y="4194374"/>
                </a:cubicBezTo>
                <a:cubicBezTo>
                  <a:pt x="5155208" y="4636890"/>
                  <a:pt x="4700521" y="4942946"/>
                  <a:pt x="4130080" y="5112544"/>
                </a:cubicBezTo>
                <a:lnTo>
                  <a:pt x="6387306" y="8949135"/>
                </a:lnTo>
                <a:lnTo>
                  <a:pt x="6387306" y="9029700"/>
                </a:lnTo>
                <a:lnTo>
                  <a:pt x="5574903" y="9029700"/>
                </a:lnTo>
                <a:close/>
                <a:moveTo>
                  <a:pt x="768945" y="4622800"/>
                </a:moveTo>
                <a:lnTo>
                  <a:pt x="3106936" y="4622800"/>
                </a:lnTo>
                <a:cubicBezTo>
                  <a:pt x="3747624" y="4622800"/>
                  <a:pt x="4262239" y="4440767"/>
                  <a:pt x="4650780" y="4076700"/>
                </a:cubicBezTo>
                <a:cubicBezTo>
                  <a:pt x="5039452" y="3712634"/>
                  <a:pt x="5233789" y="3241014"/>
                  <a:pt x="5233789" y="2661841"/>
                </a:cubicBezTo>
                <a:cubicBezTo>
                  <a:pt x="5233789" y="2024592"/>
                  <a:pt x="5031184" y="1530152"/>
                  <a:pt x="4625975" y="1178521"/>
                </a:cubicBezTo>
                <a:cubicBezTo>
                  <a:pt x="4220898" y="826890"/>
                  <a:pt x="3652507" y="651074"/>
                  <a:pt x="2920802" y="651074"/>
                </a:cubicBezTo>
                <a:lnTo>
                  <a:pt x="768945" y="651074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0" name="Freeform 2520"/>
          <p:cNvSpPr/>
          <p:nvPr/>
        </p:nvSpPr>
        <p:spPr>
          <a:xfrm>
            <a:off x="818245" y="3260512"/>
            <a:ext cx="67593" cy="92836"/>
          </a:xfrm>
          <a:custGeom>
            <a:avLst/>
            <a:gdLst/>
            <a:ahLst/>
            <a:cxnLst/>
            <a:rect l="0" t="0" r="0" b="0"/>
            <a:pathLst>
              <a:path w="6759376" h="9283700">
                <a:moveTo>
                  <a:pt x="6759376" y="8087519"/>
                </a:moveTo>
                <a:cubicBezTo>
                  <a:pt x="6494793" y="8463492"/>
                  <a:pt x="6080323" y="8756849"/>
                  <a:pt x="5515967" y="8967590"/>
                </a:cubicBezTo>
                <a:cubicBezTo>
                  <a:pt x="4951743" y="9178329"/>
                  <a:pt x="4320249" y="9283700"/>
                  <a:pt x="3621484" y="9283700"/>
                </a:cubicBezTo>
                <a:cubicBezTo>
                  <a:pt x="2914650" y="9283700"/>
                  <a:pt x="2286264" y="9114103"/>
                  <a:pt x="1736328" y="8774907"/>
                </a:cubicBezTo>
                <a:cubicBezTo>
                  <a:pt x="1186524" y="8435579"/>
                  <a:pt x="760743" y="7955624"/>
                  <a:pt x="458986" y="7335044"/>
                </a:cubicBezTo>
                <a:cubicBezTo>
                  <a:pt x="157228" y="6714464"/>
                  <a:pt x="4233" y="6002933"/>
                  <a:pt x="0" y="5200452"/>
                </a:cubicBezTo>
                <a:lnTo>
                  <a:pt x="0" y="4058444"/>
                </a:lnTo>
                <a:cubicBezTo>
                  <a:pt x="0" y="2804981"/>
                  <a:pt x="316243" y="1815241"/>
                  <a:pt x="948730" y="1089224"/>
                </a:cubicBezTo>
                <a:cubicBezTo>
                  <a:pt x="1581348" y="363075"/>
                  <a:pt x="2430925" y="0"/>
                  <a:pt x="3497461" y="0"/>
                </a:cubicBezTo>
                <a:cubicBezTo>
                  <a:pt x="4427736" y="0"/>
                  <a:pt x="5176044" y="236869"/>
                  <a:pt x="5742384" y="710605"/>
                </a:cubicBezTo>
                <a:cubicBezTo>
                  <a:pt x="6308725" y="1184210"/>
                  <a:pt x="6645672" y="1836804"/>
                  <a:pt x="6753225" y="2668390"/>
                </a:cubicBezTo>
                <a:lnTo>
                  <a:pt x="5990431" y="2668390"/>
                </a:lnTo>
                <a:cubicBezTo>
                  <a:pt x="5878777" y="2006270"/>
                  <a:pt x="5608968" y="1504554"/>
                  <a:pt x="5181005" y="1163241"/>
                </a:cubicBezTo>
                <a:cubicBezTo>
                  <a:pt x="4753173" y="821796"/>
                  <a:pt x="4194109" y="651074"/>
                  <a:pt x="3503811" y="651074"/>
                </a:cubicBezTo>
                <a:cubicBezTo>
                  <a:pt x="2660451" y="651074"/>
                  <a:pt x="1992775" y="951046"/>
                  <a:pt x="1500783" y="1550988"/>
                </a:cubicBezTo>
                <a:cubicBezTo>
                  <a:pt x="1008790" y="2150930"/>
                  <a:pt x="762794" y="2997068"/>
                  <a:pt x="762794" y="4089400"/>
                </a:cubicBezTo>
                <a:lnTo>
                  <a:pt x="762794" y="5156994"/>
                </a:lnTo>
                <a:cubicBezTo>
                  <a:pt x="762794" y="5843853"/>
                  <a:pt x="879541" y="6451071"/>
                  <a:pt x="1113036" y="6978650"/>
                </a:cubicBezTo>
                <a:cubicBezTo>
                  <a:pt x="1346663" y="7506097"/>
                  <a:pt x="1681559" y="7914680"/>
                  <a:pt x="2117725" y="8204399"/>
                </a:cubicBezTo>
                <a:cubicBezTo>
                  <a:pt x="2553890" y="8493985"/>
                  <a:pt x="3055144" y="8638779"/>
                  <a:pt x="3621484" y="8638779"/>
                </a:cubicBezTo>
                <a:cubicBezTo>
                  <a:pt x="4278841" y="8638779"/>
                  <a:pt x="4843198" y="8535525"/>
                  <a:pt x="5314553" y="8329018"/>
                </a:cubicBezTo>
                <a:cubicBezTo>
                  <a:pt x="5620411" y="8192625"/>
                  <a:pt x="5847755" y="8033544"/>
                  <a:pt x="5996583" y="7851775"/>
                </a:cubicBezTo>
                <a:lnTo>
                  <a:pt x="5996583" y="5521722"/>
                </a:lnTo>
                <a:lnTo>
                  <a:pt x="3571875" y="5521722"/>
                </a:lnTo>
                <a:lnTo>
                  <a:pt x="3571875" y="4876800"/>
                </a:lnTo>
                <a:lnTo>
                  <a:pt x="6759376" y="48768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1" name="Freeform 2521"/>
          <p:cNvSpPr/>
          <p:nvPr/>
        </p:nvSpPr>
        <p:spPr>
          <a:xfrm>
            <a:off x="898041" y="3250860"/>
            <a:ext cx="29829" cy="130428"/>
          </a:xfrm>
          <a:custGeom>
            <a:avLst/>
            <a:gdLst/>
            <a:ahLst/>
            <a:cxnLst/>
            <a:rect l="0" t="0" r="0" b="0"/>
            <a:pathLst>
              <a:path w="2982912" h="13042900">
                <a:moveTo>
                  <a:pt x="2982912" y="6571060"/>
                </a:moveTo>
                <a:cubicBezTo>
                  <a:pt x="2982912" y="7481094"/>
                  <a:pt x="2870200" y="8357063"/>
                  <a:pt x="2644775" y="9198968"/>
                </a:cubicBezTo>
                <a:cubicBezTo>
                  <a:pt x="2419482" y="10040740"/>
                  <a:pt x="2085644" y="10811139"/>
                  <a:pt x="1643261" y="11510168"/>
                </a:cubicBezTo>
                <a:cubicBezTo>
                  <a:pt x="1201009" y="12209330"/>
                  <a:pt x="713250" y="12720240"/>
                  <a:pt x="179982" y="13042900"/>
                </a:cubicBezTo>
                <a:lnTo>
                  <a:pt x="0" y="12565062"/>
                </a:lnTo>
                <a:cubicBezTo>
                  <a:pt x="405209" y="12275476"/>
                  <a:pt x="780388" y="11826610"/>
                  <a:pt x="1125537" y="11218465"/>
                </a:cubicBezTo>
                <a:cubicBezTo>
                  <a:pt x="1470818" y="10610453"/>
                  <a:pt x="1742678" y="9902098"/>
                  <a:pt x="1941115" y="9093399"/>
                </a:cubicBezTo>
                <a:cubicBezTo>
                  <a:pt x="2139553" y="8284700"/>
                  <a:pt x="2238771" y="7406680"/>
                  <a:pt x="2238771" y="6459340"/>
                </a:cubicBezTo>
                <a:cubicBezTo>
                  <a:pt x="2238771" y="5603148"/>
                  <a:pt x="2139553" y="4776920"/>
                  <a:pt x="1941115" y="3980657"/>
                </a:cubicBezTo>
                <a:cubicBezTo>
                  <a:pt x="1742678" y="3184261"/>
                  <a:pt x="1468768" y="2472730"/>
                  <a:pt x="1119386" y="1846065"/>
                </a:cubicBezTo>
                <a:cubicBezTo>
                  <a:pt x="770003" y="1219266"/>
                  <a:pt x="396875" y="763191"/>
                  <a:pt x="0" y="477838"/>
                </a:cubicBezTo>
                <a:lnTo>
                  <a:pt x="179982" y="0"/>
                </a:lnTo>
                <a:cubicBezTo>
                  <a:pt x="700815" y="318559"/>
                  <a:pt x="1182422" y="827419"/>
                  <a:pt x="1624806" y="1526580"/>
                </a:cubicBezTo>
                <a:cubicBezTo>
                  <a:pt x="2067189" y="2225610"/>
                  <a:pt x="2404136" y="3001235"/>
                  <a:pt x="2635646" y="3853458"/>
                </a:cubicBezTo>
                <a:cubicBezTo>
                  <a:pt x="2867157" y="4705549"/>
                  <a:pt x="2982912" y="5611416"/>
                  <a:pt x="2982912" y="657106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2" name="Freeform 2522"/>
          <p:cNvSpPr/>
          <p:nvPr/>
        </p:nvSpPr>
        <p:spPr>
          <a:xfrm>
            <a:off x="978611" y="3285023"/>
            <a:ext cx="53703" cy="67055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3" name="Freeform 2523"/>
          <p:cNvSpPr/>
          <p:nvPr/>
        </p:nvSpPr>
        <p:spPr>
          <a:xfrm>
            <a:off x="1049604" y="3285023"/>
            <a:ext cx="73917" cy="67055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4" name="Freeform 2524"/>
          <p:cNvSpPr/>
          <p:nvPr/>
        </p:nvSpPr>
        <p:spPr>
          <a:xfrm>
            <a:off x="1140204" y="3283753"/>
            <a:ext cx="54445" cy="6959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5" name="Freeform 2525"/>
          <p:cNvSpPr/>
          <p:nvPr/>
        </p:nvSpPr>
        <p:spPr>
          <a:xfrm>
            <a:off x="1202260" y="3285023"/>
            <a:ext cx="55375" cy="67055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6" name="Freeform 2526"/>
          <p:cNvSpPr/>
          <p:nvPr/>
        </p:nvSpPr>
        <p:spPr>
          <a:xfrm>
            <a:off x="1262724" y="3285023"/>
            <a:ext cx="56554" cy="94106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7" name="Freeform 2527"/>
          <p:cNvSpPr/>
          <p:nvPr/>
        </p:nvSpPr>
        <p:spPr>
          <a:xfrm>
            <a:off x="1331234" y="32850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8" name="Freeform 2528"/>
          <p:cNvSpPr/>
          <p:nvPr/>
        </p:nvSpPr>
        <p:spPr>
          <a:xfrm>
            <a:off x="1402608" y="32850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29" name="Freeform 2529"/>
          <p:cNvSpPr/>
          <p:nvPr/>
        </p:nvSpPr>
        <p:spPr>
          <a:xfrm>
            <a:off x="1466293" y="3285023"/>
            <a:ext cx="55375" cy="67055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0" name="Freeform 2530"/>
          <p:cNvSpPr/>
          <p:nvPr/>
        </p:nvSpPr>
        <p:spPr>
          <a:xfrm>
            <a:off x="1562180" y="3285023"/>
            <a:ext cx="45702" cy="67055"/>
          </a:xfrm>
          <a:custGeom>
            <a:avLst/>
            <a:gdLst/>
            <a:ahLst/>
            <a:cxnLst/>
            <a:rect l="0" t="0" r="0" b="0"/>
            <a:pathLst>
              <a:path w="4570214" h="6705600">
                <a:moveTo>
                  <a:pt x="4570214" y="1451174"/>
                </a:move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5702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1" name="Freeform 2531"/>
          <p:cNvSpPr/>
          <p:nvPr/>
        </p:nvSpPr>
        <p:spPr>
          <a:xfrm>
            <a:off x="1607334" y="3285023"/>
            <a:ext cx="63871" cy="67055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2" name="Freeform 2532"/>
          <p:cNvSpPr/>
          <p:nvPr/>
        </p:nvSpPr>
        <p:spPr>
          <a:xfrm>
            <a:off x="1682322" y="3283753"/>
            <a:ext cx="59656" cy="6959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3" name="Freeform 2533"/>
          <p:cNvSpPr/>
          <p:nvPr/>
        </p:nvSpPr>
        <p:spPr>
          <a:xfrm>
            <a:off x="1754239" y="3285023"/>
            <a:ext cx="59779" cy="67055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4" name="Freeform 2534"/>
          <p:cNvSpPr/>
          <p:nvPr/>
        </p:nvSpPr>
        <p:spPr>
          <a:xfrm>
            <a:off x="1824816" y="328502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5" name="Freeform 2535"/>
          <p:cNvSpPr/>
          <p:nvPr/>
        </p:nvSpPr>
        <p:spPr>
          <a:xfrm>
            <a:off x="1898003" y="3285023"/>
            <a:ext cx="88179" cy="67055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6" name="Freeform 2536"/>
          <p:cNvSpPr/>
          <p:nvPr/>
        </p:nvSpPr>
        <p:spPr>
          <a:xfrm>
            <a:off x="2003032" y="3285023"/>
            <a:ext cx="79684" cy="67055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7" name="Freeform 2537"/>
          <p:cNvSpPr/>
          <p:nvPr/>
        </p:nvSpPr>
        <p:spPr>
          <a:xfrm>
            <a:off x="414237" y="3418373"/>
            <a:ext cx="63623" cy="67055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8" name="Freeform 2538"/>
          <p:cNvSpPr/>
          <p:nvPr/>
        </p:nvSpPr>
        <p:spPr>
          <a:xfrm>
            <a:off x="478341" y="34171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39" name="Freeform 2539"/>
          <p:cNvSpPr/>
          <p:nvPr/>
        </p:nvSpPr>
        <p:spPr>
          <a:xfrm>
            <a:off x="552886" y="341837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0" name="Freeform 2540"/>
          <p:cNvSpPr/>
          <p:nvPr/>
        </p:nvSpPr>
        <p:spPr>
          <a:xfrm>
            <a:off x="622105" y="3417103"/>
            <a:ext cx="58787" cy="6959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1" name="Freeform 2541"/>
          <p:cNvSpPr/>
          <p:nvPr/>
        </p:nvSpPr>
        <p:spPr>
          <a:xfrm>
            <a:off x="684364" y="3418373"/>
            <a:ext cx="63374" cy="94106"/>
          </a:xfrm>
          <a:custGeom>
            <a:avLst/>
            <a:gdLst/>
            <a:ahLst/>
            <a:cxnLst/>
            <a:rect l="0" t="0" r="0" b="0"/>
            <a:pathLst>
              <a:path w="6337498" h="9410700">
                <a:moveTo>
                  <a:pt x="3175000" y="4169371"/>
                </a:moveTo>
                <a:lnTo>
                  <a:pt x="4415234" y="0"/>
                </a:lnTo>
                <a:lnTo>
                  <a:pt x="6337498" y="0"/>
                </a:lnTo>
                <a:lnTo>
                  <a:pt x="3640137" y="7744221"/>
                </a:lnTo>
                <a:lnTo>
                  <a:pt x="3491309" y="8097242"/>
                </a:lnTo>
                <a:cubicBezTo>
                  <a:pt x="3090201" y="8972880"/>
                  <a:pt x="2428742" y="9410700"/>
                  <a:pt x="1506934" y="9410700"/>
                </a:cubicBezTo>
                <a:cubicBezTo>
                  <a:pt x="1246452" y="9410700"/>
                  <a:pt x="981868" y="9371409"/>
                  <a:pt x="713184" y="9292828"/>
                </a:cubicBezTo>
                <a:lnTo>
                  <a:pt x="713184" y="7934920"/>
                </a:lnTo>
                <a:lnTo>
                  <a:pt x="986036" y="7941071"/>
                </a:lnTo>
                <a:cubicBezTo>
                  <a:pt x="1324967" y="7941071"/>
                  <a:pt x="1578107" y="7889411"/>
                  <a:pt x="1745456" y="7786092"/>
                </a:cubicBezTo>
                <a:cubicBezTo>
                  <a:pt x="1912937" y="7682904"/>
                  <a:pt x="2044237" y="7511586"/>
                  <a:pt x="2139354" y="7272139"/>
                </a:cubicBezTo>
                <a:lnTo>
                  <a:pt x="2350293" y="6720879"/>
                </a:lnTo>
                <a:lnTo>
                  <a:pt x="0" y="0"/>
                </a:lnTo>
                <a:lnTo>
                  <a:pt x="1928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2" name="Freeform 2542"/>
          <p:cNvSpPr/>
          <p:nvPr/>
        </p:nvSpPr>
        <p:spPr>
          <a:xfrm>
            <a:off x="746630" y="3418373"/>
            <a:ext cx="63871" cy="67055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3" name="Freeform 2543"/>
          <p:cNvSpPr/>
          <p:nvPr/>
        </p:nvSpPr>
        <p:spPr>
          <a:xfrm>
            <a:off x="825463" y="3418373"/>
            <a:ext cx="59654" cy="67055"/>
          </a:xfrm>
          <a:custGeom>
            <a:avLst/>
            <a:gdLst/>
            <a:ahLst/>
            <a:cxnLst/>
            <a:rect l="0" t="0" r="0" b="0"/>
            <a:pathLst>
              <a:path w="5965428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4" name="Freeform 2544"/>
          <p:cNvSpPr/>
          <p:nvPr/>
        </p:nvSpPr>
        <p:spPr>
          <a:xfrm>
            <a:off x="880919" y="3418373"/>
            <a:ext cx="60646" cy="67055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5" name="Freeform 2545"/>
          <p:cNvSpPr/>
          <p:nvPr/>
        </p:nvSpPr>
        <p:spPr>
          <a:xfrm>
            <a:off x="946967" y="3417103"/>
            <a:ext cx="59656" cy="6959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6" name="Freeform 2546"/>
          <p:cNvSpPr/>
          <p:nvPr/>
        </p:nvSpPr>
        <p:spPr>
          <a:xfrm>
            <a:off x="1017706" y="341837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7" name="Freeform 2547"/>
          <p:cNvSpPr/>
          <p:nvPr/>
        </p:nvSpPr>
        <p:spPr>
          <a:xfrm>
            <a:off x="1084754" y="3418373"/>
            <a:ext cx="60646" cy="67055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8" name="Freeform 2548"/>
          <p:cNvSpPr/>
          <p:nvPr/>
        </p:nvSpPr>
        <p:spPr>
          <a:xfrm>
            <a:off x="1149790" y="34171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49" name="Freeform 2549"/>
          <p:cNvSpPr/>
          <p:nvPr/>
        </p:nvSpPr>
        <p:spPr>
          <a:xfrm>
            <a:off x="1225513" y="3418373"/>
            <a:ext cx="79684" cy="67055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0" name="Freeform 2550"/>
          <p:cNvSpPr/>
          <p:nvPr/>
        </p:nvSpPr>
        <p:spPr>
          <a:xfrm>
            <a:off x="1353529" y="3395132"/>
            <a:ext cx="95001" cy="90296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1" name="Freeform 2551"/>
          <p:cNvSpPr/>
          <p:nvPr/>
        </p:nvSpPr>
        <p:spPr>
          <a:xfrm>
            <a:off x="1457294" y="3395132"/>
            <a:ext cx="73546" cy="90296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2" name="Freeform 2552"/>
          <p:cNvSpPr/>
          <p:nvPr/>
        </p:nvSpPr>
        <p:spPr>
          <a:xfrm>
            <a:off x="1536983" y="3393862"/>
            <a:ext cx="73731" cy="92836"/>
          </a:xfrm>
          <a:custGeom>
            <a:avLst/>
            <a:gdLst/>
            <a:ahLst/>
            <a:cxnLst/>
            <a:rect l="0" t="0" r="0" b="0"/>
            <a:pathLst>
              <a:path w="7373143" h="9283700">
                <a:moveTo>
                  <a:pt x="7360642" y="6152158"/>
                </a:moveTo>
                <a:cubicBezTo>
                  <a:pt x="7290395" y="7123708"/>
                  <a:pt x="6931752" y="7888553"/>
                  <a:pt x="6284714" y="8446691"/>
                </a:cubicBezTo>
                <a:cubicBezTo>
                  <a:pt x="5637807" y="9004697"/>
                  <a:pt x="4785188" y="9283700"/>
                  <a:pt x="3726854" y="9283700"/>
                </a:cubicBezTo>
                <a:cubicBezTo>
                  <a:pt x="2569302" y="9283700"/>
                  <a:pt x="1658739" y="8893771"/>
                  <a:pt x="995164" y="8113911"/>
                </a:cubicBezTo>
                <a:cubicBezTo>
                  <a:pt x="331721" y="7334052"/>
                  <a:pt x="0" y="6263548"/>
                  <a:pt x="0" y="4902399"/>
                </a:cubicBezTo>
                <a:lnTo>
                  <a:pt x="0" y="4350147"/>
                </a:lnTo>
                <a:cubicBezTo>
                  <a:pt x="0" y="3481388"/>
                  <a:pt x="152929" y="2716081"/>
                  <a:pt x="458787" y="2054225"/>
                </a:cubicBezTo>
                <a:cubicBezTo>
                  <a:pt x="764778" y="1392238"/>
                  <a:pt x="1201935" y="884371"/>
                  <a:pt x="1770260" y="530622"/>
                </a:cubicBezTo>
                <a:cubicBezTo>
                  <a:pt x="2338718" y="176874"/>
                  <a:pt x="2999184" y="0"/>
                  <a:pt x="3751659" y="0"/>
                </a:cubicBezTo>
                <a:cubicBezTo>
                  <a:pt x="4793456" y="0"/>
                  <a:pt x="5632648" y="279070"/>
                  <a:pt x="6269235" y="837208"/>
                </a:cubicBezTo>
                <a:cubicBezTo>
                  <a:pt x="6905955" y="1395347"/>
                  <a:pt x="7273925" y="2178778"/>
                  <a:pt x="7373143" y="3187502"/>
                </a:cubicBezTo>
                <a:lnTo>
                  <a:pt x="5512792" y="3187502"/>
                </a:lnTo>
                <a:cubicBezTo>
                  <a:pt x="5467283" y="2604625"/>
                  <a:pt x="5304961" y="2181953"/>
                  <a:pt x="5025826" y="1919486"/>
                </a:cubicBezTo>
                <a:cubicBezTo>
                  <a:pt x="4746823" y="1656888"/>
                  <a:pt x="4322100" y="1525588"/>
                  <a:pt x="3751659" y="1525588"/>
                </a:cubicBezTo>
                <a:cubicBezTo>
                  <a:pt x="3131475" y="1525588"/>
                  <a:pt x="2667396" y="1748036"/>
                  <a:pt x="2359421" y="2192933"/>
                </a:cubicBezTo>
                <a:cubicBezTo>
                  <a:pt x="2051446" y="2637830"/>
                  <a:pt x="1893358" y="3327930"/>
                  <a:pt x="1885156" y="4263232"/>
                </a:cubicBezTo>
                <a:lnTo>
                  <a:pt x="1885156" y="4946055"/>
                </a:lnTo>
                <a:cubicBezTo>
                  <a:pt x="1885156" y="5922765"/>
                  <a:pt x="2032926" y="6636677"/>
                  <a:pt x="2328465" y="7087791"/>
                </a:cubicBezTo>
                <a:cubicBezTo>
                  <a:pt x="2624005" y="7538906"/>
                  <a:pt x="3090135" y="7764463"/>
                  <a:pt x="3726854" y="7764463"/>
                </a:cubicBezTo>
                <a:cubicBezTo>
                  <a:pt x="4301529" y="7764463"/>
                  <a:pt x="4730419" y="7633230"/>
                  <a:pt x="5013523" y="7370763"/>
                </a:cubicBezTo>
                <a:cubicBezTo>
                  <a:pt x="5296760" y="7108164"/>
                  <a:pt x="5459015" y="6701963"/>
                  <a:pt x="5500290" y="615215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3" name="Freeform 2553"/>
          <p:cNvSpPr/>
          <p:nvPr/>
        </p:nvSpPr>
        <p:spPr>
          <a:xfrm>
            <a:off x="1618862" y="3393989"/>
            <a:ext cx="68522" cy="92582"/>
          </a:xfrm>
          <a:custGeom>
            <a:avLst/>
            <a:gdLst/>
            <a:ahLst/>
            <a:cxnLst/>
            <a:rect l="0" t="0" r="0" b="0"/>
            <a:pathLst>
              <a:path w="6852245" h="9258300">
                <a:moveTo>
                  <a:pt x="4843065" y="2602707"/>
                </a:moveTo>
                <a:cubicBezTo>
                  <a:pt x="4843065" y="2260204"/>
                  <a:pt x="4708723" y="1990924"/>
                  <a:pt x="4440039" y="1794868"/>
                </a:cubicBezTo>
                <a:cubicBezTo>
                  <a:pt x="4171354" y="1598811"/>
                  <a:pt x="3815821" y="1500783"/>
                  <a:pt x="3373437" y="1500783"/>
                </a:cubicBezTo>
                <a:cubicBezTo>
                  <a:pt x="2976562" y="1500783"/>
                  <a:pt x="2646825" y="1598944"/>
                  <a:pt x="2384226" y="1795265"/>
                </a:cubicBezTo>
                <a:cubicBezTo>
                  <a:pt x="2121759" y="1991585"/>
                  <a:pt x="1990526" y="2246842"/>
                  <a:pt x="1990526" y="2561035"/>
                </a:cubicBezTo>
                <a:lnTo>
                  <a:pt x="130175" y="2561035"/>
                </a:lnTo>
                <a:cubicBezTo>
                  <a:pt x="130175" y="2073275"/>
                  <a:pt x="267626" y="1634067"/>
                  <a:pt x="542528" y="1243410"/>
                </a:cubicBezTo>
                <a:cubicBezTo>
                  <a:pt x="817430" y="852752"/>
                  <a:pt x="1208087" y="547886"/>
                  <a:pt x="1714500" y="328811"/>
                </a:cubicBezTo>
                <a:cubicBezTo>
                  <a:pt x="2221044" y="109604"/>
                  <a:pt x="2774024" y="0"/>
                  <a:pt x="3373437" y="0"/>
                </a:cubicBezTo>
                <a:cubicBezTo>
                  <a:pt x="4415234" y="0"/>
                  <a:pt x="5231672" y="223044"/>
                  <a:pt x="5822751" y="669132"/>
                </a:cubicBezTo>
                <a:cubicBezTo>
                  <a:pt x="6413962" y="1115219"/>
                  <a:pt x="6709568" y="1747243"/>
                  <a:pt x="6709568" y="2565202"/>
                </a:cubicBezTo>
                <a:cubicBezTo>
                  <a:pt x="6709568" y="2965914"/>
                  <a:pt x="6588654" y="3337719"/>
                  <a:pt x="6346825" y="3680619"/>
                </a:cubicBezTo>
                <a:cubicBezTo>
                  <a:pt x="6104995" y="4023387"/>
                  <a:pt x="5760839" y="4298025"/>
                  <a:pt x="5314354" y="4504532"/>
                </a:cubicBezTo>
                <a:cubicBezTo>
                  <a:pt x="5810448" y="4678098"/>
                  <a:pt x="6190787" y="4941557"/>
                  <a:pt x="6455370" y="5294908"/>
                </a:cubicBezTo>
                <a:cubicBezTo>
                  <a:pt x="6719953" y="5648127"/>
                  <a:pt x="6852245" y="6087071"/>
                  <a:pt x="6852245" y="6611740"/>
                </a:cubicBezTo>
                <a:cubicBezTo>
                  <a:pt x="6852245" y="7421629"/>
                  <a:pt x="6534943" y="8065228"/>
                  <a:pt x="5900340" y="8542536"/>
                </a:cubicBezTo>
                <a:cubicBezTo>
                  <a:pt x="5265737" y="9019712"/>
                  <a:pt x="4423436" y="9258300"/>
                  <a:pt x="3373437" y="9258300"/>
                </a:cubicBezTo>
                <a:cubicBezTo>
                  <a:pt x="2716080" y="9258300"/>
                  <a:pt x="2124868" y="9145653"/>
                  <a:pt x="1599803" y="8920361"/>
                </a:cubicBezTo>
                <a:cubicBezTo>
                  <a:pt x="1074869" y="8695069"/>
                  <a:pt x="677002" y="8387094"/>
                  <a:pt x="406201" y="7996436"/>
                </a:cubicBezTo>
                <a:cubicBezTo>
                  <a:pt x="135400" y="7605647"/>
                  <a:pt x="0" y="7151886"/>
                  <a:pt x="0" y="6635155"/>
                </a:cubicBezTo>
                <a:lnTo>
                  <a:pt x="1872654" y="6635155"/>
                </a:lnTo>
                <a:cubicBezTo>
                  <a:pt x="1872654" y="6957550"/>
                  <a:pt x="2013214" y="7227293"/>
                  <a:pt x="2294334" y="7444383"/>
                </a:cubicBezTo>
                <a:cubicBezTo>
                  <a:pt x="2575454" y="7661474"/>
                  <a:pt x="2935155" y="7770019"/>
                  <a:pt x="3373437" y="7770019"/>
                </a:cubicBezTo>
                <a:cubicBezTo>
                  <a:pt x="3869531" y="7770019"/>
                  <a:pt x="4261247" y="7658497"/>
                  <a:pt x="4548584" y="7435454"/>
                </a:cubicBezTo>
                <a:cubicBezTo>
                  <a:pt x="4835922" y="7212410"/>
                  <a:pt x="4979590" y="6929504"/>
                  <a:pt x="4979590" y="6586736"/>
                </a:cubicBezTo>
                <a:cubicBezTo>
                  <a:pt x="4979590" y="6116043"/>
                  <a:pt x="4851400" y="5778500"/>
                  <a:pt x="4595018" y="5574110"/>
                </a:cubicBezTo>
                <a:cubicBezTo>
                  <a:pt x="4338769" y="5369587"/>
                  <a:pt x="3964649" y="5267325"/>
                  <a:pt x="3472656" y="5267325"/>
                </a:cubicBezTo>
                <a:lnTo>
                  <a:pt x="2362597" y="5267325"/>
                </a:lnTo>
                <a:lnTo>
                  <a:pt x="2362597" y="3810000"/>
                </a:lnTo>
                <a:lnTo>
                  <a:pt x="3509764" y="3810000"/>
                </a:lnTo>
                <a:cubicBezTo>
                  <a:pt x="4398632" y="3797565"/>
                  <a:pt x="4843065" y="3395134"/>
                  <a:pt x="4843065" y="260270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4" name="Freeform 2554"/>
          <p:cNvSpPr/>
          <p:nvPr/>
        </p:nvSpPr>
        <p:spPr>
          <a:xfrm>
            <a:off x="1701001" y="3395132"/>
            <a:ext cx="73483" cy="90296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5" name="Freeform 2555"/>
          <p:cNvSpPr/>
          <p:nvPr/>
        </p:nvSpPr>
        <p:spPr>
          <a:xfrm>
            <a:off x="1823692" y="341837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6" name="Freeform 2556"/>
          <p:cNvSpPr/>
          <p:nvPr/>
        </p:nvSpPr>
        <p:spPr>
          <a:xfrm>
            <a:off x="1921339" y="3417103"/>
            <a:ext cx="59902" cy="6959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7" name="Freeform 2557"/>
          <p:cNvSpPr/>
          <p:nvPr/>
        </p:nvSpPr>
        <p:spPr>
          <a:xfrm>
            <a:off x="1996986" y="3418373"/>
            <a:ext cx="54693" cy="67055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8" name="Freeform 2558"/>
          <p:cNvSpPr/>
          <p:nvPr/>
        </p:nvSpPr>
        <p:spPr>
          <a:xfrm>
            <a:off x="2058864" y="3417103"/>
            <a:ext cx="53764" cy="6959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59" name="Freeform 2559"/>
          <p:cNvSpPr/>
          <p:nvPr/>
        </p:nvSpPr>
        <p:spPr>
          <a:xfrm>
            <a:off x="2122097" y="3418373"/>
            <a:ext cx="93761" cy="67055"/>
          </a:xfrm>
          <a:custGeom>
            <a:avLst/>
            <a:gdLst/>
            <a:ahLst/>
            <a:cxnLst/>
            <a:rect l="0" t="0" r="0" b="0"/>
            <a:pathLst>
              <a:path w="9376172" h="6705600">
                <a:moveTo>
                  <a:pt x="5946973" y="3609975"/>
                </a:moveTo>
                <a:lnTo>
                  <a:pt x="5054004" y="3609975"/>
                </a:lnTo>
                <a:lnTo>
                  <a:pt x="5054004" y="6705600"/>
                </a:lnTo>
                <a:lnTo>
                  <a:pt x="4309864" y="6705600"/>
                </a:lnTo>
                <a:lnTo>
                  <a:pt x="4309864" y="3609975"/>
                </a:lnTo>
                <a:lnTo>
                  <a:pt x="3423047" y="3609975"/>
                </a:lnTo>
                <a:lnTo>
                  <a:pt x="942578" y="6705600"/>
                </a:lnTo>
                <a:lnTo>
                  <a:pt x="0" y="6705600"/>
                </a:lnTo>
                <a:lnTo>
                  <a:pt x="2778125" y="3268861"/>
                </a:lnTo>
                <a:lnTo>
                  <a:pt x="310157" y="0"/>
                </a:lnTo>
                <a:lnTo>
                  <a:pt x="1209278" y="0"/>
                </a:lnTo>
                <a:lnTo>
                  <a:pt x="3410743" y="2946400"/>
                </a:lnTo>
                <a:lnTo>
                  <a:pt x="4309864" y="2946400"/>
                </a:lnTo>
                <a:lnTo>
                  <a:pt x="4309864" y="0"/>
                </a:lnTo>
                <a:lnTo>
                  <a:pt x="5054004" y="0"/>
                </a:lnTo>
                <a:lnTo>
                  <a:pt x="5054004" y="2946400"/>
                </a:lnTo>
                <a:lnTo>
                  <a:pt x="5959276" y="2946400"/>
                </a:lnTo>
                <a:lnTo>
                  <a:pt x="8160742" y="0"/>
                </a:lnTo>
                <a:lnTo>
                  <a:pt x="9072364" y="0"/>
                </a:lnTo>
                <a:lnTo>
                  <a:pt x="6591895" y="3268861"/>
                </a:lnTo>
                <a:lnTo>
                  <a:pt x="9376172" y="6705600"/>
                </a:lnTo>
                <a:lnTo>
                  <a:pt x="8427442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0" name="Freeform 2560"/>
          <p:cNvSpPr/>
          <p:nvPr/>
        </p:nvSpPr>
        <p:spPr>
          <a:xfrm>
            <a:off x="2222456" y="3417103"/>
            <a:ext cx="55250" cy="6959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1" name="Freeform 2561"/>
          <p:cNvSpPr/>
          <p:nvPr/>
        </p:nvSpPr>
        <p:spPr>
          <a:xfrm>
            <a:off x="2284252" y="3418373"/>
            <a:ext cx="55375" cy="67055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2" name="Freeform 2562"/>
          <p:cNvSpPr/>
          <p:nvPr/>
        </p:nvSpPr>
        <p:spPr>
          <a:xfrm>
            <a:off x="751354" y="3551723"/>
            <a:ext cx="79684" cy="67055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3" name="Freeform 2563"/>
          <p:cNvSpPr/>
          <p:nvPr/>
        </p:nvSpPr>
        <p:spPr>
          <a:xfrm>
            <a:off x="844149" y="3550453"/>
            <a:ext cx="60896" cy="6959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4" name="Freeform 2564"/>
          <p:cNvSpPr/>
          <p:nvPr/>
        </p:nvSpPr>
        <p:spPr>
          <a:xfrm>
            <a:off x="909552" y="3551723"/>
            <a:ext cx="60646" cy="67055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5" name="Freeform 2565"/>
          <p:cNvSpPr/>
          <p:nvPr/>
        </p:nvSpPr>
        <p:spPr>
          <a:xfrm>
            <a:off x="974588" y="355045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6" name="Freeform 2566"/>
          <p:cNvSpPr/>
          <p:nvPr/>
        </p:nvSpPr>
        <p:spPr>
          <a:xfrm>
            <a:off x="1039850" y="3551723"/>
            <a:ext cx="75965" cy="87248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7" name="Freeform 2567"/>
          <p:cNvSpPr/>
          <p:nvPr/>
        </p:nvSpPr>
        <p:spPr>
          <a:xfrm>
            <a:off x="1122035" y="355045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8" name="Freeform 2568"/>
          <p:cNvSpPr/>
          <p:nvPr/>
        </p:nvSpPr>
        <p:spPr>
          <a:xfrm>
            <a:off x="1190172" y="3551723"/>
            <a:ext cx="63871" cy="67055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69" name="Freeform 2569"/>
          <p:cNvSpPr/>
          <p:nvPr/>
        </p:nvSpPr>
        <p:spPr>
          <a:xfrm>
            <a:off x="1265037" y="355045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0" name="Freeform 2570"/>
          <p:cNvSpPr/>
          <p:nvPr/>
        </p:nvSpPr>
        <p:spPr>
          <a:xfrm>
            <a:off x="1339582" y="3551723"/>
            <a:ext cx="45702" cy="67055"/>
          </a:xfrm>
          <a:custGeom>
            <a:avLst/>
            <a:gdLst/>
            <a:ahLst/>
            <a:cxnLst/>
            <a:rect l="0" t="0" r="0" b="0"/>
            <a:pathLst>
              <a:path w="4570214" h="6705600">
                <a:moveTo>
                  <a:pt x="4570214" y="1451174"/>
                </a:move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5702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1" name="Freeform 2571"/>
          <p:cNvSpPr/>
          <p:nvPr/>
        </p:nvSpPr>
        <p:spPr>
          <a:xfrm>
            <a:off x="1392668" y="3551723"/>
            <a:ext cx="58352" cy="67055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2" name="Freeform 2572"/>
          <p:cNvSpPr/>
          <p:nvPr/>
        </p:nvSpPr>
        <p:spPr>
          <a:xfrm>
            <a:off x="1463250" y="3551723"/>
            <a:ext cx="57981" cy="67055"/>
          </a:xfrm>
          <a:custGeom>
            <a:avLst/>
            <a:gdLst/>
            <a:ahLst/>
            <a:cxnLst/>
            <a:rect l="0" t="0" r="0" b="0"/>
            <a:pathLst>
              <a:path w="5798145" h="6705600">
                <a:moveTo>
                  <a:pt x="5798145" y="6705600"/>
                </a:moveTo>
                <a:lnTo>
                  <a:pt x="4006056" y="6705600"/>
                </a:lnTo>
                <a:lnTo>
                  <a:pt x="4006056" y="4602957"/>
                </a:lnTo>
                <a:cubicBezTo>
                  <a:pt x="3671093" y="4665002"/>
                  <a:pt x="3358951" y="4696024"/>
                  <a:pt x="3069629" y="4696024"/>
                </a:cubicBezTo>
                <a:cubicBezTo>
                  <a:pt x="2056804" y="4696024"/>
                  <a:pt x="1294077" y="4480984"/>
                  <a:pt x="781447" y="4050904"/>
                </a:cubicBezTo>
                <a:cubicBezTo>
                  <a:pt x="268816" y="3620823"/>
                  <a:pt x="8334" y="2992173"/>
                  <a:pt x="0" y="2164954"/>
                </a:cubicBezTo>
                <a:lnTo>
                  <a:pt x="0" y="0"/>
                </a:lnTo>
                <a:lnTo>
                  <a:pt x="1792089" y="0"/>
                </a:lnTo>
                <a:lnTo>
                  <a:pt x="1792089" y="2165350"/>
                </a:lnTo>
                <a:cubicBezTo>
                  <a:pt x="1796322" y="2554156"/>
                  <a:pt x="1891440" y="2832365"/>
                  <a:pt x="2077442" y="2999979"/>
                </a:cubicBezTo>
                <a:cubicBezTo>
                  <a:pt x="2263444" y="3167460"/>
                  <a:pt x="2594173" y="3251200"/>
                  <a:pt x="3069629" y="3251200"/>
                </a:cubicBezTo>
                <a:cubicBezTo>
                  <a:pt x="3367286" y="3251200"/>
                  <a:pt x="3679428" y="3216011"/>
                  <a:pt x="4006056" y="3145632"/>
                </a:cubicBezTo>
                <a:lnTo>
                  <a:pt x="4006056" y="0"/>
                </a:lnTo>
                <a:lnTo>
                  <a:pt x="5798145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3" name="Freeform 2573"/>
          <p:cNvSpPr/>
          <p:nvPr/>
        </p:nvSpPr>
        <p:spPr>
          <a:xfrm>
            <a:off x="1532489" y="3550453"/>
            <a:ext cx="60896" cy="6959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4" name="Freeform 2574"/>
          <p:cNvSpPr/>
          <p:nvPr/>
        </p:nvSpPr>
        <p:spPr>
          <a:xfrm>
            <a:off x="1600698" y="3550453"/>
            <a:ext cx="58787" cy="6959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5" name="Freeform 2575"/>
          <p:cNvSpPr/>
          <p:nvPr/>
        </p:nvSpPr>
        <p:spPr>
          <a:xfrm>
            <a:off x="1670834" y="3551723"/>
            <a:ext cx="63623" cy="67055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6" name="Freeform 2576"/>
          <p:cNvSpPr/>
          <p:nvPr/>
        </p:nvSpPr>
        <p:spPr>
          <a:xfrm>
            <a:off x="1734459" y="3551723"/>
            <a:ext cx="63374" cy="94106"/>
          </a:xfrm>
          <a:custGeom>
            <a:avLst/>
            <a:gdLst/>
            <a:ahLst/>
            <a:cxnLst/>
            <a:rect l="0" t="0" r="0" b="0"/>
            <a:pathLst>
              <a:path w="6337498" h="9410700">
                <a:moveTo>
                  <a:pt x="3175000" y="4169371"/>
                </a:moveTo>
                <a:lnTo>
                  <a:pt x="4415234" y="0"/>
                </a:lnTo>
                <a:lnTo>
                  <a:pt x="6337498" y="0"/>
                </a:lnTo>
                <a:lnTo>
                  <a:pt x="3640137" y="7744221"/>
                </a:lnTo>
                <a:lnTo>
                  <a:pt x="3491309" y="8097242"/>
                </a:lnTo>
                <a:cubicBezTo>
                  <a:pt x="3090201" y="8972880"/>
                  <a:pt x="2428742" y="9410700"/>
                  <a:pt x="1506934" y="9410700"/>
                </a:cubicBezTo>
                <a:cubicBezTo>
                  <a:pt x="1246452" y="9410700"/>
                  <a:pt x="981868" y="9371409"/>
                  <a:pt x="713184" y="9292828"/>
                </a:cubicBezTo>
                <a:lnTo>
                  <a:pt x="713184" y="7934920"/>
                </a:lnTo>
                <a:lnTo>
                  <a:pt x="986036" y="7941071"/>
                </a:lnTo>
                <a:cubicBezTo>
                  <a:pt x="1324967" y="7941071"/>
                  <a:pt x="1578107" y="7889411"/>
                  <a:pt x="1745456" y="7786092"/>
                </a:cubicBezTo>
                <a:cubicBezTo>
                  <a:pt x="1912937" y="7682904"/>
                  <a:pt x="2044237" y="7511586"/>
                  <a:pt x="2139354" y="7272139"/>
                </a:cubicBezTo>
                <a:lnTo>
                  <a:pt x="2350293" y="6720879"/>
                </a:lnTo>
                <a:lnTo>
                  <a:pt x="0" y="0"/>
                </a:lnTo>
                <a:lnTo>
                  <a:pt x="1928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7" name="Freeform 2577"/>
          <p:cNvSpPr/>
          <p:nvPr/>
        </p:nvSpPr>
        <p:spPr>
          <a:xfrm>
            <a:off x="1806210" y="3550453"/>
            <a:ext cx="90660" cy="69595"/>
          </a:xfrm>
          <a:custGeom>
            <a:avLst/>
            <a:gdLst/>
            <a:ahLst/>
            <a:cxnLst/>
            <a:rect l="0" t="0" r="0" b="0"/>
            <a:pathLst>
              <a:path w="9066014" h="6959600">
                <a:moveTo>
                  <a:pt x="1798240" y="2692400"/>
                </a:moveTo>
                <a:lnTo>
                  <a:pt x="2765623" y="2692400"/>
                </a:lnTo>
                <a:cubicBezTo>
                  <a:pt x="2897915" y="1858831"/>
                  <a:pt x="3240021" y="1201738"/>
                  <a:pt x="3791942" y="721122"/>
                </a:cubicBezTo>
                <a:cubicBezTo>
                  <a:pt x="4343863" y="240374"/>
                  <a:pt x="5039452" y="0"/>
                  <a:pt x="5878711" y="0"/>
                </a:cubicBezTo>
                <a:cubicBezTo>
                  <a:pt x="6783983" y="0"/>
                  <a:pt x="7522898" y="277085"/>
                  <a:pt x="8095456" y="831255"/>
                </a:cubicBezTo>
                <a:cubicBezTo>
                  <a:pt x="8668147" y="1385293"/>
                  <a:pt x="8987565" y="2137900"/>
                  <a:pt x="9053711" y="3089077"/>
                </a:cubicBezTo>
                <a:lnTo>
                  <a:pt x="9066014" y="3548063"/>
                </a:lnTo>
                <a:cubicBezTo>
                  <a:pt x="9066014" y="4577689"/>
                  <a:pt x="8778676" y="5403718"/>
                  <a:pt x="8204001" y="6026150"/>
                </a:cubicBezTo>
                <a:cubicBezTo>
                  <a:pt x="7629459" y="6648450"/>
                  <a:pt x="6858463" y="6959600"/>
                  <a:pt x="5891014" y="6959600"/>
                </a:cubicBezTo>
                <a:cubicBezTo>
                  <a:pt x="5018683" y="6959600"/>
                  <a:pt x="4304506" y="6706791"/>
                  <a:pt x="3748484" y="6201172"/>
                </a:cubicBezTo>
                <a:cubicBezTo>
                  <a:pt x="3192462" y="5695554"/>
                  <a:pt x="2858624" y="5009688"/>
                  <a:pt x="2746970" y="4143574"/>
                </a:cubicBezTo>
                <a:lnTo>
                  <a:pt x="1798240" y="4143574"/>
                </a:lnTo>
                <a:lnTo>
                  <a:pt x="1798240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798240" y="127000"/>
                </a:lnTo>
                <a:close/>
                <a:moveTo>
                  <a:pt x="4501951" y="3548063"/>
                </a:moveTo>
                <a:cubicBezTo>
                  <a:pt x="4501951" y="4185047"/>
                  <a:pt x="4621808" y="4672079"/>
                  <a:pt x="4861520" y="5009158"/>
                </a:cubicBezTo>
                <a:cubicBezTo>
                  <a:pt x="5101365" y="5346237"/>
                  <a:pt x="5444529" y="5514777"/>
                  <a:pt x="5891014" y="5514777"/>
                </a:cubicBezTo>
                <a:cubicBezTo>
                  <a:pt x="6333397" y="5514777"/>
                  <a:pt x="6674445" y="5347296"/>
                  <a:pt x="6914158" y="5012333"/>
                </a:cubicBezTo>
                <a:cubicBezTo>
                  <a:pt x="7154003" y="4677238"/>
                  <a:pt x="7273925" y="4145757"/>
                  <a:pt x="7273925" y="3417888"/>
                </a:cubicBezTo>
                <a:cubicBezTo>
                  <a:pt x="7273925" y="2793339"/>
                  <a:pt x="7151952" y="2309416"/>
                  <a:pt x="6908006" y="1966119"/>
                </a:cubicBezTo>
                <a:cubicBezTo>
                  <a:pt x="6664060" y="1622822"/>
                  <a:pt x="6320962" y="1451174"/>
                  <a:pt x="5878711" y="1451174"/>
                </a:cubicBezTo>
                <a:cubicBezTo>
                  <a:pt x="5440429" y="1451174"/>
                  <a:pt x="5101365" y="1621830"/>
                  <a:pt x="4861520" y="1963143"/>
                </a:cubicBezTo>
                <a:cubicBezTo>
                  <a:pt x="4621808" y="2304323"/>
                  <a:pt x="4501951" y="2832630"/>
                  <a:pt x="4501951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8" name="Freeform 2578"/>
          <p:cNvSpPr/>
          <p:nvPr/>
        </p:nvSpPr>
        <p:spPr>
          <a:xfrm>
            <a:off x="1939403" y="3551723"/>
            <a:ext cx="58352" cy="67055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79" name="Freeform 2579"/>
          <p:cNvSpPr/>
          <p:nvPr/>
        </p:nvSpPr>
        <p:spPr>
          <a:xfrm>
            <a:off x="329312" y="3685073"/>
            <a:ext cx="63623" cy="67055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0" name="Freeform 2580"/>
          <p:cNvSpPr/>
          <p:nvPr/>
        </p:nvSpPr>
        <p:spPr>
          <a:xfrm>
            <a:off x="393415" y="36838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1" name="Freeform 2581"/>
          <p:cNvSpPr/>
          <p:nvPr/>
        </p:nvSpPr>
        <p:spPr>
          <a:xfrm>
            <a:off x="465170" y="36838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2" name="Freeform 2582"/>
          <p:cNvSpPr/>
          <p:nvPr/>
        </p:nvSpPr>
        <p:spPr>
          <a:xfrm>
            <a:off x="539715" y="3683803"/>
            <a:ext cx="60398" cy="94106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3" name="Freeform 2583"/>
          <p:cNvSpPr/>
          <p:nvPr/>
        </p:nvSpPr>
        <p:spPr>
          <a:xfrm>
            <a:off x="605235" y="3685073"/>
            <a:ext cx="75965" cy="87248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4" name="Freeform 2584"/>
          <p:cNvSpPr/>
          <p:nvPr/>
        </p:nvSpPr>
        <p:spPr>
          <a:xfrm>
            <a:off x="689194" y="3685073"/>
            <a:ext cx="58352" cy="67055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5" name="Freeform 2585"/>
          <p:cNvSpPr/>
          <p:nvPr/>
        </p:nvSpPr>
        <p:spPr>
          <a:xfrm>
            <a:off x="761203" y="368507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6" name="Freeform 2586"/>
          <p:cNvSpPr/>
          <p:nvPr/>
        </p:nvSpPr>
        <p:spPr>
          <a:xfrm>
            <a:off x="830545" y="3683803"/>
            <a:ext cx="59656" cy="6959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7" name="Freeform 2587"/>
          <p:cNvSpPr/>
          <p:nvPr/>
        </p:nvSpPr>
        <p:spPr>
          <a:xfrm>
            <a:off x="901284" y="3685073"/>
            <a:ext cx="68399" cy="86994"/>
          </a:xfrm>
          <a:custGeom>
            <a:avLst/>
            <a:gdLst/>
            <a:ahLst/>
            <a:cxnLst/>
            <a:rect l="0" t="0" r="0" b="0"/>
            <a:pathLst>
              <a:path w="6839942" h="8699500">
                <a:moveTo>
                  <a:pt x="0" y="0"/>
                </a:moveTo>
                <a:lnTo>
                  <a:pt x="1792089" y="0"/>
                </a:lnTo>
                <a:lnTo>
                  <a:pt x="1792089" y="5260777"/>
                </a:lnTo>
                <a:lnTo>
                  <a:pt x="4037013" y="5260777"/>
                </a:lnTo>
                <a:lnTo>
                  <a:pt x="4037013" y="0"/>
                </a:lnTo>
                <a:lnTo>
                  <a:pt x="5835253" y="0"/>
                </a:lnTo>
                <a:lnTo>
                  <a:pt x="5835253" y="5273279"/>
                </a:lnTo>
                <a:lnTo>
                  <a:pt x="6839942" y="5273279"/>
                </a:lnTo>
                <a:lnTo>
                  <a:pt x="6715919" y="8699500"/>
                </a:lnTo>
                <a:lnTo>
                  <a:pt x="5047655" y="8699500"/>
                </a:lnTo>
                <a:lnTo>
                  <a:pt x="5047655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8" name="Freeform 2588"/>
          <p:cNvSpPr/>
          <p:nvPr/>
        </p:nvSpPr>
        <p:spPr>
          <a:xfrm>
            <a:off x="978627" y="3685073"/>
            <a:ext cx="58352" cy="67055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89" name="Freeform 2589"/>
          <p:cNvSpPr/>
          <p:nvPr/>
        </p:nvSpPr>
        <p:spPr>
          <a:xfrm>
            <a:off x="1047846" y="36838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0" name="Freeform 2590"/>
          <p:cNvSpPr/>
          <p:nvPr/>
        </p:nvSpPr>
        <p:spPr>
          <a:xfrm>
            <a:off x="1122391" y="368507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1" name="Freeform 2591"/>
          <p:cNvSpPr/>
          <p:nvPr/>
        </p:nvSpPr>
        <p:spPr>
          <a:xfrm>
            <a:off x="1194400" y="368507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2" name="Freeform 2592"/>
          <p:cNvSpPr/>
          <p:nvPr/>
        </p:nvSpPr>
        <p:spPr>
          <a:xfrm>
            <a:off x="1259712" y="3685073"/>
            <a:ext cx="63374" cy="94106"/>
          </a:xfrm>
          <a:custGeom>
            <a:avLst/>
            <a:gdLst/>
            <a:ahLst/>
            <a:cxnLst/>
            <a:rect l="0" t="0" r="0" b="0"/>
            <a:pathLst>
              <a:path w="6337498" h="9410700">
                <a:moveTo>
                  <a:pt x="3175000" y="4169371"/>
                </a:moveTo>
                <a:lnTo>
                  <a:pt x="4415234" y="0"/>
                </a:lnTo>
                <a:lnTo>
                  <a:pt x="6337498" y="0"/>
                </a:lnTo>
                <a:lnTo>
                  <a:pt x="3640137" y="7744221"/>
                </a:lnTo>
                <a:lnTo>
                  <a:pt x="3491309" y="8097242"/>
                </a:lnTo>
                <a:cubicBezTo>
                  <a:pt x="3090201" y="8972880"/>
                  <a:pt x="2428742" y="9410700"/>
                  <a:pt x="1506934" y="9410700"/>
                </a:cubicBezTo>
                <a:cubicBezTo>
                  <a:pt x="1246452" y="9410700"/>
                  <a:pt x="981868" y="9371409"/>
                  <a:pt x="713184" y="9292828"/>
                </a:cubicBezTo>
                <a:lnTo>
                  <a:pt x="713184" y="7934920"/>
                </a:lnTo>
                <a:lnTo>
                  <a:pt x="986036" y="7941071"/>
                </a:lnTo>
                <a:cubicBezTo>
                  <a:pt x="1324967" y="7941071"/>
                  <a:pt x="1578107" y="7889411"/>
                  <a:pt x="1745456" y="7786092"/>
                </a:cubicBezTo>
                <a:cubicBezTo>
                  <a:pt x="1912937" y="7682904"/>
                  <a:pt x="2044237" y="7511586"/>
                  <a:pt x="2139354" y="7272139"/>
                </a:cubicBezTo>
                <a:lnTo>
                  <a:pt x="2350293" y="6720879"/>
                </a:lnTo>
                <a:lnTo>
                  <a:pt x="0" y="0"/>
                </a:lnTo>
                <a:lnTo>
                  <a:pt x="1928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3" name="Freeform 2593"/>
          <p:cNvSpPr/>
          <p:nvPr/>
        </p:nvSpPr>
        <p:spPr>
          <a:xfrm>
            <a:off x="1331463" y="3683803"/>
            <a:ext cx="90660" cy="69595"/>
          </a:xfrm>
          <a:custGeom>
            <a:avLst/>
            <a:gdLst/>
            <a:ahLst/>
            <a:cxnLst/>
            <a:rect l="0" t="0" r="0" b="0"/>
            <a:pathLst>
              <a:path w="9066014" h="6959600">
                <a:moveTo>
                  <a:pt x="1798240" y="2692400"/>
                </a:moveTo>
                <a:lnTo>
                  <a:pt x="2765623" y="2692400"/>
                </a:lnTo>
                <a:cubicBezTo>
                  <a:pt x="2897915" y="1858831"/>
                  <a:pt x="3240021" y="1201738"/>
                  <a:pt x="3791942" y="721122"/>
                </a:cubicBezTo>
                <a:cubicBezTo>
                  <a:pt x="4343863" y="240374"/>
                  <a:pt x="5039452" y="0"/>
                  <a:pt x="5878711" y="0"/>
                </a:cubicBezTo>
                <a:cubicBezTo>
                  <a:pt x="6783983" y="0"/>
                  <a:pt x="7522898" y="277085"/>
                  <a:pt x="8095456" y="831255"/>
                </a:cubicBezTo>
                <a:cubicBezTo>
                  <a:pt x="8668147" y="1385293"/>
                  <a:pt x="8987565" y="2137900"/>
                  <a:pt x="9053711" y="3089077"/>
                </a:cubicBezTo>
                <a:lnTo>
                  <a:pt x="9066014" y="3548063"/>
                </a:lnTo>
                <a:cubicBezTo>
                  <a:pt x="9066014" y="4577689"/>
                  <a:pt x="8778676" y="5403718"/>
                  <a:pt x="8204001" y="6026150"/>
                </a:cubicBezTo>
                <a:cubicBezTo>
                  <a:pt x="7629459" y="6648450"/>
                  <a:pt x="6858463" y="6959600"/>
                  <a:pt x="5891014" y="6959600"/>
                </a:cubicBezTo>
                <a:cubicBezTo>
                  <a:pt x="5018683" y="6959600"/>
                  <a:pt x="4304506" y="6706791"/>
                  <a:pt x="3748484" y="6201172"/>
                </a:cubicBezTo>
                <a:cubicBezTo>
                  <a:pt x="3192462" y="5695554"/>
                  <a:pt x="2858624" y="5009688"/>
                  <a:pt x="2746970" y="4143574"/>
                </a:cubicBezTo>
                <a:lnTo>
                  <a:pt x="1798240" y="4143574"/>
                </a:lnTo>
                <a:lnTo>
                  <a:pt x="1798240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798240" y="127000"/>
                </a:lnTo>
                <a:close/>
                <a:moveTo>
                  <a:pt x="4501951" y="3548063"/>
                </a:moveTo>
                <a:cubicBezTo>
                  <a:pt x="4501951" y="4185047"/>
                  <a:pt x="4621808" y="4672079"/>
                  <a:pt x="4861520" y="5009158"/>
                </a:cubicBezTo>
                <a:cubicBezTo>
                  <a:pt x="5101365" y="5346237"/>
                  <a:pt x="5444529" y="5514777"/>
                  <a:pt x="5891014" y="5514777"/>
                </a:cubicBezTo>
                <a:cubicBezTo>
                  <a:pt x="6333397" y="5514777"/>
                  <a:pt x="6674445" y="5347296"/>
                  <a:pt x="6914158" y="5012333"/>
                </a:cubicBezTo>
                <a:cubicBezTo>
                  <a:pt x="7154003" y="4677238"/>
                  <a:pt x="7273925" y="4145757"/>
                  <a:pt x="7273925" y="3417888"/>
                </a:cubicBezTo>
                <a:cubicBezTo>
                  <a:pt x="7273925" y="2793339"/>
                  <a:pt x="7151952" y="2309416"/>
                  <a:pt x="6908006" y="1966119"/>
                </a:cubicBezTo>
                <a:cubicBezTo>
                  <a:pt x="6664060" y="1622822"/>
                  <a:pt x="6320962" y="1451174"/>
                  <a:pt x="5878711" y="1451174"/>
                </a:cubicBezTo>
                <a:cubicBezTo>
                  <a:pt x="5440429" y="1451174"/>
                  <a:pt x="5101365" y="1621830"/>
                  <a:pt x="4861520" y="1963143"/>
                </a:cubicBezTo>
                <a:cubicBezTo>
                  <a:pt x="4621808" y="2304323"/>
                  <a:pt x="4501951" y="2832630"/>
                  <a:pt x="4501951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4" name="Freeform 2594"/>
          <p:cNvSpPr/>
          <p:nvPr/>
        </p:nvSpPr>
        <p:spPr>
          <a:xfrm>
            <a:off x="1464052" y="3685073"/>
            <a:ext cx="58352" cy="67055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5" name="Freeform 2595"/>
          <p:cNvSpPr/>
          <p:nvPr/>
        </p:nvSpPr>
        <p:spPr>
          <a:xfrm>
            <a:off x="1533271" y="36838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6" name="Freeform 2596"/>
          <p:cNvSpPr/>
          <p:nvPr/>
        </p:nvSpPr>
        <p:spPr>
          <a:xfrm>
            <a:off x="1608994" y="3685073"/>
            <a:ext cx="79684" cy="67055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7" name="Freeform 2597"/>
          <p:cNvSpPr/>
          <p:nvPr/>
        </p:nvSpPr>
        <p:spPr>
          <a:xfrm>
            <a:off x="1701419" y="36838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8" name="Freeform 2598"/>
          <p:cNvSpPr/>
          <p:nvPr/>
        </p:nvSpPr>
        <p:spPr>
          <a:xfrm>
            <a:off x="1775777" y="3685073"/>
            <a:ext cx="103993" cy="86994"/>
          </a:xfrm>
          <a:custGeom>
            <a:avLst/>
            <a:gdLst/>
            <a:ahLst/>
            <a:cxnLst/>
            <a:rect l="0" t="0" r="0" b="0"/>
            <a:pathLst>
              <a:path w="10399316" h="8699500">
                <a:moveTo>
                  <a:pt x="1792089" y="0"/>
                </a:moveTo>
                <a:lnTo>
                  <a:pt x="1792089" y="5260777"/>
                </a:lnTo>
                <a:lnTo>
                  <a:pt x="3633986" y="5260777"/>
                </a:lnTo>
                <a:lnTo>
                  <a:pt x="3633986" y="0"/>
                </a:lnTo>
                <a:lnTo>
                  <a:pt x="5432227" y="0"/>
                </a:lnTo>
                <a:lnTo>
                  <a:pt x="5432227" y="5260777"/>
                </a:lnTo>
                <a:lnTo>
                  <a:pt x="7267774" y="5260777"/>
                </a:lnTo>
                <a:lnTo>
                  <a:pt x="7267774" y="0"/>
                </a:lnTo>
                <a:lnTo>
                  <a:pt x="9066213" y="0"/>
                </a:lnTo>
                <a:lnTo>
                  <a:pt x="9066213" y="5273279"/>
                </a:lnTo>
                <a:lnTo>
                  <a:pt x="10399316" y="5273279"/>
                </a:lnTo>
                <a:lnTo>
                  <a:pt x="10275292" y="8699500"/>
                </a:lnTo>
                <a:lnTo>
                  <a:pt x="8607227" y="8699500"/>
                </a:lnTo>
                <a:lnTo>
                  <a:pt x="8607227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599" name="Freeform 2599"/>
          <p:cNvSpPr/>
          <p:nvPr/>
        </p:nvSpPr>
        <p:spPr>
          <a:xfrm>
            <a:off x="1889537" y="3685073"/>
            <a:ext cx="59654" cy="67055"/>
          </a:xfrm>
          <a:custGeom>
            <a:avLst/>
            <a:gdLst/>
            <a:ahLst/>
            <a:cxnLst/>
            <a:rect l="0" t="0" r="0" b="0"/>
            <a:pathLst>
              <a:path w="5965428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00" name="Freeform 2600"/>
          <p:cNvSpPr/>
          <p:nvPr/>
        </p:nvSpPr>
        <p:spPr>
          <a:xfrm>
            <a:off x="1993735" y="3685073"/>
            <a:ext cx="53826" cy="67055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01" name="Freeform 2601"/>
          <p:cNvSpPr/>
          <p:nvPr/>
        </p:nvSpPr>
        <p:spPr>
          <a:xfrm>
            <a:off x="2063972" y="3683803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02" name="Freeform 2602"/>
          <p:cNvSpPr/>
          <p:nvPr/>
        </p:nvSpPr>
        <p:spPr>
          <a:xfrm>
            <a:off x="2167278" y="3685073"/>
            <a:ext cx="56306" cy="67055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03" name="Freeform 2603"/>
          <p:cNvSpPr/>
          <p:nvPr/>
        </p:nvSpPr>
        <p:spPr>
          <a:xfrm>
            <a:off x="2235765" y="3683803"/>
            <a:ext cx="56554" cy="6959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04" name="Freeform 2604"/>
          <p:cNvSpPr/>
          <p:nvPr/>
        </p:nvSpPr>
        <p:spPr>
          <a:xfrm>
            <a:off x="2302248" y="3683803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05" name="Freeform 2605"/>
          <p:cNvSpPr/>
          <p:nvPr/>
        </p:nvSpPr>
        <p:spPr>
          <a:xfrm>
            <a:off x="2366206" y="3685073"/>
            <a:ext cx="57610" cy="67055"/>
          </a:xfrm>
          <a:custGeom>
            <a:avLst/>
            <a:gdLst/>
            <a:ahLst/>
            <a:cxnLst/>
            <a:rect l="0" t="0" r="0" b="0"/>
            <a:pathLst>
              <a:path w="5761037" h="6705600">
                <a:moveTo>
                  <a:pt x="2865041" y="2447925"/>
                </a:moveTo>
                <a:lnTo>
                  <a:pt x="4353322" y="0"/>
                </a:lnTo>
                <a:lnTo>
                  <a:pt x="5692775" y="0"/>
                </a:lnTo>
                <a:lnTo>
                  <a:pt x="3497461" y="3315494"/>
                </a:lnTo>
                <a:lnTo>
                  <a:pt x="5761037" y="6705600"/>
                </a:lnTo>
                <a:lnTo>
                  <a:pt x="4433887" y="6705600"/>
                </a:lnTo>
                <a:lnTo>
                  <a:pt x="2883694" y="4195565"/>
                </a:lnTo>
                <a:lnTo>
                  <a:pt x="1333302" y="6705600"/>
                </a:lnTo>
                <a:lnTo>
                  <a:pt x="0" y="6705600"/>
                </a:lnTo>
                <a:lnTo>
                  <a:pt x="2263577" y="3315494"/>
                </a:lnTo>
                <a:lnTo>
                  <a:pt x="68262" y="0"/>
                </a:lnTo>
                <a:lnTo>
                  <a:pt x="139541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06" name="Rectangle 2606"/>
          <p:cNvSpPr/>
          <p:nvPr/>
        </p:nvSpPr>
        <p:spPr>
          <a:xfrm>
            <a:off x="294935" y="3764829"/>
            <a:ext cx="2220761" cy="285750"/>
          </a:xfrm>
          <a:prstGeom prst="rect">
            <a:avLst/>
          </a:prstGeom>
        </p:spPr>
      </p:sp>
      <p:sp>
        <p:nvSpPr>
          <p:cNvPr id="2607" name="Freeform 2607"/>
          <p:cNvSpPr/>
          <p:nvPr/>
        </p:nvSpPr>
        <p:spPr>
          <a:xfrm>
            <a:off x="301136" y="3817153"/>
            <a:ext cx="55314" cy="69595"/>
          </a:xfrm>
          <a:custGeom>
            <a:avLst/>
            <a:gdLst/>
            <a:ahLst/>
            <a:cxnLst/>
            <a:rect l="0" t="0" r="0" b="0"/>
            <a:pathLst>
              <a:path w="5531445" h="6959600">
                <a:moveTo>
                  <a:pt x="2604492" y="942579"/>
                </a:moveTo>
                <a:cubicBezTo>
                  <a:pt x="2195181" y="942579"/>
                  <a:pt x="1840640" y="1072886"/>
                  <a:pt x="1540867" y="1333500"/>
                </a:cubicBezTo>
                <a:cubicBezTo>
                  <a:pt x="1241226" y="1593983"/>
                  <a:pt x="1091406" y="1902090"/>
                  <a:pt x="1091406" y="2257822"/>
                </a:cubicBezTo>
                <a:lnTo>
                  <a:pt x="0" y="2257822"/>
                </a:lnTo>
                <a:cubicBezTo>
                  <a:pt x="0" y="1873250"/>
                  <a:pt x="121973" y="1505215"/>
                  <a:pt x="365918" y="1153716"/>
                </a:cubicBezTo>
                <a:cubicBezTo>
                  <a:pt x="609864" y="802217"/>
                  <a:pt x="934376" y="522090"/>
                  <a:pt x="1339453" y="313333"/>
                </a:cubicBezTo>
                <a:cubicBezTo>
                  <a:pt x="1744662" y="104445"/>
                  <a:pt x="2166342" y="0"/>
                  <a:pt x="2604492" y="0"/>
                </a:cubicBezTo>
                <a:cubicBezTo>
                  <a:pt x="3476823" y="0"/>
                  <a:pt x="4182732" y="315318"/>
                  <a:pt x="4722217" y="945952"/>
                </a:cubicBezTo>
                <a:cubicBezTo>
                  <a:pt x="5261702" y="1576586"/>
                  <a:pt x="5531445" y="2400499"/>
                  <a:pt x="5531445" y="3417690"/>
                </a:cubicBezTo>
                <a:lnTo>
                  <a:pt x="5531445" y="3609975"/>
                </a:lnTo>
                <a:cubicBezTo>
                  <a:pt x="5531445" y="4238625"/>
                  <a:pt x="5408414" y="4812441"/>
                  <a:pt x="5162351" y="5331421"/>
                </a:cubicBezTo>
                <a:cubicBezTo>
                  <a:pt x="4916421" y="5850401"/>
                  <a:pt x="4571272" y="6251509"/>
                  <a:pt x="4126904" y="6534746"/>
                </a:cubicBezTo>
                <a:cubicBezTo>
                  <a:pt x="3682537" y="6817982"/>
                  <a:pt x="3175066" y="6959600"/>
                  <a:pt x="2604492" y="6959600"/>
                </a:cubicBezTo>
                <a:cubicBezTo>
                  <a:pt x="1860351" y="6959600"/>
                  <a:pt x="1240234" y="6728024"/>
                  <a:pt x="744140" y="6264871"/>
                </a:cubicBezTo>
                <a:cubicBezTo>
                  <a:pt x="248047" y="5801718"/>
                  <a:pt x="0" y="5224860"/>
                  <a:pt x="0" y="4534297"/>
                </a:cubicBezTo>
                <a:lnTo>
                  <a:pt x="1091406" y="4534297"/>
                </a:lnTo>
                <a:cubicBezTo>
                  <a:pt x="1091406" y="4956175"/>
                  <a:pt x="1238184" y="5310849"/>
                  <a:pt x="1531739" y="5598319"/>
                </a:cubicBezTo>
                <a:cubicBezTo>
                  <a:pt x="1825294" y="5885657"/>
                  <a:pt x="2182878" y="6029325"/>
                  <a:pt x="2604492" y="6029325"/>
                </a:cubicBezTo>
                <a:cubicBezTo>
                  <a:pt x="3096485" y="6029325"/>
                  <a:pt x="3501628" y="5839090"/>
                  <a:pt x="3819922" y="5458619"/>
                </a:cubicBezTo>
                <a:cubicBezTo>
                  <a:pt x="4138215" y="5078016"/>
                  <a:pt x="4322167" y="4554803"/>
                  <a:pt x="4371776" y="3888979"/>
                </a:cubicBezTo>
                <a:lnTo>
                  <a:pt x="1854200" y="3888979"/>
                </a:lnTo>
                <a:lnTo>
                  <a:pt x="1854200" y="2946400"/>
                </a:lnTo>
                <a:lnTo>
                  <a:pt x="4359473" y="2946400"/>
                </a:lnTo>
                <a:cubicBezTo>
                  <a:pt x="4301529" y="2342621"/>
                  <a:pt x="4117512" y="1857706"/>
                  <a:pt x="3807420" y="1491655"/>
                </a:cubicBezTo>
                <a:cubicBezTo>
                  <a:pt x="3497461" y="1125604"/>
                  <a:pt x="3096485" y="942579"/>
                  <a:pt x="2604492" y="94257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08" name="Freeform 2608"/>
          <p:cNvSpPr/>
          <p:nvPr/>
        </p:nvSpPr>
        <p:spPr>
          <a:xfrm>
            <a:off x="360661" y="3818423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09" name="Freeform 2609"/>
          <p:cNvSpPr/>
          <p:nvPr/>
        </p:nvSpPr>
        <p:spPr>
          <a:xfrm>
            <a:off x="425011" y="3817153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0" name="Freeform 2610"/>
          <p:cNvSpPr/>
          <p:nvPr/>
        </p:nvSpPr>
        <p:spPr>
          <a:xfrm>
            <a:off x="496887" y="3818423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1" name="Freeform 2611"/>
          <p:cNvSpPr/>
          <p:nvPr/>
        </p:nvSpPr>
        <p:spPr>
          <a:xfrm>
            <a:off x="567251" y="3817153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2" name="Freeform 2612"/>
          <p:cNvSpPr/>
          <p:nvPr/>
        </p:nvSpPr>
        <p:spPr>
          <a:xfrm>
            <a:off x="631995" y="3818423"/>
            <a:ext cx="57610" cy="67055"/>
          </a:xfrm>
          <a:custGeom>
            <a:avLst/>
            <a:gdLst/>
            <a:ahLst/>
            <a:cxnLst/>
            <a:rect l="0" t="0" r="0" b="0"/>
            <a:pathLst>
              <a:path w="5761037" h="6705600">
                <a:moveTo>
                  <a:pt x="2865041" y="2447925"/>
                </a:moveTo>
                <a:lnTo>
                  <a:pt x="4353322" y="0"/>
                </a:lnTo>
                <a:lnTo>
                  <a:pt x="5692775" y="0"/>
                </a:lnTo>
                <a:lnTo>
                  <a:pt x="3497461" y="3315494"/>
                </a:lnTo>
                <a:lnTo>
                  <a:pt x="5761037" y="6705600"/>
                </a:lnTo>
                <a:lnTo>
                  <a:pt x="4433887" y="6705600"/>
                </a:lnTo>
                <a:lnTo>
                  <a:pt x="2883694" y="4195565"/>
                </a:lnTo>
                <a:lnTo>
                  <a:pt x="1333302" y="6705600"/>
                </a:lnTo>
                <a:lnTo>
                  <a:pt x="0" y="6705600"/>
                </a:lnTo>
                <a:lnTo>
                  <a:pt x="2263577" y="3315494"/>
                </a:lnTo>
                <a:lnTo>
                  <a:pt x="68262" y="0"/>
                </a:lnTo>
                <a:lnTo>
                  <a:pt x="139541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3" name="Freeform 2613"/>
          <p:cNvSpPr/>
          <p:nvPr/>
        </p:nvSpPr>
        <p:spPr>
          <a:xfrm>
            <a:off x="725437" y="3818423"/>
            <a:ext cx="93761" cy="67055"/>
          </a:xfrm>
          <a:custGeom>
            <a:avLst/>
            <a:gdLst/>
            <a:ahLst/>
            <a:cxnLst/>
            <a:rect l="0" t="0" r="0" b="0"/>
            <a:pathLst>
              <a:path w="9376172" h="6705600">
                <a:moveTo>
                  <a:pt x="5946973" y="3609975"/>
                </a:moveTo>
                <a:lnTo>
                  <a:pt x="5054004" y="3609975"/>
                </a:lnTo>
                <a:lnTo>
                  <a:pt x="5054004" y="6705600"/>
                </a:lnTo>
                <a:lnTo>
                  <a:pt x="4309864" y="6705600"/>
                </a:lnTo>
                <a:lnTo>
                  <a:pt x="4309864" y="3609975"/>
                </a:lnTo>
                <a:lnTo>
                  <a:pt x="3423047" y="3609975"/>
                </a:lnTo>
                <a:lnTo>
                  <a:pt x="942578" y="6705600"/>
                </a:lnTo>
                <a:lnTo>
                  <a:pt x="0" y="6705600"/>
                </a:lnTo>
                <a:lnTo>
                  <a:pt x="2778125" y="3268861"/>
                </a:lnTo>
                <a:lnTo>
                  <a:pt x="310157" y="0"/>
                </a:lnTo>
                <a:lnTo>
                  <a:pt x="1209278" y="0"/>
                </a:lnTo>
                <a:lnTo>
                  <a:pt x="3410743" y="2946400"/>
                </a:lnTo>
                <a:lnTo>
                  <a:pt x="4309864" y="2946400"/>
                </a:lnTo>
                <a:lnTo>
                  <a:pt x="4309864" y="0"/>
                </a:lnTo>
                <a:lnTo>
                  <a:pt x="5054004" y="0"/>
                </a:lnTo>
                <a:lnTo>
                  <a:pt x="5054004" y="2946400"/>
                </a:lnTo>
                <a:lnTo>
                  <a:pt x="5959276" y="2946400"/>
                </a:lnTo>
                <a:lnTo>
                  <a:pt x="8160742" y="0"/>
                </a:lnTo>
                <a:lnTo>
                  <a:pt x="9072364" y="0"/>
                </a:lnTo>
                <a:lnTo>
                  <a:pt x="6591895" y="3268861"/>
                </a:lnTo>
                <a:lnTo>
                  <a:pt x="9376172" y="6705600"/>
                </a:lnTo>
                <a:lnTo>
                  <a:pt x="8427442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4" name="Freeform 2614"/>
          <p:cNvSpPr/>
          <p:nvPr/>
        </p:nvSpPr>
        <p:spPr>
          <a:xfrm>
            <a:off x="831527" y="38184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5" name="Freeform 2615"/>
          <p:cNvSpPr/>
          <p:nvPr/>
        </p:nvSpPr>
        <p:spPr>
          <a:xfrm>
            <a:off x="898809" y="3817153"/>
            <a:ext cx="51593" cy="69468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6" name="Freeform 2616"/>
          <p:cNvSpPr/>
          <p:nvPr/>
        </p:nvSpPr>
        <p:spPr>
          <a:xfrm>
            <a:off x="967163" y="38184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7" name="Freeform 2617"/>
          <p:cNvSpPr/>
          <p:nvPr/>
        </p:nvSpPr>
        <p:spPr>
          <a:xfrm>
            <a:off x="1033949" y="3817153"/>
            <a:ext cx="55250" cy="6959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8" name="Freeform 2618"/>
          <p:cNvSpPr/>
          <p:nvPr/>
        </p:nvSpPr>
        <p:spPr>
          <a:xfrm>
            <a:off x="1104069" y="38184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19" name="Freeform 2619"/>
          <p:cNvSpPr/>
          <p:nvPr/>
        </p:nvSpPr>
        <p:spPr>
          <a:xfrm>
            <a:off x="1175443" y="38184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0" name="Freeform 2620"/>
          <p:cNvSpPr/>
          <p:nvPr/>
        </p:nvSpPr>
        <p:spPr>
          <a:xfrm>
            <a:off x="1242229" y="3817153"/>
            <a:ext cx="59902" cy="6959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1" name="Freeform 2621"/>
          <p:cNvSpPr/>
          <p:nvPr/>
        </p:nvSpPr>
        <p:spPr>
          <a:xfrm>
            <a:off x="1317876" y="3818423"/>
            <a:ext cx="41362" cy="67055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2" name="Freeform 2622"/>
          <p:cNvSpPr/>
          <p:nvPr/>
        </p:nvSpPr>
        <p:spPr>
          <a:xfrm>
            <a:off x="1365673" y="3817153"/>
            <a:ext cx="59902" cy="6959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3" name="Freeform 2623"/>
          <p:cNvSpPr/>
          <p:nvPr/>
        </p:nvSpPr>
        <p:spPr>
          <a:xfrm>
            <a:off x="1472242" y="3818423"/>
            <a:ext cx="57856" cy="86994"/>
          </a:xfrm>
          <a:custGeom>
            <a:avLst/>
            <a:gdLst/>
            <a:ahLst/>
            <a:cxnLst/>
            <a:rect l="0" t="0" r="0" b="0"/>
            <a:pathLst>
              <a:path w="5785643" h="8699500">
                <a:moveTo>
                  <a:pt x="0" y="0"/>
                </a:moveTo>
                <a:lnTo>
                  <a:pt x="744140" y="0"/>
                </a:lnTo>
                <a:lnTo>
                  <a:pt x="744140" y="6079332"/>
                </a:lnTo>
                <a:lnTo>
                  <a:pt x="4359473" y="6079332"/>
                </a:lnTo>
                <a:lnTo>
                  <a:pt x="4359473" y="0"/>
                </a:lnTo>
                <a:lnTo>
                  <a:pt x="5103614" y="0"/>
                </a:lnTo>
                <a:lnTo>
                  <a:pt x="5103614" y="6079332"/>
                </a:lnTo>
                <a:lnTo>
                  <a:pt x="5785643" y="6079332"/>
                </a:lnTo>
                <a:lnTo>
                  <a:pt x="5729883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4" name="Freeform 2624"/>
          <p:cNvSpPr/>
          <p:nvPr/>
        </p:nvSpPr>
        <p:spPr>
          <a:xfrm>
            <a:off x="1544505" y="38184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5" name="Freeform 2625"/>
          <p:cNvSpPr/>
          <p:nvPr/>
        </p:nvSpPr>
        <p:spPr>
          <a:xfrm>
            <a:off x="1615818" y="3818423"/>
            <a:ext cx="54693" cy="67055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6" name="Freeform 2626"/>
          <p:cNvSpPr/>
          <p:nvPr/>
        </p:nvSpPr>
        <p:spPr>
          <a:xfrm>
            <a:off x="1674224" y="3818423"/>
            <a:ext cx="58539" cy="67055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7" name="Freeform 2627"/>
          <p:cNvSpPr/>
          <p:nvPr/>
        </p:nvSpPr>
        <p:spPr>
          <a:xfrm>
            <a:off x="1749070" y="3817153"/>
            <a:ext cx="53764" cy="6959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8" name="Freeform 2628"/>
          <p:cNvSpPr/>
          <p:nvPr/>
        </p:nvSpPr>
        <p:spPr>
          <a:xfrm>
            <a:off x="1851845" y="38184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29" name="Freeform 2629"/>
          <p:cNvSpPr/>
          <p:nvPr/>
        </p:nvSpPr>
        <p:spPr>
          <a:xfrm>
            <a:off x="1922662" y="3817153"/>
            <a:ext cx="54012" cy="94106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0" name="Freeform 2630"/>
          <p:cNvSpPr/>
          <p:nvPr/>
        </p:nvSpPr>
        <p:spPr>
          <a:xfrm>
            <a:off x="1988989" y="3817153"/>
            <a:ext cx="59902" cy="6959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1" name="Freeform 2631"/>
          <p:cNvSpPr/>
          <p:nvPr/>
        </p:nvSpPr>
        <p:spPr>
          <a:xfrm>
            <a:off x="2060109" y="3817153"/>
            <a:ext cx="55250" cy="6959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2" name="Freeform 2632"/>
          <p:cNvSpPr/>
          <p:nvPr/>
        </p:nvSpPr>
        <p:spPr>
          <a:xfrm>
            <a:off x="2130168" y="3818423"/>
            <a:ext cx="54693" cy="67055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3" name="Freeform 2633"/>
          <p:cNvSpPr/>
          <p:nvPr/>
        </p:nvSpPr>
        <p:spPr>
          <a:xfrm>
            <a:off x="2188326" y="3818423"/>
            <a:ext cx="55375" cy="67055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4" name="Freeform 2634"/>
          <p:cNvSpPr/>
          <p:nvPr/>
        </p:nvSpPr>
        <p:spPr>
          <a:xfrm>
            <a:off x="2251483" y="3817153"/>
            <a:ext cx="53764" cy="6959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5" name="Freeform 2635"/>
          <p:cNvSpPr/>
          <p:nvPr/>
        </p:nvSpPr>
        <p:spPr>
          <a:xfrm>
            <a:off x="2350876" y="381842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6" name="Freeform 2636"/>
          <p:cNvSpPr/>
          <p:nvPr/>
        </p:nvSpPr>
        <p:spPr>
          <a:xfrm>
            <a:off x="2420218" y="3817153"/>
            <a:ext cx="59656" cy="6959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7" name="Freeform 2637"/>
          <p:cNvSpPr/>
          <p:nvPr/>
        </p:nvSpPr>
        <p:spPr>
          <a:xfrm>
            <a:off x="494196" y="3922182"/>
            <a:ext cx="63251" cy="97916"/>
          </a:xfrm>
          <a:custGeom>
            <a:avLst/>
            <a:gdLst/>
            <a:ahLst/>
            <a:cxnLst/>
            <a:rect l="0" t="0" r="0" b="0"/>
            <a:pathLst>
              <a:path w="6325195" h="9791700">
                <a:moveTo>
                  <a:pt x="3497461" y="3327400"/>
                </a:moveTo>
                <a:cubicBezTo>
                  <a:pt x="4357357" y="3327400"/>
                  <a:pt x="5043620" y="3612489"/>
                  <a:pt x="5556250" y="4182666"/>
                </a:cubicBezTo>
                <a:cubicBezTo>
                  <a:pt x="6068880" y="4752843"/>
                  <a:pt x="6325195" y="5527609"/>
                  <a:pt x="6325195" y="6506965"/>
                </a:cubicBezTo>
                <a:lnTo>
                  <a:pt x="6325195" y="6593682"/>
                </a:lnTo>
                <a:cubicBezTo>
                  <a:pt x="6325195" y="7560469"/>
                  <a:pt x="6039908" y="8335169"/>
                  <a:pt x="5469334" y="8917782"/>
                </a:cubicBezTo>
                <a:cubicBezTo>
                  <a:pt x="4898893" y="9500394"/>
                  <a:pt x="4132064" y="9791700"/>
                  <a:pt x="3168848" y="9791700"/>
                </a:cubicBezTo>
                <a:cubicBezTo>
                  <a:pt x="2201399" y="9791700"/>
                  <a:pt x="1431396" y="9476516"/>
                  <a:pt x="858837" y="8846146"/>
                </a:cubicBezTo>
                <a:cubicBezTo>
                  <a:pt x="286279" y="8215644"/>
                  <a:pt x="0" y="7358791"/>
                  <a:pt x="0" y="6275586"/>
                </a:cubicBezTo>
                <a:lnTo>
                  <a:pt x="0" y="5977930"/>
                </a:lnTo>
                <a:cubicBezTo>
                  <a:pt x="8334" y="4469011"/>
                  <a:pt x="263591" y="3287713"/>
                  <a:pt x="765770" y="2434035"/>
                </a:cubicBezTo>
                <a:cubicBezTo>
                  <a:pt x="1268082" y="1580357"/>
                  <a:pt x="2023599" y="1041863"/>
                  <a:pt x="3032323" y="818555"/>
                </a:cubicBezTo>
                <a:cubicBezTo>
                  <a:pt x="3561490" y="702800"/>
                  <a:pt x="3902538" y="588103"/>
                  <a:pt x="4055467" y="474465"/>
                </a:cubicBezTo>
                <a:cubicBezTo>
                  <a:pt x="4208529" y="360694"/>
                  <a:pt x="4285059" y="202539"/>
                  <a:pt x="4285059" y="0"/>
                </a:cubicBezTo>
                <a:lnTo>
                  <a:pt x="5736034" y="0"/>
                </a:lnTo>
                <a:cubicBezTo>
                  <a:pt x="5736034" y="649552"/>
                  <a:pt x="5561343" y="1137775"/>
                  <a:pt x="5211961" y="1464668"/>
                </a:cubicBezTo>
                <a:cubicBezTo>
                  <a:pt x="4862711" y="1791428"/>
                  <a:pt x="4241602" y="2043774"/>
                  <a:pt x="3348633" y="2221707"/>
                </a:cubicBezTo>
                <a:cubicBezTo>
                  <a:pt x="2819466" y="2329260"/>
                  <a:pt x="2401887" y="2538215"/>
                  <a:pt x="2095897" y="2848571"/>
                </a:cubicBezTo>
                <a:cubicBezTo>
                  <a:pt x="1790039" y="3158795"/>
                  <a:pt x="1583399" y="3595225"/>
                  <a:pt x="1475978" y="4157861"/>
                </a:cubicBezTo>
                <a:cubicBezTo>
                  <a:pt x="2046420" y="3604221"/>
                  <a:pt x="2720247" y="3327400"/>
                  <a:pt x="3497461" y="3327400"/>
                </a:cubicBezTo>
                <a:close/>
                <a:moveTo>
                  <a:pt x="3156347" y="4778574"/>
                </a:moveTo>
                <a:cubicBezTo>
                  <a:pt x="2730632" y="4778574"/>
                  <a:pt x="2396794" y="4921052"/>
                  <a:pt x="2154833" y="5206008"/>
                </a:cubicBezTo>
                <a:cubicBezTo>
                  <a:pt x="1913004" y="5490965"/>
                  <a:pt x="1792089" y="5953522"/>
                  <a:pt x="1792089" y="6593682"/>
                </a:cubicBezTo>
                <a:cubicBezTo>
                  <a:pt x="1792089" y="7163594"/>
                  <a:pt x="1909895" y="7598305"/>
                  <a:pt x="2145506" y="7897813"/>
                </a:cubicBezTo>
                <a:cubicBezTo>
                  <a:pt x="2381250" y="8197189"/>
                  <a:pt x="2722364" y="8346877"/>
                  <a:pt x="3168848" y="8346877"/>
                </a:cubicBezTo>
                <a:cubicBezTo>
                  <a:pt x="3602897" y="8346877"/>
                  <a:pt x="3937727" y="8200298"/>
                  <a:pt x="4173339" y="7907140"/>
                </a:cubicBezTo>
                <a:cubicBezTo>
                  <a:pt x="4409083" y="7613849"/>
                  <a:pt x="4529005" y="7182247"/>
                  <a:pt x="4533106" y="6612335"/>
                </a:cubicBezTo>
                <a:lnTo>
                  <a:pt x="4533106" y="6463507"/>
                </a:lnTo>
                <a:cubicBezTo>
                  <a:pt x="4533106" y="5914232"/>
                  <a:pt x="4412191" y="5496124"/>
                  <a:pt x="4170362" y="5209183"/>
                </a:cubicBezTo>
                <a:cubicBezTo>
                  <a:pt x="3928533" y="4922111"/>
                  <a:pt x="3590528" y="4778574"/>
                  <a:pt x="3156347" y="47785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8" name="Freeform 2638"/>
          <p:cNvSpPr/>
          <p:nvPr/>
        </p:nvSpPr>
        <p:spPr>
          <a:xfrm>
            <a:off x="565715" y="3950503"/>
            <a:ext cx="60896" cy="6959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39" name="Freeform 2639"/>
          <p:cNvSpPr/>
          <p:nvPr/>
        </p:nvSpPr>
        <p:spPr>
          <a:xfrm>
            <a:off x="634108" y="3950503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782814" y="2091730"/>
                </a:moveTo>
                <a:cubicBezTo>
                  <a:pt x="3782814" y="1857442"/>
                  <a:pt x="3705291" y="1675607"/>
                  <a:pt x="3550245" y="1546225"/>
                </a:cubicBezTo>
                <a:cubicBezTo>
                  <a:pt x="3395199" y="1416712"/>
                  <a:pt x="3175066" y="1351955"/>
                  <a:pt x="2889845" y="1351955"/>
                </a:cubicBezTo>
                <a:cubicBezTo>
                  <a:pt x="2596290" y="1351955"/>
                  <a:pt x="2357503" y="1413140"/>
                  <a:pt x="2173486" y="1535510"/>
                </a:cubicBezTo>
                <a:cubicBezTo>
                  <a:pt x="1989600" y="1657880"/>
                  <a:pt x="1897658" y="1831050"/>
                  <a:pt x="1897658" y="2055019"/>
                </a:cubicBezTo>
                <a:lnTo>
                  <a:pt x="105569" y="2055019"/>
                </a:lnTo>
                <a:cubicBezTo>
                  <a:pt x="105569" y="1446610"/>
                  <a:pt x="357716" y="952037"/>
                  <a:pt x="862012" y="571302"/>
                </a:cubicBezTo>
                <a:cubicBezTo>
                  <a:pt x="1366440" y="190435"/>
                  <a:pt x="2011362" y="0"/>
                  <a:pt x="2796778" y="0"/>
                </a:cubicBezTo>
                <a:cubicBezTo>
                  <a:pt x="3660775" y="0"/>
                  <a:pt x="4339762" y="169069"/>
                  <a:pt x="4833739" y="507207"/>
                </a:cubicBezTo>
                <a:cubicBezTo>
                  <a:pt x="5327848" y="845344"/>
                  <a:pt x="5574903" y="1325761"/>
                  <a:pt x="5574903" y="1948458"/>
                </a:cubicBezTo>
                <a:cubicBezTo>
                  <a:pt x="5574903" y="2245321"/>
                  <a:pt x="5484944" y="2518503"/>
                  <a:pt x="5305028" y="2768005"/>
                </a:cubicBezTo>
                <a:cubicBezTo>
                  <a:pt x="5125244" y="3017507"/>
                  <a:pt x="4872104" y="3216474"/>
                  <a:pt x="4545608" y="3364905"/>
                </a:cubicBezTo>
                <a:cubicBezTo>
                  <a:pt x="5310386" y="3634913"/>
                  <a:pt x="5692775" y="4156142"/>
                  <a:pt x="5692775" y="4928593"/>
                </a:cubicBezTo>
                <a:cubicBezTo>
                  <a:pt x="5692775" y="5547453"/>
                  <a:pt x="5429183" y="6040703"/>
                  <a:pt x="4902001" y="6408341"/>
                </a:cubicBezTo>
                <a:cubicBezTo>
                  <a:pt x="4374951" y="6775847"/>
                  <a:pt x="3673210" y="6959600"/>
                  <a:pt x="2796778" y="6959600"/>
                </a:cubicBezTo>
                <a:cubicBezTo>
                  <a:pt x="1982390" y="6959600"/>
                  <a:pt x="1312664" y="6769233"/>
                  <a:pt x="787598" y="6388497"/>
                </a:cubicBezTo>
                <a:cubicBezTo>
                  <a:pt x="262533" y="6007762"/>
                  <a:pt x="0" y="5494536"/>
                  <a:pt x="0" y="4848821"/>
                </a:cubicBezTo>
                <a:lnTo>
                  <a:pt x="1792287" y="4848821"/>
                </a:lnTo>
                <a:cubicBezTo>
                  <a:pt x="1792287" y="5076892"/>
                  <a:pt x="1893556" y="5261439"/>
                  <a:pt x="2096095" y="5402461"/>
                </a:cubicBezTo>
                <a:cubicBezTo>
                  <a:pt x="2298634" y="5543484"/>
                  <a:pt x="2563217" y="5613996"/>
                  <a:pt x="2889845" y="5613996"/>
                </a:cubicBezTo>
                <a:cubicBezTo>
                  <a:pt x="3208139" y="5613996"/>
                  <a:pt x="3456186" y="5538854"/>
                  <a:pt x="3633986" y="5388571"/>
                </a:cubicBezTo>
                <a:cubicBezTo>
                  <a:pt x="3811786" y="5238155"/>
                  <a:pt x="3900686" y="5041834"/>
                  <a:pt x="3900686" y="4799608"/>
                </a:cubicBezTo>
                <a:cubicBezTo>
                  <a:pt x="3900686" y="4503010"/>
                  <a:pt x="3815887" y="4291013"/>
                  <a:pt x="3646289" y="4163616"/>
                </a:cubicBezTo>
                <a:cubicBezTo>
                  <a:pt x="3476823" y="4036219"/>
                  <a:pt x="3222625" y="3972521"/>
                  <a:pt x="2883694" y="3972521"/>
                </a:cubicBezTo>
                <a:lnTo>
                  <a:pt x="1909961" y="3972521"/>
                </a:lnTo>
                <a:lnTo>
                  <a:pt x="1909961" y="2806700"/>
                </a:lnTo>
                <a:lnTo>
                  <a:pt x="2945606" y="2806700"/>
                </a:lnTo>
                <a:cubicBezTo>
                  <a:pt x="3503744" y="2790296"/>
                  <a:pt x="3782814" y="2551973"/>
                  <a:pt x="3782814" y="209173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0" name="Freeform 2640"/>
          <p:cNvSpPr/>
          <p:nvPr/>
        </p:nvSpPr>
        <p:spPr>
          <a:xfrm>
            <a:off x="703043" y="3951773"/>
            <a:ext cx="59779" cy="67055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1" name="Freeform 2641"/>
          <p:cNvSpPr/>
          <p:nvPr/>
        </p:nvSpPr>
        <p:spPr>
          <a:xfrm>
            <a:off x="770830" y="39505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2" name="Freeform 2642"/>
          <p:cNvSpPr/>
          <p:nvPr/>
        </p:nvSpPr>
        <p:spPr>
          <a:xfrm>
            <a:off x="842769" y="3950503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782814" y="2091730"/>
                </a:moveTo>
                <a:cubicBezTo>
                  <a:pt x="3782814" y="1857442"/>
                  <a:pt x="3705291" y="1675607"/>
                  <a:pt x="3550245" y="1546225"/>
                </a:cubicBezTo>
                <a:cubicBezTo>
                  <a:pt x="3395199" y="1416712"/>
                  <a:pt x="3175066" y="1351955"/>
                  <a:pt x="2889845" y="1351955"/>
                </a:cubicBezTo>
                <a:cubicBezTo>
                  <a:pt x="2596290" y="1351955"/>
                  <a:pt x="2357503" y="1413140"/>
                  <a:pt x="2173486" y="1535510"/>
                </a:cubicBezTo>
                <a:cubicBezTo>
                  <a:pt x="1989600" y="1657880"/>
                  <a:pt x="1897658" y="1831050"/>
                  <a:pt x="1897658" y="2055019"/>
                </a:cubicBezTo>
                <a:lnTo>
                  <a:pt x="105569" y="2055019"/>
                </a:lnTo>
                <a:cubicBezTo>
                  <a:pt x="105569" y="1446610"/>
                  <a:pt x="357716" y="952037"/>
                  <a:pt x="862012" y="571302"/>
                </a:cubicBezTo>
                <a:cubicBezTo>
                  <a:pt x="1366440" y="190435"/>
                  <a:pt x="2011362" y="0"/>
                  <a:pt x="2796778" y="0"/>
                </a:cubicBezTo>
                <a:cubicBezTo>
                  <a:pt x="3660775" y="0"/>
                  <a:pt x="4339762" y="169069"/>
                  <a:pt x="4833739" y="507207"/>
                </a:cubicBezTo>
                <a:cubicBezTo>
                  <a:pt x="5327848" y="845344"/>
                  <a:pt x="5574903" y="1325761"/>
                  <a:pt x="5574903" y="1948458"/>
                </a:cubicBezTo>
                <a:cubicBezTo>
                  <a:pt x="5574903" y="2245321"/>
                  <a:pt x="5484944" y="2518503"/>
                  <a:pt x="5305028" y="2768005"/>
                </a:cubicBezTo>
                <a:cubicBezTo>
                  <a:pt x="5125244" y="3017507"/>
                  <a:pt x="4872104" y="3216474"/>
                  <a:pt x="4545608" y="3364905"/>
                </a:cubicBezTo>
                <a:cubicBezTo>
                  <a:pt x="5310386" y="3634913"/>
                  <a:pt x="5692775" y="4156142"/>
                  <a:pt x="5692775" y="4928593"/>
                </a:cubicBezTo>
                <a:cubicBezTo>
                  <a:pt x="5692775" y="5547453"/>
                  <a:pt x="5429183" y="6040703"/>
                  <a:pt x="4902001" y="6408341"/>
                </a:cubicBezTo>
                <a:cubicBezTo>
                  <a:pt x="4374951" y="6775847"/>
                  <a:pt x="3673210" y="6959600"/>
                  <a:pt x="2796778" y="6959600"/>
                </a:cubicBezTo>
                <a:cubicBezTo>
                  <a:pt x="1982390" y="6959600"/>
                  <a:pt x="1312664" y="6769233"/>
                  <a:pt x="787598" y="6388497"/>
                </a:cubicBezTo>
                <a:cubicBezTo>
                  <a:pt x="262533" y="6007762"/>
                  <a:pt x="0" y="5494536"/>
                  <a:pt x="0" y="4848821"/>
                </a:cubicBezTo>
                <a:lnTo>
                  <a:pt x="1792287" y="4848821"/>
                </a:lnTo>
                <a:cubicBezTo>
                  <a:pt x="1792287" y="5076892"/>
                  <a:pt x="1893556" y="5261439"/>
                  <a:pt x="2096095" y="5402461"/>
                </a:cubicBezTo>
                <a:cubicBezTo>
                  <a:pt x="2298634" y="5543484"/>
                  <a:pt x="2563217" y="5613996"/>
                  <a:pt x="2889845" y="5613996"/>
                </a:cubicBezTo>
                <a:cubicBezTo>
                  <a:pt x="3208139" y="5613996"/>
                  <a:pt x="3456186" y="5538854"/>
                  <a:pt x="3633986" y="5388571"/>
                </a:cubicBezTo>
                <a:cubicBezTo>
                  <a:pt x="3811786" y="5238155"/>
                  <a:pt x="3900686" y="5041834"/>
                  <a:pt x="3900686" y="4799608"/>
                </a:cubicBezTo>
                <a:cubicBezTo>
                  <a:pt x="3900686" y="4503010"/>
                  <a:pt x="3815887" y="4291013"/>
                  <a:pt x="3646289" y="4163616"/>
                </a:cubicBezTo>
                <a:cubicBezTo>
                  <a:pt x="3476823" y="4036219"/>
                  <a:pt x="3222625" y="3972521"/>
                  <a:pt x="2883694" y="3972521"/>
                </a:cubicBezTo>
                <a:lnTo>
                  <a:pt x="1909961" y="3972521"/>
                </a:lnTo>
                <a:lnTo>
                  <a:pt x="1909961" y="2806700"/>
                </a:lnTo>
                <a:lnTo>
                  <a:pt x="2945606" y="2806700"/>
                </a:lnTo>
                <a:cubicBezTo>
                  <a:pt x="3503744" y="2790296"/>
                  <a:pt x="3782814" y="2551973"/>
                  <a:pt x="3782814" y="209173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3" name="Freeform 2643"/>
          <p:cNvSpPr/>
          <p:nvPr/>
        </p:nvSpPr>
        <p:spPr>
          <a:xfrm>
            <a:off x="911704" y="3951773"/>
            <a:ext cx="79684" cy="67055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4" name="Freeform 2644"/>
          <p:cNvSpPr/>
          <p:nvPr/>
        </p:nvSpPr>
        <p:spPr>
          <a:xfrm>
            <a:off x="1004500" y="3950503"/>
            <a:ext cx="60896" cy="6959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5" name="Freeform 2645"/>
          <p:cNvSpPr/>
          <p:nvPr/>
        </p:nvSpPr>
        <p:spPr>
          <a:xfrm>
            <a:off x="1072893" y="3950503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782814" y="2091730"/>
                </a:moveTo>
                <a:cubicBezTo>
                  <a:pt x="3782814" y="1857442"/>
                  <a:pt x="3705291" y="1675607"/>
                  <a:pt x="3550245" y="1546225"/>
                </a:cubicBezTo>
                <a:cubicBezTo>
                  <a:pt x="3395199" y="1416712"/>
                  <a:pt x="3175066" y="1351955"/>
                  <a:pt x="2889845" y="1351955"/>
                </a:cubicBezTo>
                <a:cubicBezTo>
                  <a:pt x="2596290" y="1351955"/>
                  <a:pt x="2357503" y="1413140"/>
                  <a:pt x="2173486" y="1535510"/>
                </a:cubicBezTo>
                <a:cubicBezTo>
                  <a:pt x="1989600" y="1657880"/>
                  <a:pt x="1897658" y="1831050"/>
                  <a:pt x="1897658" y="2055019"/>
                </a:cubicBezTo>
                <a:lnTo>
                  <a:pt x="105569" y="2055019"/>
                </a:lnTo>
                <a:cubicBezTo>
                  <a:pt x="105569" y="1446610"/>
                  <a:pt x="357716" y="952037"/>
                  <a:pt x="862012" y="571302"/>
                </a:cubicBezTo>
                <a:cubicBezTo>
                  <a:pt x="1366440" y="190435"/>
                  <a:pt x="2011362" y="0"/>
                  <a:pt x="2796778" y="0"/>
                </a:cubicBezTo>
                <a:cubicBezTo>
                  <a:pt x="3660775" y="0"/>
                  <a:pt x="4339762" y="169069"/>
                  <a:pt x="4833739" y="507207"/>
                </a:cubicBezTo>
                <a:cubicBezTo>
                  <a:pt x="5327848" y="845344"/>
                  <a:pt x="5574903" y="1325761"/>
                  <a:pt x="5574903" y="1948458"/>
                </a:cubicBezTo>
                <a:cubicBezTo>
                  <a:pt x="5574903" y="2245321"/>
                  <a:pt x="5484944" y="2518503"/>
                  <a:pt x="5305028" y="2768005"/>
                </a:cubicBezTo>
                <a:cubicBezTo>
                  <a:pt x="5125244" y="3017507"/>
                  <a:pt x="4872104" y="3216474"/>
                  <a:pt x="4545608" y="3364905"/>
                </a:cubicBezTo>
                <a:cubicBezTo>
                  <a:pt x="5310386" y="3634913"/>
                  <a:pt x="5692775" y="4156142"/>
                  <a:pt x="5692775" y="4928593"/>
                </a:cubicBezTo>
                <a:cubicBezTo>
                  <a:pt x="5692775" y="5547453"/>
                  <a:pt x="5429183" y="6040703"/>
                  <a:pt x="4902001" y="6408341"/>
                </a:cubicBezTo>
                <a:cubicBezTo>
                  <a:pt x="4374951" y="6775847"/>
                  <a:pt x="3673210" y="6959600"/>
                  <a:pt x="2796778" y="6959600"/>
                </a:cubicBezTo>
                <a:cubicBezTo>
                  <a:pt x="1982390" y="6959600"/>
                  <a:pt x="1312664" y="6769233"/>
                  <a:pt x="787598" y="6388497"/>
                </a:cubicBezTo>
                <a:cubicBezTo>
                  <a:pt x="262533" y="6007762"/>
                  <a:pt x="0" y="5494536"/>
                  <a:pt x="0" y="4848821"/>
                </a:cubicBezTo>
                <a:lnTo>
                  <a:pt x="1792287" y="4848821"/>
                </a:lnTo>
                <a:cubicBezTo>
                  <a:pt x="1792287" y="5076892"/>
                  <a:pt x="1893556" y="5261439"/>
                  <a:pt x="2096095" y="5402461"/>
                </a:cubicBezTo>
                <a:cubicBezTo>
                  <a:pt x="2298634" y="5543484"/>
                  <a:pt x="2563217" y="5613996"/>
                  <a:pt x="2889845" y="5613996"/>
                </a:cubicBezTo>
                <a:cubicBezTo>
                  <a:pt x="3208139" y="5613996"/>
                  <a:pt x="3456186" y="5538854"/>
                  <a:pt x="3633986" y="5388571"/>
                </a:cubicBezTo>
                <a:cubicBezTo>
                  <a:pt x="3811786" y="5238155"/>
                  <a:pt x="3900686" y="5041834"/>
                  <a:pt x="3900686" y="4799608"/>
                </a:cubicBezTo>
                <a:cubicBezTo>
                  <a:pt x="3900686" y="4503010"/>
                  <a:pt x="3815887" y="4291013"/>
                  <a:pt x="3646289" y="4163616"/>
                </a:cubicBezTo>
                <a:cubicBezTo>
                  <a:pt x="3476823" y="4036219"/>
                  <a:pt x="3222625" y="3972521"/>
                  <a:pt x="2883694" y="3972521"/>
                </a:cubicBezTo>
                <a:lnTo>
                  <a:pt x="1909961" y="3972521"/>
                </a:lnTo>
                <a:lnTo>
                  <a:pt x="1909961" y="2806700"/>
                </a:lnTo>
                <a:lnTo>
                  <a:pt x="2945606" y="2806700"/>
                </a:lnTo>
                <a:cubicBezTo>
                  <a:pt x="3503744" y="2790296"/>
                  <a:pt x="3782814" y="2551973"/>
                  <a:pt x="3782814" y="209173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6" name="Freeform 2646"/>
          <p:cNvSpPr/>
          <p:nvPr/>
        </p:nvSpPr>
        <p:spPr>
          <a:xfrm>
            <a:off x="1135812" y="3951773"/>
            <a:ext cx="75965" cy="87248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7" name="Freeform 2647"/>
          <p:cNvSpPr/>
          <p:nvPr/>
        </p:nvSpPr>
        <p:spPr>
          <a:xfrm>
            <a:off x="1219771" y="395177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8" name="Freeform 2648"/>
          <p:cNvSpPr/>
          <p:nvPr/>
        </p:nvSpPr>
        <p:spPr>
          <a:xfrm>
            <a:off x="1288990" y="39505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49" name="Freeform 2649"/>
          <p:cNvSpPr/>
          <p:nvPr/>
        </p:nvSpPr>
        <p:spPr>
          <a:xfrm>
            <a:off x="1363535" y="3924468"/>
            <a:ext cx="58352" cy="94360"/>
          </a:xfrm>
          <a:custGeom>
            <a:avLst/>
            <a:gdLst/>
            <a:ahLst/>
            <a:cxnLst/>
            <a:rect l="0" t="0" r="0" b="0"/>
            <a:pathLst>
              <a:path w="5835253" h="9436100">
                <a:moveTo>
                  <a:pt x="4043164" y="2730500"/>
                </a:moveTo>
                <a:lnTo>
                  <a:pt x="5835253" y="2730500"/>
                </a:lnTo>
                <a:lnTo>
                  <a:pt x="5835253" y="9436100"/>
                </a:lnTo>
                <a:lnTo>
                  <a:pt x="4043164" y="9436100"/>
                </a:lnTo>
                <a:lnTo>
                  <a:pt x="4043164" y="5296297"/>
                </a:lnTo>
                <a:lnTo>
                  <a:pt x="1798241" y="9436100"/>
                </a:lnTo>
                <a:lnTo>
                  <a:pt x="0" y="9436100"/>
                </a:lnTo>
                <a:lnTo>
                  <a:pt x="0" y="2730500"/>
                </a:lnTo>
                <a:lnTo>
                  <a:pt x="1798241" y="2730500"/>
                </a:lnTo>
                <a:lnTo>
                  <a:pt x="1798241" y="6864152"/>
                </a:lnTo>
                <a:close/>
                <a:moveTo>
                  <a:pt x="5097463" y="0"/>
                </a:moveTo>
                <a:cubicBezTo>
                  <a:pt x="5097463" y="549805"/>
                  <a:pt x="4900017" y="994172"/>
                  <a:pt x="4505127" y="1333104"/>
                </a:cubicBezTo>
                <a:cubicBezTo>
                  <a:pt x="4110368" y="1672035"/>
                  <a:pt x="3592579" y="1841500"/>
                  <a:pt x="2951758" y="1841500"/>
                </a:cubicBezTo>
                <a:cubicBezTo>
                  <a:pt x="2310937" y="1841500"/>
                  <a:pt x="1793148" y="1674085"/>
                  <a:pt x="1398389" y="1339255"/>
                </a:cubicBezTo>
                <a:cubicBezTo>
                  <a:pt x="1003631" y="1004425"/>
                  <a:pt x="806252" y="558007"/>
                  <a:pt x="806252" y="0"/>
                </a:cubicBezTo>
                <a:lnTo>
                  <a:pt x="2077442" y="0"/>
                </a:lnTo>
                <a:cubicBezTo>
                  <a:pt x="2077442" y="260350"/>
                  <a:pt x="2154965" y="461830"/>
                  <a:pt x="2310011" y="604441"/>
                </a:cubicBezTo>
                <a:cubicBezTo>
                  <a:pt x="2465057" y="747052"/>
                  <a:pt x="2678973" y="818357"/>
                  <a:pt x="2951758" y="818357"/>
                </a:cubicBezTo>
                <a:cubicBezTo>
                  <a:pt x="3220442" y="818357"/>
                  <a:pt x="3431249" y="747052"/>
                  <a:pt x="3584178" y="604441"/>
                </a:cubicBezTo>
                <a:cubicBezTo>
                  <a:pt x="3737240" y="461830"/>
                  <a:pt x="3813771" y="260350"/>
                  <a:pt x="3813771" y="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0" name="Freeform 2650"/>
          <p:cNvSpPr/>
          <p:nvPr/>
        </p:nvSpPr>
        <p:spPr>
          <a:xfrm>
            <a:off x="1464377" y="39505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1" name="Freeform 2651"/>
          <p:cNvSpPr/>
          <p:nvPr/>
        </p:nvSpPr>
        <p:spPr>
          <a:xfrm>
            <a:off x="1536132" y="3950503"/>
            <a:ext cx="58787" cy="6959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2" name="Freeform 2652"/>
          <p:cNvSpPr/>
          <p:nvPr/>
        </p:nvSpPr>
        <p:spPr>
          <a:xfrm>
            <a:off x="1605089" y="395177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3" name="Freeform 2653"/>
          <p:cNvSpPr/>
          <p:nvPr/>
        </p:nvSpPr>
        <p:spPr>
          <a:xfrm>
            <a:off x="1674308" y="395050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4" name="Freeform 2654"/>
          <p:cNvSpPr/>
          <p:nvPr/>
        </p:nvSpPr>
        <p:spPr>
          <a:xfrm>
            <a:off x="1750031" y="3951773"/>
            <a:ext cx="59779" cy="67055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5" name="Freeform 2655"/>
          <p:cNvSpPr/>
          <p:nvPr/>
        </p:nvSpPr>
        <p:spPr>
          <a:xfrm>
            <a:off x="1818189" y="3950503"/>
            <a:ext cx="60896" cy="6959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6" name="Freeform 2656"/>
          <p:cNvSpPr/>
          <p:nvPr/>
        </p:nvSpPr>
        <p:spPr>
          <a:xfrm>
            <a:off x="1923931" y="395177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7" name="Freeform 2657"/>
          <p:cNvSpPr/>
          <p:nvPr/>
        </p:nvSpPr>
        <p:spPr>
          <a:xfrm>
            <a:off x="1987119" y="3951773"/>
            <a:ext cx="56554" cy="94106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8" name="Freeform 2658"/>
          <p:cNvSpPr/>
          <p:nvPr/>
        </p:nvSpPr>
        <p:spPr>
          <a:xfrm>
            <a:off x="2047940" y="3951773"/>
            <a:ext cx="55375" cy="67055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59" name="Freeform 2659"/>
          <p:cNvSpPr/>
          <p:nvPr/>
        </p:nvSpPr>
        <p:spPr>
          <a:xfrm>
            <a:off x="2106414" y="3950503"/>
            <a:ext cx="55250" cy="6959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60" name="Freeform 2660"/>
          <p:cNvSpPr/>
          <p:nvPr/>
        </p:nvSpPr>
        <p:spPr>
          <a:xfrm>
            <a:off x="2176843" y="3951773"/>
            <a:ext cx="72181" cy="67055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61" name="Rectangle 2661"/>
          <p:cNvSpPr/>
          <p:nvPr/>
        </p:nvSpPr>
        <p:spPr>
          <a:xfrm>
            <a:off x="565571" y="4031529"/>
            <a:ext cx="1648288" cy="285750"/>
          </a:xfrm>
          <a:prstGeom prst="rect">
            <a:avLst/>
          </a:prstGeom>
        </p:spPr>
      </p:sp>
      <p:sp>
        <p:nvSpPr>
          <p:cNvPr id="2662" name="Freeform 2662"/>
          <p:cNvSpPr/>
          <p:nvPr/>
        </p:nvSpPr>
        <p:spPr>
          <a:xfrm>
            <a:off x="571649" y="4083853"/>
            <a:ext cx="51593" cy="69468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63" name="Freeform 2663"/>
          <p:cNvSpPr/>
          <p:nvPr/>
        </p:nvSpPr>
        <p:spPr>
          <a:xfrm>
            <a:off x="636034" y="4083853"/>
            <a:ext cx="53764" cy="6959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64" name="Freeform 2664"/>
          <p:cNvSpPr/>
          <p:nvPr/>
        </p:nvSpPr>
        <p:spPr>
          <a:xfrm>
            <a:off x="707887" y="4085123"/>
            <a:ext cx="54693" cy="67055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65" name="Freeform 2665"/>
          <p:cNvSpPr/>
          <p:nvPr/>
        </p:nvSpPr>
        <p:spPr>
          <a:xfrm>
            <a:off x="766293" y="4085123"/>
            <a:ext cx="58539" cy="67055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66" name="Freeform 2666"/>
          <p:cNvSpPr/>
          <p:nvPr/>
        </p:nvSpPr>
        <p:spPr>
          <a:xfrm>
            <a:off x="845418" y="4083853"/>
            <a:ext cx="86383" cy="69595"/>
          </a:xfrm>
          <a:custGeom>
            <a:avLst/>
            <a:gdLst/>
            <a:ahLst/>
            <a:cxnLst/>
            <a:rect l="0" t="0" r="0" b="0"/>
            <a:pathLst>
              <a:path w="8638381" h="6959600">
                <a:moveTo>
                  <a:pt x="737989" y="3187700"/>
                </a:moveTo>
                <a:lnTo>
                  <a:pt x="2654102" y="3187700"/>
                </a:lnTo>
                <a:cubicBezTo>
                  <a:pt x="2674871" y="2574661"/>
                  <a:pt x="2815431" y="2022674"/>
                  <a:pt x="3075781" y="1531740"/>
                </a:cubicBezTo>
                <a:cubicBezTo>
                  <a:pt x="3336263" y="1040805"/>
                  <a:pt x="3689747" y="662782"/>
                  <a:pt x="4136231" y="397669"/>
                </a:cubicBezTo>
                <a:cubicBezTo>
                  <a:pt x="4582716" y="132557"/>
                  <a:pt x="5082977" y="0"/>
                  <a:pt x="5637014" y="0"/>
                </a:cubicBezTo>
                <a:cubicBezTo>
                  <a:pt x="6525750" y="0"/>
                  <a:pt x="7248128" y="314325"/>
                  <a:pt x="7804150" y="942975"/>
                </a:cubicBezTo>
                <a:cubicBezTo>
                  <a:pt x="8360304" y="1571493"/>
                  <a:pt x="8638381" y="2402615"/>
                  <a:pt x="8638381" y="3436343"/>
                </a:cubicBezTo>
                <a:lnTo>
                  <a:pt x="8638381" y="3585171"/>
                </a:lnTo>
                <a:cubicBezTo>
                  <a:pt x="8638381" y="4230357"/>
                  <a:pt x="8512241" y="4813499"/>
                  <a:pt x="8259961" y="5334596"/>
                </a:cubicBezTo>
                <a:cubicBezTo>
                  <a:pt x="8007813" y="5855560"/>
                  <a:pt x="7654330" y="6256669"/>
                  <a:pt x="7199511" y="6537921"/>
                </a:cubicBezTo>
                <a:cubicBezTo>
                  <a:pt x="6744825" y="6819041"/>
                  <a:pt x="6228093" y="6959600"/>
                  <a:pt x="5649317" y="6959600"/>
                </a:cubicBezTo>
                <a:cubicBezTo>
                  <a:pt x="4793522" y="6959600"/>
                  <a:pt x="4090723" y="6669617"/>
                  <a:pt x="3540919" y="6089650"/>
                </a:cubicBezTo>
                <a:cubicBezTo>
                  <a:pt x="2991115" y="5509684"/>
                  <a:pt x="2695509" y="4753240"/>
                  <a:pt x="2654102" y="3820319"/>
                </a:cubicBezTo>
                <a:lnTo>
                  <a:pt x="737989" y="3820319"/>
                </a:lnTo>
                <a:lnTo>
                  <a:pt x="737989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737989" y="127000"/>
                </a:lnTo>
                <a:close/>
                <a:moveTo>
                  <a:pt x="3385939" y="3585369"/>
                </a:moveTo>
                <a:cubicBezTo>
                  <a:pt x="3385939" y="4387586"/>
                  <a:pt x="3593637" y="5046134"/>
                  <a:pt x="4009033" y="5561013"/>
                </a:cubicBezTo>
                <a:cubicBezTo>
                  <a:pt x="4424561" y="6075892"/>
                  <a:pt x="4971322" y="6333332"/>
                  <a:pt x="5649317" y="6333332"/>
                </a:cubicBezTo>
                <a:cubicBezTo>
                  <a:pt x="6314877" y="6333332"/>
                  <a:pt x="6855420" y="6075892"/>
                  <a:pt x="7270948" y="5561013"/>
                </a:cubicBezTo>
                <a:cubicBezTo>
                  <a:pt x="7686477" y="5046134"/>
                  <a:pt x="7894241" y="4366882"/>
                  <a:pt x="7894241" y="3523258"/>
                </a:cubicBezTo>
                <a:lnTo>
                  <a:pt x="7894241" y="3380582"/>
                </a:lnTo>
                <a:cubicBezTo>
                  <a:pt x="7894241" y="2586567"/>
                  <a:pt x="7685418" y="1930070"/>
                  <a:pt x="7267773" y="1411090"/>
                </a:cubicBezTo>
                <a:cubicBezTo>
                  <a:pt x="6850261" y="892109"/>
                  <a:pt x="6306675" y="632619"/>
                  <a:pt x="5637014" y="632619"/>
                </a:cubicBezTo>
                <a:cubicBezTo>
                  <a:pt x="4971322" y="632619"/>
                  <a:pt x="4429720" y="892109"/>
                  <a:pt x="4012208" y="1411090"/>
                </a:cubicBezTo>
                <a:cubicBezTo>
                  <a:pt x="3594695" y="1930070"/>
                  <a:pt x="3385939" y="2609321"/>
                  <a:pt x="3385939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67" name="Freeform 2667"/>
          <p:cNvSpPr/>
          <p:nvPr/>
        </p:nvSpPr>
        <p:spPr>
          <a:xfrm>
            <a:off x="944884" y="4085123"/>
            <a:ext cx="50601" cy="67055"/>
          </a:xfrm>
          <a:custGeom>
            <a:avLst/>
            <a:gdLst/>
            <a:ahLst/>
            <a:cxnLst/>
            <a:rect l="0" t="0" r="0" b="0"/>
            <a:pathLst>
              <a:path w="5060156" h="6705600">
                <a:moveTo>
                  <a:pt x="5060156" y="6705600"/>
                </a:moveTo>
                <a:lnTo>
                  <a:pt x="4316015" y="6705600"/>
                </a:lnTo>
                <a:lnTo>
                  <a:pt x="4316015" y="3885208"/>
                </a:lnTo>
                <a:cubicBezTo>
                  <a:pt x="3704166" y="4108517"/>
                  <a:pt x="3119172" y="4220171"/>
                  <a:pt x="2561034" y="4220171"/>
                </a:cubicBezTo>
                <a:cubicBezTo>
                  <a:pt x="1672166" y="4220171"/>
                  <a:pt x="1027244" y="4024974"/>
                  <a:pt x="626268" y="3634582"/>
                </a:cubicBezTo>
                <a:cubicBezTo>
                  <a:pt x="225292" y="3244189"/>
                  <a:pt x="16536" y="2635846"/>
                  <a:pt x="0" y="1809552"/>
                </a:cubicBezTo>
                <a:lnTo>
                  <a:pt x="0" y="0"/>
                </a:lnTo>
                <a:lnTo>
                  <a:pt x="737790" y="0"/>
                </a:lnTo>
                <a:lnTo>
                  <a:pt x="737790" y="1772047"/>
                </a:lnTo>
                <a:cubicBezTo>
                  <a:pt x="746125" y="2412339"/>
                  <a:pt x="887743" y="2873971"/>
                  <a:pt x="1162645" y="3156943"/>
                </a:cubicBezTo>
                <a:cubicBezTo>
                  <a:pt x="1437547" y="3439915"/>
                  <a:pt x="1903677" y="3581400"/>
                  <a:pt x="2561034" y="3581400"/>
                </a:cubicBezTo>
                <a:cubicBezTo>
                  <a:pt x="3160447" y="3564864"/>
                  <a:pt x="3745441" y="3457443"/>
                  <a:pt x="4316015" y="3259138"/>
                </a:cubicBezTo>
                <a:lnTo>
                  <a:pt x="4316015" y="0"/>
                </a:lnTo>
                <a:lnTo>
                  <a:pt x="5060156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68" name="Freeform 2668"/>
          <p:cNvSpPr/>
          <p:nvPr/>
        </p:nvSpPr>
        <p:spPr>
          <a:xfrm>
            <a:off x="1011208" y="4083853"/>
            <a:ext cx="55250" cy="6959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69" name="Freeform 2669"/>
          <p:cNvSpPr/>
          <p:nvPr/>
        </p:nvSpPr>
        <p:spPr>
          <a:xfrm>
            <a:off x="1081328" y="40851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0" name="Freeform 2670"/>
          <p:cNvSpPr/>
          <p:nvPr/>
        </p:nvSpPr>
        <p:spPr>
          <a:xfrm>
            <a:off x="1152702" y="4085123"/>
            <a:ext cx="51036" cy="67055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1" name="Freeform 2671"/>
          <p:cNvSpPr/>
          <p:nvPr/>
        </p:nvSpPr>
        <p:spPr>
          <a:xfrm>
            <a:off x="1219673" y="4085123"/>
            <a:ext cx="52833" cy="67055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2" name="Freeform 2672"/>
          <p:cNvSpPr/>
          <p:nvPr/>
        </p:nvSpPr>
        <p:spPr>
          <a:xfrm>
            <a:off x="1322762" y="4061882"/>
            <a:ext cx="95001" cy="90296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3" name="Freeform 2673"/>
          <p:cNvSpPr/>
          <p:nvPr/>
        </p:nvSpPr>
        <p:spPr>
          <a:xfrm>
            <a:off x="1430290" y="4083853"/>
            <a:ext cx="60896" cy="69595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4" name="Freeform 2674"/>
          <p:cNvSpPr/>
          <p:nvPr/>
        </p:nvSpPr>
        <p:spPr>
          <a:xfrm>
            <a:off x="1502467" y="4085123"/>
            <a:ext cx="79684" cy="67055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5" name="Freeform 2675"/>
          <p:cNvSpPr/>
          <p:nvPr/>
        </p:nvSpPr>
        <p:spPr>
          <a:xfrm>
            <a:off x="1594892" y="4083853"/>
            <a:ext cx="63561" cy="69595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6" name="Freeform 2676"/>
          <p:cNvSpPr/>
          <p:nvPr/>
        </p:nvSpPr>
        <p:spPr>
          <a:xfrm>
            <a:off x="1669437" y="4083853"/>
            <a:ext cx="60398" cy="94106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7" name="Freeform 2677"/>
          <p:cNvSpPr/>
          <p:nvPr/>
        </p:nvSpPr>
        <p:spPr>
          <a:xfrm>
            <a:off x="1738144" y="4083853"/>
            <a:ext cx="59656" cy="6959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8" name="Freeform 2678"/>
          <p:cNvSpPr/>
          <p:nvPr/>
        </p:nvSpPr>
        <p:spPr>
          <a:xfrm>
            <a:off x="1808883" y="4085123"/>
            <a:ext cx="58165" cy="67055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79" name="Freeform 2679"/>
          <p:cNvSpPr/>
          <p:nvPr/>
        </p:nvSpPr>
        <p:spPr>
          <a:xfrm>
            <a:off x="1876054" y="4085123"/>
            <a:ext cx="75965" cy="87248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0" name="Freeform 2680"/>
          <p:cNvSpPr/>
          <p:nvPr/>
        </p:nvSpPr>
        <p:spPr>
          <a:xfrm>
            <a:off x="1954331" y="4085123"/>
            <a:ext cx="63374" cy="94106"/>
          </a:xfrm>
          <a:custGeom>
            <a:avLst/>
            <a:gdLst/>
            <a:ahLst/>
            <a:cxnLst/>
            <a:rect l="0" t="0" r="0" b="0"/>
            <a:pathLst>
              <a:path w="6337498" h="9410700">
                <a:moveTo>
                  <a:pt x="3175000" y="4169371"/>
                </a:moveTo>
                <a:lnTo>
                  <a:pt x="4415234" y="0"/>
                </a:lnTo>
                <a:lnTo>
                  <a:pt x="6337498" y="0"/>
                </a:lnTo>
                <a:lnTo>
                  <a:pt x="3640137" y="7744221"/>
                </a:lnTo>
                <a:lnTo>
                  <a:pt x="3491309" y="8097242"/>
                </a:lnTo>
                <a:cubicBezTo>
                  <a:pt x="3090201" y="8972880"/>
                  <a:pt x="2428742" y="9410700"/>
                  <a:pt x="1506934" y="9410700"/>
                </a:cubicBezTo>
                <a:cubicBezTo>
                  <a:pt x="1246452" y="9410700"/>
                  <a:pt x="981868" y="9371409"/>
                  <a:pt x="713184" y="9292828"/>
                </a:cubicBezTo>
                <a:lnTo>
                  <a:pt x="713184" y="7934920"/>
                </a:lnTo>
                <a:lnTo>
                  <a:pt x="986036" y="7941071"/>
                </a:lnTo>
                <a:cubicBezTo>
                  <a:pt x="1324967" y="7941071"/>
                  <a:pt x="1578107" y="7889411"/>
                  <a:pt x="1745456" y="7786092"/>
                </a:cubicBezTo>
                <a:cubicBezTo>
                  <a:pt x="1912937" y="7682904"/>
                  <a:pt x="2044237" y="7511586"/>
                  <a:pt x="2139354" y="7272139"/>
                </a:cubicBezTo>
                <a:lnTo>
                  <a:pt x="2350293" y="6720879"/>
                </a:lnTo>
                <a:lnTo>
                  <a:pt x="0" y="0"/>
                </a:lnTo>
                <a:lnTo>
                  <a:pt x="1928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1" name="Freeform 2681"/>
          <p:cNvSpPr/>
          <p:nvPr/>
        </p:nvSpPr>
        <p:spPr>
          <a:xfrm>
            <a:off x="2025834" y="4085123"/>
            <a:ext cx="79684" cy="67055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2" name="Freeform 2682"/>
          <p:cNvSpPr/>
          <p:nvPr/>
        </p:nvSpPr>
        <p:spPr>
          <a:xfrm>
            <a:off x="2118382" y="4083853"/>
            <a:ext cx="59656" cy="69595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3" name="Freeform 2683"/>
          <p:cNvSpPr/>
          <p:nvPr/>
        </p:nvSpPr>
        <p:spPr>
          <a:xfrm>
            <a:off x="1012876" y="4217203"/>
            <a:ext cx="58787" cy="69595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4" name="Freeform 2684"/>
          <p:cNvSpPr/>
          <p:nvPr/>
        </p:nvSpPr>
        <p:spPr>
          <a:xfrm>
            <a:off x="1114635" y="4195232"/>
            <a:ext cx="95001" cy="90296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5" name="Freeform 2685"/>
          <p:cNvSpPr/>
          <p:nvPr/>
        </p:nvSpPr>
        <p:spPr>
          <a:xfrm>
            <a:off x="1218400" y="4195232"/>
            <a:ext cx="73546" cy="90296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6" name="Freeform 2686"/>
          <p:cNvSpPr/>
          <p:nvPr/>
        </p:nvSpPr>
        <p:spPr>
          <a:xfrm>
            <a:off x="1298089" y="4193962"/>
            <a:ext cx="73731" cy="92836"/>
          </a:xfrm>
          <a:custGeom>
            <a:avLst/>
            <a:gdLst/>
            <a:ahLst/>
            <a:cxnLst/>
            <a:rect l="0" t="0" r="0" b="0"/>
            <a:pathLst>
              <a:path w="7373143" h="9283700">
                <a:moveTo>
                  <a:pt x="7360642" y="6152158"/>
                </a:moveTo>
                <a:cubicBezTo>
                  <a:pt x="7290395" y="7123708"/>
                  <a:pt x="6931752" y="7888553"/>
                  <a:pt x="6284714" y="8446691"/>
                </a:cubicBezTo>
                <a:cubicBezTo>
                  <a:pt x="5637807" y="9004697"/>
                  <a:pt x="4785188" y="9283700"/>
                  <a:pt x="3726854" y="9283700"/>
                </a:cubicBezTo>
                <a:cubicBezTo>
                  <a:pt x="2569302" y="9283700"/>
                  <a:pt x="1658739" y="8893771"/>
                  <a:pt x="995164" y="8113911"/>
                </a:cubicBezTo>
                <a:cubicBezTo>
                  <a:pt x="331721" y="7334052"/>
                  <a:pt x="0" y="6263548"/>
                  <a:pt x="0" y="4902399"/>
                </a:cubicBezTo>
                <a:lnTo>
                  <a:pt x="0" y="4350147"/>
                </a:lnTo>
                <a:cubicBezTo>
                  <a:pt x="0" y="3481388"/>
                  <a:pt x="152929" y="2716081"/>
                  <a:pt x="458787" y="2054225"/>
                </a:cubicBezTo>
                <a:cubicBezTo>
                  <a:pt x="764778" y="1392238"/>
                  <a:pt x="1201935" y="884371"/>
                  <a:pt x="1770260" y="530622"/>
                </a:cubicBezTo>
                <a:cubicBezTo>
                  <a:pt x="2338718" y="176874"/>
                  <a:pt x="2999184" y="0"/>
                  <a:pt x="3751659" y="0"/>
                </a:cubicBezTo>
                <a:cubicBezTo>
                  <a:pt x="4793456" y="0"/>
                  <a:pt x="5632648" y="279070"/>
                  <a:pt x="6269235" y="837208"/>
                </a:cubicBezTo>
                <a:cubicBezTo>
                  <a:pt x="6905955" y="1395347"/>
                  <a:pt x="7273925" y="2178778"/>
                  <a:pt x="7373143" y="3187502"/>
                </a:cubicBezTo>
                <a:lnTo>
                  <a:pt x="5512792" y="3187502"/>
                </a:lnTo>
                <a:cubicBezTo>
                  <a:pt x="5467283" y="2604625"/>
                  <a:pt x="5304961" y="2181953"/>
                  <a:pt x="5025826" y="1919486"/>
                </a:cubicBezTo>
                <a:cubicBezTo>
                  <a:pt x="4746823" y="1656888"/>
                  <a:pt x="4322100" y="1525588"/>
                  <a:pt x="3751659" y="1525588"/>
                </a:cubicBezTo>
                <a:cubicBezTo>
                  <a:pt x="3131475" y="1525588"/>
                  <a:pt x="2667396" y="1748036"/>
                  <a:pt x="2359421" y="2192933"/>
                </a:cubicBezTo>
                <a:cubicBezTo>
                  <a:pt x="2051446" y="2637830"/>
                  <a:pt x="1893358" y="3327930"/>
                  <a:pt x="1885156" y="4263232"/>
                </a:cubicBezTo>
                <a:lnTo>
                  <a:pt x="1885156" y="4946055"/>
                </a:lnTo>
                <a:cubicBezTo>
                  <a:pt x="1885156" y="5922765"/>
                  <a:pt x="2032926" y="6636677"/>
                  <a:pt x="2328465" y="7087791"/>
                </a:cubicBezTo>
                <a:cubicBezTo>
                  <a:pt x="2624005" y="7538906"/>
                  <a:pt x="3090135" y="7764463"/>
                  <a:pt x="3726854" y="7764463"/>
                </a:cubicBezTo>
                <a:cubicBezTo>
                  <a:pt x="4301529" y="7764463"/>
                  <a:pt x="4730419" y="7633230"/>
                  <a:pt x="5013523" y="7370763"/>
                </a:cubicBezTo>
                <a:cubicBezTo>
                  <a:pt x="5296760" y="7108164"/>
                  <a:pt x="5459015" y="6701963"/>
                  <a:pt x="5500290" y="615215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7" name="Freeform 2687"/>
          <p:cNvSpPr/>
          <p:nvPr/>
        </p:nvSpPr>
        <p:spPr>
          <a:xfrm>
            <a:off x="1379968" y="4194089"/>
            <a:ext cx="68522" cy="92582"/>
          </a:xfrm>
          <a:custGeom>
            <a:avLst/>
            <a:gdLst/>
            <a:ahLst/>
            <a:cxnLst/>
            <a:rect l="0" t="0" r="0" b="0"/>
            <a:pathLst>
              <a:path w="6852245" h="9258300">
                <a:moveTo>
                  <a:pt x="4843065" y="2602707"/>
                </a:moveTo>
                <a:cubicBezTo>
                  <a:pt x="4843065" y="2260204"/>
                  <a:pt x="4708723" y="1990924"/>
                  <a:pt x="4440039" y="1794868"/>
                </a:cubicBezTo>
                <a:cubicBezTo>
                  <a:pt x="4171354" y="1598811"/>
                  <a:pt x="3815821" y="1500783"/>
                  <a:pt x="3373437" y="1500783"/>
                </a:cubicBezTo>
                <a:cubicBezTo>
                  <a:pt x="2976562" y="1500783"/>
                  <a:pt x="2646825" y="1598944"/>
                  <a:pt x="2384226" y="1795265"/>
                </a:cubicBezTo>
                <a:cubicBezTo>
                  <a:pt x="2121759" y="1991585"/>
                  <a:pt x="1990526" y="2246842"/>
                  <a:pt x="1990526" y="2561035"/>
                </a:cubicBezTo>
                <a:lnTo>
                  <a:pt x="130175" y="2561035"/>
                </a:lnTo>
                <a:cubicBezTo>
                  <a:pt x="130175" y="2073275"/>
                  <a:pt x="267626" y="1634067"/>
                  <a:pt x="542528" y="1243410"/>
                </a:cubicBezTo>
                <a:cubicBezTo>
                  <a:pt x="817430" y="852752"/>
                  <a:pt x="1208087" y="547886"/>
                  <a:pt x="1714500" y="328811"/>
                </a:cubicBezTo>
                <a:cubicBezTo>
                  <a:pt x="2221044" y="109604"/>
                  <a:pt x="2774024" y="0"/>
                  <a:pt x="3373437" y="0"/>
                </a:cubicBezTo>
                <a:cubicBezTo>
                  <a:pt x="4415234" y="0"/>
                  <a:pt x="5231672" y="223044"/>
                  <a:pt x="5822751" y="669132"/>
                </a:cubicBezTo>
                <a:cubicBezTo>
                  <a:pt x="6413962" y="1115219"/>
                  <a:pt x="6709568" y="1747243"/>
                  <a:pt x="6709568" y="2565202"/>
                </a:cubicBezTo>
                <a:cubicBezTo>
                  <a:pt x="6709568" y="2965914"/>
                  <a:pt x="6588654" y="3337719"/>
                  <a:pt x="6346825" y="3680619"/>
                </a:cubicBezTo>
                <a:cubicBezTo>
                  <a:pt x="6104995" y="4023387"/>
                  <a:pt x="5760839" y="4298025"/>
                  <a:pt x="5314354" y="4504532"/>
                </a:cubicBezTo>
                <a:cubicBezTo>
                  <a:pt x="5810448" y="4678098"/>
                  <a:pt x="6190787" y="4941557"/>
                  <a:pt x="6455370" y="5294908"/>
                </a:cubicBezTo>
                <a:cubicBezTo>
                  <a:pt x="6719953" y="5648127"/>
                  <a:pt x="6852245" y="6087071"/>
                  <a:pt x="6852245" y="6611740"/>
                </a:cubicBezTo>
                <a:cubicBezTo>
                  <a:pt x="6852245" y="7421629"/>
                  <a:pt x="6534943" y="8065228"/>
                  <a:pt x="5900340" y="8542536"/>
                </a:cubicBezTo>
                <a:cubicBezTo>
                  <a:pt x="5265737" y="9019712"/>
                  <a:pt x="4423436" y="9258300"/>
                  <a:pt x="3373437" y="9258300"/>
                </a:cubicBezTo>
                <a:cubicBezTo>
                  <a:pt x="2716080" y="9258300"/>
                  <a:pt x="2124868" y="9145653"/>
                  <a:pt x="1599803" y="8920361"/>
                </a:cubicBezTo>
                <a:cubicBezTo>
                  <a:pt x="1074869" y="8695069"/>
                  <a:pt x="677002" y="8387094"/>
                  <a:pt x="406201" y="7996436"/>
                </a:cubicBezTo>
                <a:cubicBezTo>
                  <a:pt x="135400" y="7605647"/>
                  <a:pt x="0" y="7151886"/>
                  <a:pt x="0" y="6635155"/>
                </a:cubicBezTo>
                <a:lnTo>
                  <a:pt x="1872654" y="6635155"/>
                </a:lnTo>
                <a:cubicBezTo>
                  <a:pt x="1872654" y="6957550"/>
                  <a:pt x="2013214" y="7227293"/>
                  <a:pt x="2294334" y="7444383"/>
                </a:cubicBezTo>
                <a:cubicBezTo>
                  <a:pt x="2575454" y="7661474"/>
                  <a:pt x="2935155" y="7770019"/>
                  <a:pt x="3373437" y="7770019"/>
                </a:cubicBezTo>
                <a:cubicBezTo>
                  <a:pt x="3869531" y="7770019"/>
                  <a:pt x="4261247" y="7658497"/>
                  <a:pt x="4548584" y="7435454"/>
                </a:cubicBezTo>
                <a:cubicBezTo>
                  <a:pt x="4835922" y="7212410"/>
                  <a:pt x="4979590" y="6929504"/>
                  <a:pt x="4979590" y="6586736"/>
                </a:cubicBezTo>
                <a:cubicBezTo>
                  <a:pt x="4979590" y="6116043"/>
                  <a:pt x="4851400" y="5778500"/>
                  <a:pt x="4595018" y="5574110"/>
                </a:cubicBezTo>
                <a:cubicBezTo>
                  <a:pt x="4338769" y="5369587"/>
                  <a:pt x="3964649" y="5267325"/>
                  <a:pt x="3472656" y="5267325"/>
                </a:cubicBezTo>
                <a:lnTo>
                  <a:pt x="2362597" y="5267325"/>
                </a:lnTo>
                <a:lnTo>
                  <a:pt x="2362597" y="3810000"/>
                </a:lnTo>
                <a:lnTo>
                  <a:pt x="3509764" y="3810000"/>
                </a:lnTo>
                <a:cubicBezTo>
                  <a:pt x="4398632" y="3797565"/>
                  <a:pt x="4843065" y="3395134"/>
                  <a:pt x="4843065" y="260270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8" name="Freeform 2688"/>
          <p:cNvSpPr/>
          <p:nvPr/>
        </p:nvSpPr>
        <p:spPr>
          <a:xfrm>
            <a:off x="1462107" y="4195232"/>
            <a:ext cx="73483" cy="90296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89" name="Freeform 2689"/>
          <p:cNvSpPr/>
          <p:nvPr/>
        </p:nvSpPr>
        <p:spPr>
          <a:xfrm>
            <a:off x="1583392" y="4195232"/>
            <a:ext cx="69141" cy="90296"/>
          </a:xfrm>
          <a:custGeom>
            <a:avLst/>
            <a:gdLst/>
            <a:ahLst/>
            <a:cxnLst/>
            <a:rect l="0" t="0" r="0" b="0"/>
            <a:pathLst>
              <a:path w="6914158" h="9029700">
                <a:moveTo>
                  <a:pt x="1860352" y="5850335"/>
                </a:move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3522266" y="0"/>
                </a:lnTo>
                <a:cubicBezTo>
                  <a:pt x="4200260" y="0"/>
                  <a:pt x="4796565" y="124090"/>
                  <a:pt x="5311180" y="372269"/>
                </a:cubicBezTo>
                <a:cubicBezTo>
                  <a:pt x="5825927" y="620449"/>
                  <a:pt x="6221744" y="973072"/>
                  <a:pt x="6498630" y="1430140"/>
                </a:cubicBezTo>
                <a:cubicBezTo>
                  <a:pt x="6775649" y="1887075"/>
                  <a:pt x="6914158" y="2407113"/>
                  <a:pt x="6914158" y="2990255"/>
                </a:cubicBezTo>
                <a:cubicBezTo>
                  <a:pt x="6914158" y="3875419"/>
                  <a:pt x="6611342" y="4573390"/>
                  <a:pt x="6005711" y="5084168"/>
                </a:cubicBezTo>
                <a:cubicBezTo>
                  <a:pt x="5400080" y="5594946"/>
                  <a:pt x="4561880" y="5850335"/>
                  <a:pt x="3491111" y="5850335"/>
                </a:cubicBezTo>
                <a:close/>
                <a:moveTo>
                  <a:pt x="1860352" y="4343400"/>
                </a:moveTo>
                <a:lnTo>
                  <a:pt x="3522266" y="4343400"/>
                </a:lnTo>
                <a:cubicBezTo>
                  <a:pt x="4014126" y="4343400"/>
                  <a:pt x="4389239" y="4227579"/>
                  <a:pt x="4647605" y="3995936"/>
                </a:cubicBezTo>
                <a:cubicBezTo>
                  <a:pt x="4906103" y="3764161"/>
                  <a:pt x="5035352" y="3433101"/>
                  <a:pt x="5035352" y="3002757"/>
                </a:cubicBezTo>
                <a:cubicBezTo>
                  <a:pt x="5035352" y="2559976"/>
                  <a:pt x="4905110" y="2202061"/>
                  <a:pt x="4644628" y="1929011"/>
                </a:cubicBezTo>
                <a:cubicBezTo>
                  <a:pt x="4384146" y="1655961"/>
                  <a:pt x="4024445" y="1515269"/>
                  <a:pt x="3565525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90" name="Freeform 2690"/>
          <p:cNvSpPr/>
          <p:nvPr/>
        </p:nvSpPr>
        <p:spPr>
          <a:xfrm>
            <a:off x="1665430" y="4195232"/>
            <a:ext cx="74787" cy="90296"/>
          </a:xfrm>
          <a:custGeom>
            <a:avLst/>
            <a:gdLst/>
            <a:ahLst/>
            <a:cxnLst/>
            <a:rect l="0" t="0" r="0" b="0"/>
            <a:pathLst>
              <a:path w="7478713" h="9029700">
                <a:moveTo>
                  <a:pt x="2933105" y="5343525"/>
                </a:moveTo>
                <a:lnTo>
                  <a:pt x="1860352" y="534352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19500"/>
                </a:lnTo>
                <a:lnTo>
                  <a:pt x="2709863" y="3619500"/>
                </a:lnTo>
                <a:lnTo>
                  <a:pt x="4917480" y="0"/>
                </a:lnTo>
                <a:lnTo>
                  <a:pt x="7187208" y="0"/>
                </a:lnTo>
                <a:lnTo>
                  <a:pt x="4402931" y="4276924"/>
                </a:lnTo>
                <a:lnTo>
                  <a:pt x="7478713" y="9029700"/>
                </a:lnTo>
                <a:lnTo>
                  <a:pt x="5258594" y="90297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91" name="Rectangle 2691"/>
          <p:cNvSpPr/>
          <p:nvPr/>
        </p:nvSpPr>
        <p:spPr>
          <a:xfrm>
            <a:off x="2689325" y="2276586"/>
            <a:ext cx="1854238" cy="167639"/>
          </a:xfrm>
          <a:prstGeom prst="rect">
            <a:avLst/>
          </a:prstGeom>
        </p:spPr>
      </p:sp>
      <p:sp>
        <p:nvSpPr>
          <p:cNvPr id="2692" name="Freeform 2692"/>
          <p:cNvSpPr/>
          <p:nvPr/>
        </p:nvSpPr>
        <p:spPr>
          <a:xfrm>
            <a:off x="2701876" y="2309975"/>
            <a:ext cx="73602" cy="99326"/>
          </a:xfrm>
          <a:custGeom>
            <a:avLst/>
            <a:gdLst/>
            <a:ahLst/>
            <a:cxnLst/>
            <a:rect l="0" t="0" r="0" b="0"/>
            <a:pathLst>
              <a:path w="6691114" h="9029700">
                <a:moveTo>
                  <a:pt x="6691114" y="9029700"/>
                </a:moveTo>
                <a:lnTo>
                  <a:pt x="5922169" y="9029700"/>
                </a:lnTo>
                <a:lnTo>
                  <a:pt x="5922169" y="4696222"/>
                </a:lnTo>
                <a:lnTo>
                  <a:pt x="762794" y="4696222"/>
                </a:lnTo>
                <a:lnTo>
                  <a:pt x="762794" y="9029700"/>
                </a:lnTo>
                <a:lnTo>
                  <a:pt x="0" y="9029700"/>
                </a:lnTo>
                <a:lnTo>
                  <a:pt x="0" y="0"/>
                </a:lnTo>
                <a:lnTo>
                  <a:pt x="762794" y="0"/>
                </a:lnTo>
                <a:lnTo>
                  <a:pt x="762794" y="4051300"/>
                </a:lnTo>
                <a:lnTo>
                  <a:pt x="5922169" y="4051300"/>
                </a:lnTo>
                <a:lnTo>
                  <a:pt x="5922169" y="0"/>
                </a:lnTo>
                <a:lnTo>
                  <a:pt x="66911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93" name="Freeform 2693"/>
          <p:cNvSpPr/>
          <p:nvPr/>
        </p:nvSpPr>
        <p:spPr>
          <a:xfrm>
            <a:off x="2794233" y="233414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94" name="Freeform 2694"/>
          <p:cNvSpPr/>
          <p:nvPr/>
        </p:nvSpPr>
        <p:spPr>
          <a:xfrm>
            <a:off x="2867750" y="2304526"/>
            <a:ext cx="86083" cy="133134"/>
          </a:xfrm>
          <a:custGeom>
            <a:avLst/>
            <a:gdLst/>
            <a:ahLst/>
            <a:cxnLst/>
            <a:rect l="0" t="0" r="0" b="0"/>
            <a:pathLst>
              <a:path w="7825780" h="12103100">
                <a:moveTo>
                  <a:pt x="0" y="6224786"/>
                </a:moveTo>
                <a:cubicBezTo>
                  <a:pt x="0" y="5134174"/>
                  <a:pt x="213916" y="4272823"/>
                  <a:pt x="641747" y="3640733"/>
                </a:cubicBezTo>
                <a:cubicBezTo>
                  <a:pt x="1069711" y="3008511"/>
                  <a:pt x="1661914" y="2692400"/>
                  <a:pt x="2418358" y="2692400"/>
                </a:cubicBezTo>
                <a:cubicBezTo>
                  <a:pt x="2852539" y="2692400"/>
                  <a:pt x="3220509" y="2789569"/>
                  <a:pt x="3522266" y="2983905"/>
                </a:cubicBezTo>
                <a:lnTo>
                  <a:pt x="3522266" y="0"/>
                </a:lnTo>
                <a:lnTo>
                  <a:pt x="4260255" y="0"/>
                </a:lnTo>
                <a:lnTo>
                  <a:pt x="4260255" y="3008710"/>
                </a:lnTo>
                <a:cubicBezTo>
                  <a:pt x="4566113" y="2797837"/>
                  <a:pt x="4946452" y="2692400"/>
                  <a:pt x="5401271" y="2692400"/>
                </a:cubicBezTo>
                <a:cubicBezTo>
                  <a:pt x="6116439" y="2692400"/>
                  <a:pt x="6688997" y="2979540"/>
                  <a:pt x="7118946" y="3553818"/>
                </a:cubicBezTo>
                <a:cubicBezTo>
                  <a:pt x="7548894" y="4128096"/>
                  <a:pt x="7782455" y="4927534"/>
                  <a:pt x="7819628" y="5952133"/>
                </a:cubicBezTo>
                <a:lnTo>
                  <a:pt x="7825780" y="6354961"/>
                </a:lnTo>
                <a:cubicBezTo>
                  <a:pt x="7825780" y="7375459"/>
                  <a:pt x="7610806" y="8180123"/>
                  <a:pt x="7180858" y="8768954"/>
                </a:cubicBezTo>
                <a:cubicBezTo>
                  <a:pt x="6750910" y="9357652"/>
                  <a:pt x="6161816" y="9652000"/>
                  <a:pt x="5413574" y="9652000"/>
                </a:cubicBezTo>
                <a:cubicBezTo>
                  <a:pt x="4967089" y="9652000"/>
                  <a:pt x="4582650" y="9554831"/>
                  <a:pt x="4260255" y="9360496"/>
                </a:cubicBezTo>
                <a:lnTo>
                  <a:pt x="4260255" y="12103100"/>
                </a:lnTo>
                <a:lnTo>
                  <a:pt x="3522266" y="12103100"/>
                </a:lnTo>
                <a:lnTo>
                  <a:pt x="3522266" y="9366846"/>
                </a:lnTo>
                <a:cubicBezTo>
                  <a:pt x="3203972" y="9556948"/>
                  <a:pt x="2831902" y="9652000"/>
                  <a:pt x="2406055" y="9652000"/>
                </a:cubicBezTo>
                <a:cubicBezTo>
                  <a:pt x="1699088" y="9652000"/>
                  <a:pt x="1132681" y="9384507"/>
                  <a:pt x="706835" y="8849519"/>
                </a:cubicBezTo>
                <a:cubicBezTo>
                  <a:pt x="281120" y="8314399"/>
                  <a:pt x="47559" y="7573765"/>
                  <a:pt x="6152" y="6627615"/>
                </a:cubicBezTo>
                <a:close/>
                <a:moveTo>
                  <a:pt x="7087989" y="6224985"/>
                </a:moveTo>
                <a:cubicBezTo>
                  <a:pt x="7087989" y="5324475"/>
                  <a:pt x="6925667" y="4616054"/>
                  <a:pt x="6601024" y="4099719"/>
                </a:cubicBezTo>
                <a:cubicBezTo>
                  <a:pt x="6276512" y="3583253"/>
                  <a:pt x="5822818" y="3325019"/>
                  <a:pt x="5239941" y="3325019"/>
                </a:cubicBezTo>
                <a:cubicBezTo>
                  <a:pt x="4818327" y="3325019"/>
                  <a:pt x="4491765" y="3415904"/>
                  <a:pt x="4260255" y="3597672"/>
                </a:cubicBezTo>
                <a:lnTo>
                  <a:pt x="4260255" y="8784035"/>
                </a:lnTo>
                <a:cubicBezTo>
                  <a:pt x="4520605" y="8945166"/>
                  <a:pt x="4851334" y="9025732"/>
                  <a:pt x="5252442" y="9025732"/>
                </a:cubicBezTo>
                <a:cubicBezTo>
                  <a:pt x="5831219" y="9025732"/>
                  <a:pt x="6281804" y="8793361"/>
                  <a:pt x="6604199" y="8328621"/>
                </a:cubicBezTo>
                <a:cubicBezTo>
                  <a:pt x="6926725" y="7863880"/>
                  <a:pt x="7087989" y="7162668"/>
                  <a:pt x="7087989" y="6224985"/>
                </a:cubicBezTo>
                <a:close/>
                <a:moveTo>
                  <a:pt x="744141" y="6355160"/>
                </a:moveTo>
                <a:cubicBezTo>
                  <a:pt x="744141" y="7197858"/>
                  <a:pt x="899121" y="7853628"/>
                  <a:pt x="1209080" y="8322469"/>
                </a:cubicBezTo>
                <a:cubicBezTo>
                  <a:pt x="1519172" y="8791311"/>
                  <a:pt x="1965722" y="9025732"/>
                  <a:pt x="2548731" y="9025732"/>
                </a:cubicBezTo>
                <a:cubicBezTo>
                  <a:pt x="2937272" y="9025732"/>
                  <a:pt x="3261784" y="8941065"/>
                  <a:pt x="3522266" y="8771732"/>
                </a:cubicBezTo>
                <a:lnTo>
                  <a:pt x="3522266" y="3579019"/>
                </a:lnTo>
                <a:cubicBezTo>
                  <a:pt x="3282421" y="3409686"/>
                  <a:pt x="2962010" y="3325019"/>
                  <a:pt x="2561035" y="3325019"/>
                </a:cubicBezTo>
                <a:cubicBezTo>
                  <a:pt x="1982258" y="3325019"/>
                  <a:pt x="1534716" y="3582194"/>
                  <a:pt x="1218406" y="4096544"/>
                </a:cubicBezTo>
                <a:cubicBezTo>
                  <a:pt x="902229" y="4610762"/>
                  <a:pt x="744141" y="5363634"/>
                  <a:pt x="744141" y="635516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95" name="Freeform 2695"/>
          <p:cNvSpPr/>
          <p:nvPr/>
        </p:nvSpPr>
        <p:spPr>
          <a:xfrm>
            <a:off x="2958601" y="233554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96" name="Freeform 2696"/>
          <p:cNvSpPr/>
          <p:nvPr/>
        </p:nvSpPr>
        <p:spPr>
          <a:xfrm>
            <a:off x="3022922" y="233414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97" name="Freeform 2697"/>
          <p:cNvSpPr/>
          <p:nvPr/>
        </p:nvSpPr>
        <p:spPr>
          <a:xfrm>
            <a:off x="3092414" y="2335540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98" name="Freeform 2698"/>
          <p:cNvSpPr/>
          <p:nvPr/>
        </p:nvSpPr>
        <p:spPr>
          <a:xfrm>
            <a:off x="3175055" y="233414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699" name="Freeform 2699"/>
          <p:cNvSpPr/>
          <p:nvPr/>
        </p:nvSpPr>
        <p:spPr>
          <a:xfrm>
            <a:off x="3253763" y="2303409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0" name="Freeform 2700"/>
          <p:cNvSpPr/>
          <p:nvPr/>
        </p:nvSpPr>
        <p:spPr>
          <a:xfrm>
            <a:off x="3335509" y="2335540"/>
            <a:ext cx="81309" cy="73761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1" name="Freeform 2701"/>
          <p:cNvSpPr/>
          <p:nvPr/>
        </p:nvSpPr>
        <p:spPr>
          <a:xfrm>
            <a:off x="3436261" y="2335540"/>
            <a:ext cx="55661" cy="73761"/>
          </a:xfrm>
          <a:custGeom>
            <a:avLst/>
            <a:gdLst/>
            <a:ahLst/>
            <a:cxnLst/>
            <a:rect l="0" t="0" r="0" b="0"/>
            <a:pathLst>
              <a:path w="5060156" h="6705600">
                <a:moveTo>
                  <a:pt x="5060156" y="6705600"/>
                </a:moveTo>
                <a:lnTo>
                  <a:pt x="4316015" y="6705600"/>
                </a:lnTo>
                <a:lnTo>
                  <a:pt x="4316015" y="3885208"/>
                </a:lnTo>
                <a:cubicBezTo>
                  <a:pt x="3704166" y="4108517"/>
                  <a:pt x="3119172" y="4220171"/>
                  <a:pt x="2561034" y="4220171"/>
                </a:cubicBezTo>
                <a:cubicBezTo>
                  <a:pt x="1672166" y="4220171"/>
                  <a:pt x="1027244" y="4024974"/>
                  <a:pt x="626268" y="3634582"/>
                </a:cubicBezTo>
                <a:cubicBezTo>
                  <a:pt x="225292" y="3244189"/>
                  <a:pt x="16536" y="2635846"/>
                  <a:pt x="0" y="1809552"/>
                </a:cubicBezTo>
                <a:lnTo>
                  <a:pt x="0" y="0"/>
                </a:lnTo>
                <a:lnTo>
                  <a:pt x="737790" y="0"/>
                </a:lnTo>
                <a:lnTo>
                  <a:pt x="737790" y="1772047"/>
                </a:lnTo>
                <a:cubicBezTo>
                  <a:pt x="746125" y="2412339"/>
                  <a:pt x="887743" y="2873971"/>
                  <a:pt x="1162645" y="3156943"/>
                </a:cubicBezTo>
                <a:cubicBezTo>
                  <a:pt x="1437547" y="3439915"/>
                  <a:pt x="1903677" y="3581400"/>
                  <a:pt x="2561034" y="3581400"/>
                </a:cubicBezTo>
                <a:cubicBezTo>
                  <a:pt x="3160447" y="3564864"/>
                  <a:pt x="3745441" y="3457443"/>
                  <a:pt x="4316015" y="3259138"/>
                </a:cubicBezTo>
                <a:lnTo>
                  <a:pt x="4316015" y="0"/>
                </a:lnTo>
                <a:lnTo>
                  <a:pt x="5060156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2" name="Freeform 2702"/>
          <p:cNvSpPr/>
          <p:nvPr/>
        </p:nvSpPr>
        <p:spPr>
          <a:xfrm>
            <a:off x="3509898" y="233414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3" name="Freeform 2703"/>
          <p:cNvSpPr/>
          <p:nvPr/>
        </p:nvSpPr>
        <p:spPr>
          <a:xfrm>
            <a:off x="3622951" y="233554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4" name="Freeform 2704"/>
          <p:cNvSpPr/>
          <p:nvPr/>
        </p:nvSpPr>
        <p:spPr>
          <a:xfrm>
            <a:off x="3735409" y="233554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5" name="Freeform 2705"/>
          <p:cNvSpPr/>
          <p:nvPr/>
        </p:nvSpPr>
        <p:spPr>
          <a:xfrm>
            <a:off x="3808874" y="233414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6" name="Freeform 2706"/>
          <p:cNvSpPr/>
          <p:nvPr/>
        </p:nvSpPr>
        <p:spPr>
          <a:xfrm>
            <a:off x="3885392" y="233414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7" name="Freeform 2707"/>
          <p:cNvSpPr/>
          <p:nvPr/>
        </p:nvSpPr>
        <p:spPr>
          <a:xfrm>
            <a:off x="3958353" y="233414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8" name="Freeform 2708"/>
          <p:cNvSpPr/>
          <p:nvPr/>
        </p:nvSpPr>
        <p:spPr>
          <a:xfrm>
            <a:off x="4034872" y="233414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09" name="Freeform 2709"/>
          <p:cNvSpPr/>
          <p:nvPr/>
        </p:nvSpPr>
        <p:spPr>
          <a:xfrm>
            <a:off x="4108513" y="233414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10" name="Freeform 2710"/>
          <p:cNvSpPr/>
          <p:nvPr/>
        </p:nvSpPr>
        <p:spPr>
          <a:xfrm>
            <a:off x="4183048" y="2303409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11" name="Freeform 2711"/>
          <p:cNvSpPr/>
          <p:nvPr/>
        </p:nvSpPr>
        <p:spPr>
          <a:xfrm>
            <a:off x="4259406" y="233414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12" name="Freeform 2712"/>
          <p:cNvSpPr/>
          <p:nvPr/>
        </p:nvSpPr>
        <p:spPr>
          <a:xfrm>
            <a:off x="4332830" y="233554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13" name="Freeform 2713"/>
          <p:cNvSpPr/>
          <p:nvPr/>
        </p:nvSpPr>
        <p:spPr>
          <a:xfrm>
            <a:off x="4407578" y="233554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14" name="Freeform 2714"/>
          <p:cNvSpPr/>
          <p:nvPr/>
        </p:nvSpPr>
        <p:spPr>
          <a:xfrm>
            <a:off x="4475645" y="233414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15" name="Rectangle 2715"/>
          <p:cNvSpPr/>
          <p:nvPr/>
        </p:nvSpPr>
        <p:spPr>
          <a:xfrm>
            <a:off x="2682500" y="2839911"/>
            <a:ext cx="1478026" cy="440764"/>
          </a:xfrm>
          <a:prstGeom prst="rect">
            <a:avLst/>
          </a:prstGeom>
        </p:spPr>
      </p:sp>
      <p:sp>
        <p:nvSpPr>
          <p:cNvPr id="2716" name="Freeform 2716"/>
          <p:cNvSpPr/>
          <p:nvPr/>
        </p:nvSpPr>
        <p:spPr>
          <a:xfrm>
            <a:off x="2686047" y="2873300"/>
            <a:ext cx="76398" cy="99326"/>
          </a:xfrm>
          <a:custGeom>
            <a:avLst/>
            <a:gdLst/>
            <a:ahLst/>
            <a:cxnLst/>
            <a:rect l="0" t="0" r="0" b="0"/>
            <a:pathLst>
              <a:path w="6945313" h="9029700">
                <a:moveTo>
                  <a:pt x="6945313" y="651074"/>
                </a:moveTo>
                <a:lnTo>
                  <a:pt x="3850879" y="651074"/>
                </a:lnTo>
                <a:lnTo>
                  <a:pt x="3850879" y="9029700"/>
                </a:lnTo>
                <a:lnTo>
                  <a:pt x="3088283" y="9029700"/>
                </a:lnTo>
                <a:lnTo>
                  <a:pt x="3088283" y="651074"/>
                </a:lnTo>
                <a:lnTo>
                  <a:pt x="0" y="651074"/>
                </a:lnTo>
                <a:lnTo>
                  <a:pt x="0" y="0"/>
                </a:lnTo>
                <a:lnTo>
                  <a:pt x="694531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17" name="Freeform 2717"/>
          <p:cNvSpPr/>
          <p:nvPr/>
        </p:nvSpPr>
        <p:spPr>
          <a:xfrm>
            <a:off x="2769070" y="2897468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18" name="Freeform 2718"/>
          <p:cNvSpPr/>
          <p:nvPr/>
        </p:nvSpPr>
        <p:spPr>
          <a:xfrm>
            <a:off x="2842711" y="2897468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19" name="Freeform 2719"/>
          <p:cNvSpPr/>
          <p:nvPr/>
        </p:nvSpPr>
        <p:spPr>
          <a:xfrm>
            <a:off x="2921817" y="28988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0" name="Freeform 2720"/>
          <p:cNvSpPr/>
          <p:nvPr/>
        </p:nvSpPr>
        <p:spPr>
          <a:xfrm>
            <a:off x="2995554" y="2897468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1" name="Freeform 2721"/>
          <p:cNvSpPr/>
          <p:nvPr/>
        </p:nvSpPr>
        <p:spPr>
          <a:xfrm>
            <a:off x="3072273" y="28988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2" name="Freeform 2722"/>
          <p:cNvSpPr/>
          <p:nvPr/>
        </p:nvSpPr>
        <p:spPr>
          <a:xfrm>
            <a:off x="3145738" y="289746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3" name="Freeform 2723"/>
          <p:cNvSpPr/>
          <p:nvPr/>
        </p:nvSpPr>
        <p:spPr>
          <a:xfrm>
            <a:off x="3228403" y="2897468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4" name="Freeform 2724"/>
          <p:cNvSpPr/>
          <p:nvPr/>
        </p:nvSpPr>
        <p:spPr>
          <a:xfrm>
            <a:off x="3292504" y="289886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5" name="Freeform 2725"/>
          <p:cNvSpPr/>
          <p:nvPr/>
        </p:nvSpPr>
        <p:spPr>
          <a:xfrm>
            <a:off x="3401267" y="28988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6" name="Freeform 2726"/>
          <p:cNvSpPr/>
          <p:nvPr/>
        </p:nvSpPr>
        <p:spPr>
          <a:xfrm>
            <a:off x="3505540" y="2898865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7" name="Freeform 2727"/>
          <p:cNvSpPr/>
          <p:nvPr/>
        </p:nvSpPr>
        <p:spPr>
          <a:xfrm>
            <a:off x="3587190" y="289746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8" name="Freeform 2728"/>
          <p:cNvSpPr/>
          <p:nvPr/>
        </p:nvSpPr>
        <p:spPr>
          <a:xfrm>
            <a:off x="3670401" y="2898865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29" name="Freeform 2729"/>
          <p:cNvSpPr/>
          <p:nvPr/>
        </p:nvSpPr>
        <p:spPr>
          <a:xfrm>
            <a:off x="3729283" y="28988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0" name="Freeform 2730"/>
          <p:cNvSpPr/>
          <p:nvPr/>
        </p:nvSpPr>
        <p:spPr>
          <a:xfrm>
            <a:off x="3803020" y="2897468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1" name="Freeform 2731"/>
          <p:cNvSpPr/>
          <p:nvPr/>
        </p:nvSpPr>
        <p:spPr>
          <a:xfrm>
            <a:off x="3871281" y="289886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2" name="Freeform 2732"/>
          <p:cNvSpPr/>
          <p:nvPr/>
        </p:nvSpPr>
        <p:spPr>
          <a:xfrm>
            <a:off x="3946097" y="28988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3" name="Freeform 2733"/>
          <p:cNvSpPr/>
          <p:nvPr/>
        </p:nvSpPr>
        <p:spPr>
          <a:xfrm>
            <a:off x="4024541" y="2898865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4" name="Freeform 2734"/>
          <p:cNvSpPr/>
          <p:nvPr/>
        </p:nvSpPr>
        <p:spPr>
          <a:xfrm>
            <a:off x="4092607" y="2897468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5" name="Freeform 2735"/>
          <p:cNvSpPr/>
          <p:nvPr/>
        </p:nvSpPr>
        <p:spPr>
          <a:xfrm>
            <a:off x="2696893" y="3146425"/>
            <a:ext cx="8390" cy="99326"/>
          </a:xfrm>
          <a:custGeom>
            <a:avLst/>
            <a:gdLst/>
            <a:ahLst/>
            <a:cxnLst/>
            <a:rect l="0" t="0" r="0" b="0"/>
            <a:pathLst>
              <a:path w="762794" h="9029700">
                <a:moveTo>
                  <a:pt x="762794" y="9029700"/>
                </a:moveTo>
                <a:lnTo>
                  <a:pt x="0" y="9029700"/>
                </a:lnTo>
                <a:lnTo>
                  <a:pt x="0" y="0"/>
                </a:lnTo>
                <a:lnTo>
                  <a:pt x="76279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6" name="Freeform 2736"/>
          <p:cNvSpPr/>
          <p:nvPr/>
        </p:nvSpPr>
        <p:spPr>
          <a:xfrm>
            <a:off x="2721251" y="3146425"/>
            <a:ext cx="76398" cy="99326"/>
          </a:xfrm>
          <a:custGeom>
            <a:avLst/>
            <a:gdLst/>
            <a:ahLst/>
            <a:cxnLst/>
            <a:rect l="0" t="0" r="0" b="0"/>
            <a:pathLst>
              <a:path w="6945313" h="9029700">
                <a:moveTo>
                  <a:pt x="6945313" y="651074"/>
                </a:moveTo>
                <a:lnTo>
                  <a:pt x="3850879" y="651074"/>
                </a:lnTo>
                <a:lnTo>
                  <a:pt x="3850879" y="9029700"/>
                </a:lnTo>
                <a:lnTo>
                  <a:pt x="3088283" y="9029700"/>
                </a:lnTo>
                <a:lnTo>
                  <a:pt x="3088283" y="651074"/>
                </a:lnTo>
                <a:lnTo>
                  <a:pt x="0" y="651074"/>
                </a:lnTo>
                <a:lnTo>
                  <a:pt x="0" y="0"/>
                </a:lnTo>
                <a:lnTo>
                  <a:pt x="694531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7" name="Freeform 2737"/>
          <p:cNvSpPr/>
          <p:nvPr/>
        </p:nvSpPr>
        <p:spPr>
          <a:xfrm>
            <a:off x="2788661" y="3198533"/>
            <a:ext cx="32674" cy="6888"/>
          </a:xfrm>
          <a:custGeom>
            <a:avLst/>
            <a:gdLst/>
            <a:ahLst/>
            <a:cxnLst/>
            <a:rect l="0" t="0" r="0" b="0"/>
            <a:pathLst>
              <a:path w="2970411" h="626269">
                <a:moveTo>
                  <a:pt x="2970411" y="626269"/>
                </a:moveTo>
                <a:lnTo>
                  <a:pt x="0" y="626269"/>
                </a:lnTo>
                <a:lnTo>
                  <a:pt x="0" y="0"/>
                </a:lnTo>
                <a:lnTo>
                  <a:pt x="297041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8" name="Freeform 2738"/>
          <p:cNvSpPr/>
          <p:nvPr/>
        </p:nvSpPr>
        <p:spPr>
          <a:xfrm>
            <a:off x="2828001" y="31719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39" name="Freeform 2739"/>
          <p:cNvSpPr/>
          <p:nvPr/>
        </p:nvSpPr>
        <p:spPr>
          <a:xfrm>
            <a:off x="2892322" y="31705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40" name="Freeform 2740"/>
          <p:cNvSpPr/>
          <p:nvPr/>
        </p:nvSpPr>
        <p:spPr>
          <a:xfrm>
            <a:off x="2961542" y="3171990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41" name="Freeform 2741"/>
          <p:cNvSpPr/>
          <p:nvPr/>
        </p:nvSpPr>
        <p:spPr>
          <a:xfrm>
            <a:off x="3037348" y="31719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42" name="Freeform 2742"/>
          <p:cNvSpPr/>
          <p:nvPr/>
        </p:nvSpPr>
        <p:spPr>
          <a:xfrm>
            <a:off x="3110813" y="31705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43" name="Freeform 2743"/>
          <p:cNvSpPr/>
          <p:nvPr/>
        </p:nvSpPr>
        <p:spPr>
          <a:xfrm>
            <a:off x="3184928" y="31719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44" name="Freeform 2744"/>
          <p:cNvSpPr/>
          <p:nvPr/>
        </p:nvSpPr>
        <p:spPr>
          <a:xfrm>
            <a:off x="3266579" y="31705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45" name="Freeform 2745"/>
          <p:cNvSpPr/>
          <p:nvPr/>
        </p:nvSpPr>
        <p:spPr>
          <a:xfrm>
            <a:off x="3349790" y="3171990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46" name="Freeform 2746"/>
          <p:cNvSpPr/>
          <p:nvPr/>
        </p:nvSpPr>
        <p:spPr>
          <a:xfrm>
            <a:off x="3408671" y="31719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47" name="Freeform 2747"/>
          <p:cNvSpPr/>
          <p:nvPr/>
        </p:nvSpPr>
        <p:spPr>
          <a:xfrm>
            <a:off x="3487182" y="31719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48" name="Rectangle 2748"/>
          <p:cNvSpPr/>
          <p:nvPr/>
        </p:nvSpPr>
        <p:spPr>
          <a:xfrm>
            <a:off x="2689325" y="2558261"/>
            <a:ext cx="1341539" cy="167639"/>
          </a:xfrm>
          <a:prstGeom prst="rect">
            <a:avLst/>
          </a:prstGeom>
        </p:spPr>
      </p:sp>
      <p:sp>
        <p:nvSpPr>
          <p:cNvPr id="2749" name="Freeform 2749"/>
          <p:cNvSpPr/>
          <p:nvPr/>
        </p:nvSpPr>
        <p:spPr>
          <a:xfrm>
            <a:off x="2698261" y="2590253"/>
            <a:ext cx="73942" cy="102120"/>
          </a:xfrm>
          <a:custGeom>
            <a:avLst/>
            <a:gdLst/>
            <a:ahLst/>
            <a:cxnLst/>
            <a:rect l="0" t="0" r="0" b="0"/>
            <a:pathLst>
              <a:path w="6722070" h="9283700">
                <a:moveTo>
                  <a:pt x="6722070" y="6344246"/>
                </a:moveTo>
                <a:cubicBezTo>
                  <a:pt x="6618750" y="7295158"/>
                  <a:pt x="6278695" y="8022829"/>
                  <a:pt x="5701903" y="8527257"/>
                </a:cubicBezTo>
                <a:cubicBezTo>
                  <a:pt x="5125243" y="9031553"/>
                  <a:pt x="4357357" y="9283700"/>
                  <a:pt x="3398242" y="9283700"/>
                </a:cubicBezTo>
                <a:cubicBezTo>
                  <a:pt x="2728449" y="9283700"/>
                  <a:pt x="2136179" y="9116153"/>
                  <a:pt x="1621432" y="8781058"/>
                </a:cubicBezTo>
                <a:cubicBezTo>
                  <a:pt x="1106818" y="8445964"/>
                  <a:pt x="708951" y="7971235"/>
                  <a:pt x="427831" y="7356872"/>
                </a:cubicBezTo>
                <a:cubicBezTo>
                  <a:pt x="146711" y="6742510"/>
                  <a:pt x="4101" y="6040240"/>
                  <a:pt x="0" y="5250061"/>
                </a:cubicBezTo>
                <a:lnTo>
                  <a:pt x="0" y="4077097"/>
                </a:lnTo>
                <a:cubicBezTo>
                  <a:pt x="0" y="3274484"/>
                  <a:pt x="140560" y="2562887"/>
                  <a:pt x="421679" y="1942307"/>
                </a:cubicBezTo>
                <a:cubicBezTo>
                  <a:pt x="702799" y="1321727"/>
                  <a:pt x="1106884" y="842897"/>
                  <a:pt x="1633934" y="505818"/>
                </a:cubicBezTo>
                <a:cubicBezTo>
                  <a:pt x="2161116" y="168606"/>
                  <a:pt x="2767806" y="0"/>
                  <a:pt x="3454003" y="0"/>
                </a:cubicBezTo>
                <a:cubicBezTo>
                  <a:pt x="4421452" y="0"/>
                  <a:pt x="5185238" y="261475"/>
                  <a:pt x="5745361" y="784424"/>
                </a:cubicBezTo>
                <a:cubicBezTo>
                  <a:pt x="6305484" y="1307373"/>
                  <a:pt x="6631053" y="2029818"/>
                  <a:pt x="6722070" y="2951758"/>
                </a:cubicBezTo>
                <a:lnTo>
                  <a:pt x="5953125" y="2951758"/>
                </a:lnTo>
                <a:cubicBezTo>
                  <a:pt x="5762889" y="1417969"/>
                  <a:pt x="4929849" y="651074"/>
                  <a:pt x="3454003" y="651074"/>
                </a:cubicBezTo>
                <a:cubicBezTo>
                  <a:pt x="2635514" y="651074"/>
                  <a:pt x="1983382" y="957263"/>
                  <a:pt x="1497607" y="1569641"/>
                </a:cubicBezTo>
                <a:cubicBezTo>
                  <a:pt x="1011832" y="2182019"/>
                  <a:pt x="768945" y="3028157"/>
                  <a:pt x="768945" y="4108054"/>
                </a:cubicBezTo>
                <a:lnTo>
                  <a:pt x="768945" y="5212755"/>
                </a:lnTo>
                <a:cubicBezTo>
                  <a:pt x="768945" y="6255478"/>
                  <a:pt x="1005615" y="7087196"/>
                  <a:pt x="1478954" y="7707908"/>
                </a:cubicBezTo>
                <a:cubicBezTo>
                  <a:pt x="1952294" y="8328488"/>
                  <a:pt x="2592057" y="8638779"/>
                  <a:pt x="3398242" y="8638779"/>
                </a:cubicBezTo>
                <a:cubicBezTo>
                  <a:pt x="4196093" y="8638779"/>
                  <a:pt x="4797557" y="8447617"/>
                  <a:pt x="5202634" y="8065294"/>
                </a:cubicBezTo>
                <a:cubicBezTo>
                  <a:pt x="5607843" y="7682839"/>
                  <a:pt x="5858007" y="7109156"/>
                  <a:pt x="5953125" y="6344246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0" name="Freeform 2750"/>
          <p:cNvSpPr/>
          <p:nvPr/>
        </p:nvSpPr>
        <p:spPr>
          <a:xfrm>
            <a:off x="2786130" y="261581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1" name="Freeform 2751"/>
          <p:cNvSpPr/>
          <p:nvPr/>
        </p:nvSpPr>
        <p:spPr>
          <a:xfrm>
            <a:off x="2855077" y="2617215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2" name="Freeform 2752"/>
          <p:cNvSpPr/>
          <p:nvPr/>
        </p:nvSpPr>
        <p:spPr>
          <a:xfrm>
            <a:off x="2942114" y="2617215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3" name="Freeform 2753"/>
          <p:cNvSpPr/>
          <p:nvPr/>
        </p:nvSpPr>
        <p:spPr>
          <a:xfrm>
            <a:off x="3011739" y="2615818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4" name="Freeform 2754"/>
          <p:cNvSpPr/>
          <p:nvPr/>
        </p:nvSpPr>
        <p:spPr>
          <a:xfrm>
            <a:off x="3088391" y="2617215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5" name="Freeform 2755"/>
          <p:cNvSpPr/>
          <p:nvPr/>
        </p:nvSpPr>
        <p:spPr>
          <a:xfrm>
            <a:off x="3154379" y="261581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6" name="Freeform 2756"/>
          <p:cNvSpPr/>
          <p:nvPr/>
        </p:nvSpPr>
        <p:spPr>
          <a:xfrm>
            <a:off x="3232611" y="261581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7" name="Freeform 2757"/>
          <p:cNvSpPr/>
          <p:nvPr/>
        </p:nvSpPr>
        <p:spPr>
          <a:xfrm>
            <a:off x="3335778" y="2617215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8" name="Freeform 2758"/>
          <p:cNvSpPr/>
          <p:nvPr/>
        </p:nvSpPr>
        <p:spPr>
          <a:xfrm>
            <a:off x="3405281" y="261581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59" name="Freeform 2759"/>
          <p:cNvSpPr/>
          <p:nvPr/>
        </p:nvSpPr>
        <p:spPr>
          <a:xfrm>
            <a:off x="3484058" y="2615818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60" name="Freeform 2760"/>
          <p:cNvSpPr/>
          <p:nvPr/>
        </p:nvSpPr>
        <p:spPr>
          <a:xfrm>
            <a:off x="3554404" y="2617215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61" name="Freeform 2761"/>
          <p:cNvSpPr/>
          <p:nvPr/>
        </p:nvSpPr>
        <p:spPr>
          <a:xfrm>
            <a:off x="3634965" y="2590672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62" name="Freeform 2762"/>
          <p:cNvSpPr/>
          <p:nvPr/>
        </p:nvSpPr>
        <p:spPr>
          <a:xfrm>
            <a:off x="3708703" y="2615818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63" name="Freeform 2763"/>
          <p:cNvSpPr/>
          <p:nvPr/>
        </p:nvSpPr>
        <p:spPr>
          <a:xfrm>
            <a:off x="3776964" y="261721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64" name="Freeform 2764"/>
          <p:cNvSpPr/>
          <p:nvPr/>
        </p:nvSpPr>
        <p:spPr>
          <a:xfrm>
            <a:off x="3852120" y="2617215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65" name="Freeform 2765"/>
          <p:cNvSpPr/>
          <p:nvPr/>
        </p:nvSpPr>
        <p:spPr>
          <a:xfrm>
            <a:off x="3924825" y="261581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66" name="Rectangle 2766"/>
          <p:cNvSpPr/>
          <p:nvPr/>
        </p:nvSpPr>
        <p:spPr>
          <a:xfrm>
            <a:off x="2682500" y="3386161"/>
            <a:ext cx="1170686" cy="927914"/>
          </a:xfrm>
          <a:prstGeom prst="rect">
            <a:avLst/>
          </a:prstGeom>
        </p:spPr>
      </p:sp>
      <p:sp>
        <p:nvSpPr>
          <p:cNvPr id="2767" name="Freeform 2767"/>
          <p:cNvSpPr/>
          <p:nvPr/>
        </p:nvSpPr>
        <p:spPr>
          <a:xfrm>
            <a:off x="2695051" y="3419550"/>
            <a:ext cx="95703" cy="99326"/>
          </a:xfrm>
          <a:custGeom>
            <a:avLst/>
            <a:gdLst/>
            <a:ahLst/>
            <a:cxnLst/>
            <a:rect l="0" t="0" r="0" b="0"/>
            <a:pathLst>
              <a:path w="8700294" h="9029700">
                <a:moveTo>
                  <a:pt x="1010841" y="0"/>
                </a:moveTo>
                <a:lnTo>
                  <a:pt x="4340820" y="7969250"/>
                </a:lnTo>
                <a:lnTo>
                  <a:pt x="7683302" y="0"/>
                </a:lnTo>
                <a:lnTo>
                  <a:pt x="8700294" y="0"/>
                </a:lnTo>
                <a:lnTo>
                  <a:pt x="8700294" y="9029700"/>
                </a:lnTo>
                <a:lnTo>
                  <a:pt x="7937500" y="9029700"/>
                </a:lnTo>
                <a:lnTo>
                  <a:pt x="7937500" y="5097860"/>
                </a:lnTo>
                <a:lnTo>
                  <a:pt x="7999611" y="1066602"/>
                </a:lnTo>
                <a:lnTo>
                  <a:pt x="4638477" y="9029700"/>
                </a:lnTo>
                <a:lnTo>
                  <a:pt x="4049316" y="9029700"/>
                </a:lnTo>
                <a:lnTo>
                  <a:pt x="700683" y="1097757"/>
                </a:lnTo>
                <a:lnTo>
                  <a:pt x="762794" y="5073055"/>
                </a:lnTo>
                <a:lnTo>
                  <a:pt x="762794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68" name="Freeform 2768"/>
          <p:cNvSpPr/>
          <p:nvPr/>
        </p:nvSpPr>
        <p:spPr>
          <a:xfrm>
            <a:off x="2810161" y="3443718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69" name="Freeform 2769"/>
          <p:cNvSpPr/>
          <p:nvPr/>
        </p:nvSpPr>
        <p:spPr>
          <a:xfrm>
            <a:off x="2889266" y="3445115"/>
            <a:ext cx="89905" cy="73761"/>
          </a:xfrm>
          <a:custGeom>
            <a:avLst/>
            <a:gdLst/>
            <a:ahLst/>
            <a:cxnLst/>
            <a:rect l="0" t="0" r="0" b="0"/>
            <a:pathLst>
              <a:path w="8173243" h="6705600">
                <a:moveTo>
                  <a:pt x="744140" y="0"/>
                </a:moveTo>
                <a:lnTo>
                  <a:pt x="744140" y="6079332"/>
                </a:lnTo>
                <a:lnTo>
                  <a:pt x="3726854" y="6079332"/>
                </a:lnTo>
                <a:lnTo>
                  <a:pt x="3726854" y="0"/>
                </a:lnTo>
                <a:lnTo>
                  <a:pt x="4470995" y="0"/>
                </a:lnTo>
                <a:lnTo>
                  <a:pt x="4470995" y="6079332"/>
                </a:lnTo>
                <a:lnTo>
                  <a:pt x="7429103" y="6079332"/>
                </a:lnTo>
                <a:lnTo>
                  <a:pt x="7429103" y="0"/>
                </a:lnTo>
                <a:lnTo>
                  <a:pt x="8173243" y="0"/>
                </a:lnTo>
                <a:lnTo>
                  <a:pt x="8173243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0" name="Freeform 2770"/>
          <p:cNvSpPr/>
          <p:nvPr/>
        </p:nvSpPr>
        <p:spPr>
          <a:xfrm>
            <a:off x="3000049" y="344511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1" name="Freeform 2771"/>
          <p:cNvSpPr/>
          <p:nvPr/>
        </p:nvSpPr>
        <p:spPr>
          <a:xfrm>
            <a:off x="3078560" y="344511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2" name="Freeform 2772"/>
          <p:cNvSpPr/>
          <p:nvPr/>
        </p:nvSpPr>
        <p:spPr>
          <a:xfrm>
            <a:off x="3152025" y="344371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3" name="Freeform 2773"/>
          <p:cNvSpPr/>
          <p:nvPr/>
        </p:nvSpPr>
        <p:spPr>
          <a:xfrm>
            <a:off x="3230530" y="3443718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4" name="Freeform 2774"/>
          <p:cNvSpPr/>
          <p:nvPr/>
        </p:nvSpPr>
        <p:spPr>
          <a:xfrm>
            <a:off x="3298790" y="344511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5" name="Freeform 2775"/>
          <p:cNvSpPr/>
          <p:nvPr/>
        </p:nvSpPr>
        <p:spPr>
          <a:xfrm>
            <a:off x="3372993" y="3443718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6" name="Freeform 2776"/>
          <p:cNvSpPr/>
          <p:nvPr/>
        </p:nvSpPr>
        <p:spPr>
          <a:xfrm>
            <a:off x="3445953" y="3443718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7" name="Freeform 2777"/>
          <p:cNvSpPr/>
          <p:nvPr/>
        </p:nvSpPr>
        <p:spPr>
          <a:xfrm>
            <a:off x="3524185" y="344371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8" name="Freeform 2778"/>
          <p:cNvSpPr/>
          <p:nvPr/>
        </p:nvSpPr>
        <p:spPr>
          <a:xfrm>
            <a:off x="3601317" y="344511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79" name="Freeform 2779"/>
          <p:cNvSpPr/>
          <p:nvPr/>
        </p:nvSpPr>
        <p:spPr>
          <a:xfrm>
            <a:off x="3679829" y="344511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0" name="Freeform 2780"/>
          <p:cNvSpPr/>
          <p:nvPr/>
        </p:nvSpPr>
        <p:spPr>
          <a:xfrm>
            <a:off x="3753294" y="344371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1" name="Freeform 2781"/>
          <p:cNvSpPr/>
          <p:nvPr/>
        </p:nvSpPr>
        <p:spPr>
          <a:xfrm>
            <a:off x="2692872" y="3663125"/>
            <a:ext cx="76398" cy="99326"/>
          </a:xfrm>
          <a:custGeom>
            <a:avLst/>
            <a:gdLst/>
            <a:ahLst/>
            <a:cxnLst/>
            <a:rect l="0" t="0" r="0" b="0"/>
            <a:pathLst>
              <a:path w="6945313" h="9029700">
                <a:moveTo>
                  <a:pt x="6945313" y="651074"/>
                </a:moveTo>
                <a:lnTo>
                  <a:pt x="3850879" y="651074"/>
                </a:lnTo>
                <a:lnTo>
                  <a:pt x="3850879" y="9029700"/>
                </a:lnTo>
                <a:lnTo>
                  <a:pt x="3088283" y="9029700"/>
                </a:lnTo>
                <a:lnTo>
                  <a:pt x="3088283" y="651074"/>
                </a:lnTo>
                <a:lnTo>
                  <a:pt x="0" y="651074"/>
                </a:lnTo>
                <a:lnTo>
                  <a:pt x="0" y="0"/>
                </a:lnTo>
                <a:lnTo>
                  <a:pt x="6945313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2" name="Freeform 2782"/>
          <p:cNvSpPr/>
          <p:nvPr/>
        </p:nvSpPr>
        <p:spPr>
          <a:xfrm>
            <a:off x="2770019" y="3688690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3" name="Freeform 2783"/>
          <p:cNvSpPr/>
          <p:nvPr/>
        </p:nvSpPr>
        <p:spPr>
          <a:xfrm>
            <a:off x="2844767" y="36872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4" name="Freeform 2784"/>
          <p:cNvSpPr/>
          <p:nvPr/>
        </p:nvSpPr>
        <p:spPr>
          <a:xfrm>
            <a:off x="2922774" y="36886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5" name="Freeform 2785"/>
          <p:cNvSpPr/>
          <p:nvPr/>
        </p:nvSpPr>
        <p:spPr>
          <a:xfrm>
            <a:off x="2996785" y="3687293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6" name="Freeform 2786"/>
          <p:cNvSpPr/>
          <p:nvPr/>
        </p:nvSpPr>
        <p:spPr>
          <a:xfrm>
            <a:off x="3072315" y="3688690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C5971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7" name="Freeform 2787"/>
          <p:cNvSpPr/>
          <p:nvPr/>
        </p:nvSpPr>
        <p:spPr>
          <a:xfrm>
            <a:off x="2698942" y="3905303"/>
            <a:ext cx="73875" cy="102120"/>
          </a:xfrm>
          <a:custGeom>
            <a:avLst/>
            <a:gdLst/>
            <a:ahLst/>
            <a:cxnLst/>
            <a:rect l="0" t="0" r="0" b="0"/>
            <a:pathLst>
              <a:path w="6715919" h="9283700">
                <a:moveTo>
                  <a:pt x="762794" y="6342261"/>
                </a:moveTo>
                <a:cubicBezTo>
                  <a:pt x="866114" y="7132572"/>
                  <a:pt x="1122429" y="7712935"/>
                  <a:pt x="1531739" y="8083352"/>
                </a:cubicBezTo>
                <a:cubicBezTo>
                  <a:pt x="1941050" y="8453636"/>
                  <a:pt x="2536362" y="8638779"/>
                  <a:pt x="3317677" y="8638779"/>
                </a:cubicBezTo>
                <a:cubicBezTo>
                  <a:pt x="4132064" y="8638779"/>
                  <a:pt x="4774870" y="8324123"/>
                  <a:pt x="5246092" y="7694811"/>
                </a:cubicBezTo>
                <a:cubicBezTo>
                  <a:pt x="5717447" y="7065500"/>
                  <a:pt x="5953125" y="6223000"/>
                  <a:pt x="5953125" y="5167313"/>
                </a:cubicBezTo>
                <a:lnTo>
                  <a:pt x="5953125" y="4943674"/>
                </a:lnTo>
                <a:lnTo>
                  <a:pt x="2182813" y="4943674"/>
                </a:lnTo>
                <a:lnTo>
                  <a:pt x="2182813" y="4292600"/>
                </a:lnTo>
                <a:lnTo>
                  <a:pt x="5953125" y="4292600"/>
                </a:lnTo>
                <a:lnTo>
                  <a:pt x="5953125" y="4069358"/>
                </a:lnTo>
                <a:cubicBezTo>
                  <a:pt x="5953125" y="3022931"/>
                  <a:pt x="5711296" y="2191610"/>
                  <a:pt x="5227638" y="1575396"/>
                </a:cubicBezTo>
                <a:cubicBezTo>
                  <a:pt x="4743979" y="959181"/>
                  <a:pt x="4090789" y="651074"/>
                  <a:pt x="3268067" y="651074"/>
                </a:cubicBezTo>
                <a:cubicBezTo>
                  <a:pt x="1788120" y="651074"/>
                  <a:pt x="953029" y="1418696"/>
                  <a:pt x="762794" y="2953941"/>
                </a:cubicBezTo>
                <a:lnTo>
                  <a:pt x="0" y="2953941"/>
                </a:lnTo>
                <a:cubicBezTo>
                  <a:pt x="91017" y="2018904"/>
                  <a:pt x="419695" y="1292821"/>
                  <a:pt x="986036" y="775693"/>
                </a:cubicBezTo>
                <a:cubicBezTo>
                  <a:pt x="1552377" y="258565"/>
                  <a:pt x="2313054" y="0"/>
                  <a:pt x="3268067" y="0"/>
                </a:cubicBezTo>
                <a:cubicBezTo>
                  <a:pt x="4305763" y="0"/>
                  <a:pt x="5139796" y="371343"/>
                  <a:pt x="5770166" y="1114029"/>
                </a:cubicBezTo>
                <a:cubicBezTo>
                  <a:pt x="6400668" y="1856582"/>
                  <a:pt x="6715919" y="2862925"/>
                  <a:pt x="6715919" y="4133057"/>
                </a:cubicBezTo>
                <a:lnTo>
                  <a:pt x="6715919" y="5212755"/>
                </a:lnTo>
                <a:cubicBezTo>
                  <a:pt x="6715919" y="6015369"/>
                  <a:pt x="6574300" y="6728024"/>
                  <a:pt x="6291064" y="7350721"/>
                </a:cubicBezTo>
                <a:cubicBezTo>
                  <a:pt x="6007960" y="7973285"/>
                  <a:pt x="5609035" y="8451123"/>
                  <a:pt x="5094288" y="8784233"/>
                </a:cubicBezTo>
                <a:cubicBezTo>
                  <a:pt x="4579673" y="9117211"/>
                  <a:pt x="3987470" y="9283700"/>
                  <a:pt x="3317677" y="9283700"/>
                </a:cubicBezTo>
                <a:cubicBezTo>
                  <a:pt x="2350360" y="9283700"/>
                  <a:pt x="1579364" y="9029304"/>
                  <a:pt x="1004689" y="8520510"/>
                </a:cubicBezTo>
                <a:cubicBezTo>
                  <a:pt x="430014" y="8011584"/>
                  <a:pt x="95118" y="7285501"/>
                  <a:pt x="0" y="634226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8" name="Freeform 2788"/>
          <p:cNvSpPr/>
          <p:nvPr/>
        </p:nvSpPr>
        <p:spPr>
          <a:xfrm>
            <a:off x="2792714" y="39322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89" name="Freeform 2789"/>
          <p:cNvSpPr/>
          <p:nvPr/>
        </p:nvSpPr>
        <p:spPr>
          <a:xfrm>
            <a:off x="2866178" y="393086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0" name="Freeform 2790"/>
          <p:cNvSpPr/>
          <p:nvPr/>
        </p:nvSpPr>
        <p:spPr>
          <a:xfrm>
            <a:off x="2942697" y="3930868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1" name="Freeform 2791"/>
          <p:cNvSpPr/>
          <p:nvPr/>
        </p:nvSpPr>
        <p:spPr>
          <a:xfrm>
            <a:off x="3020636" y="3932265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2" name="Freeform 2792"/>
          <p:cNvSpPr/>
          <p:nvPr/>
        </p:nvSpPr>
        <p:spPr>
          <a:xfrm>
            <a:off x="3073214" y="3930868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3" name="Freeform 2793"/>
          <p:cNvSpPr/>
          <p:nvPr/>
        </p:nvSpPr>
        <p:spPr>
          <a:xfrm>
            <a:off x="3141189" y="3932265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4" name="Freeform 2794"/>
          <p:cNvSpPr/>
          <p:nvPr/>
        </p:nvSpPr>
        <p:spPr>
          <a:xfrm>
            <a:off x="3216005" y="3932265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5" name="Freeform 2795"/>
          <p:cNvSpPr/>
          <p:nvPr/>
        </p:nvSpPr>
        <p:spPr>
          <a:xfrm>
            <a:off x="3294448" y="3932265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6" name="Freeform 2796"/>
          <p:cNvSpPr/>
          <p:nvPr/>
        </p:nvSpPr>
        <p:spPr>
          <a:xfrm>
            <a:off x="3362515" y="3930868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7" name="Freeform 2797"/>
          <p:cNvSpPr/>
          <p:nvPr/>
        </p:nvSpPr>
        <p:spPr>
          <a:xfrm>
            <a:off x="2698261" y="4178428"/>
            <a:ext cx="73942" cy="102120"/>
          </a:xfrm>
          <a:custGeom>
            <a:avLst/>
            <a:gdLst/>
            <a:ahLst/>
            <a:cxnLst/>
            <a:rect l="0" t="0" r="0" b="0"/>
            <a:pathLst>
              <a:path w="6722070" h="9283700">
                <a:moveTo>
                  <a:pt x="6722070" y="6344246"/>
                </a:moveTo>
                <a:cubicBezTo>
                  <a:pt x="6618750" y="7295158"/>
                  <a:pt x="6278695" y="8022829"/>
                  <a:pt x="5701903" y="8527257"/>
                </a:cubicBezTo>
                <a:cubicBezTo>
                  <a:pt x="5125243" y="9031553"/>
                  <a:pt x="4357357" y="9283700"/>
                  <a:pt x="3398242" y="9283700"/>
                </a:cubicBezTo>
                <a:cubicBezTo>
                  <a:pt x="2728449" y="9283700"/>
                  <a:pt x="2136179" y="9116153"/>
                  <a:pt x="1621432" y="8781058"/>
                </a:cubicBezTo>
                <a:cubicBezTo>
                  <a:pt x="1106818" y="8445964"/>
                  <a:pt x="708951" y="7971235"/>
                  <a:pt x="427831" y="7356872"/>
                </a:cubicBezTo>
                <a:cubicBezTo>
                  <a:pt x="146711" y="6742510"/>
                  <a:pt x="4101" y="6040240"/>
                  <a:pt x="0" y="5250061"/>
                </a:cubicBezTo>
                <a:lnTo>
                  <a:pt x="0" y="4077097"/>
                </a:lnTo>
                <a:cubicBezTo>
                  <a:pt x="0" y="3274484"/>
                  <a:pt x="140560" y="2562887"/>
                  <a:pt x="421679" y="1942307"/>
                </a:cubicBezTo>
                <a:cubicBezTo>
                  <a:pt x="702799" y="1321727"/>
                  <a:pt x="1106884" y="842897"/>
                  <a:pt x="1633934" y="505818"/>
                </a:cubicBezTo>
                <a:cubicBezTo>
                  <a:pt x="2161116" y="168606"/>
                  <a:pt x="2767806" y="0"/>
                  <a:pt x="3454003" y="0"/>
                </a:cubicBezTo>
                <a:cubicBezTo>
                  <a:pt x="4421452" y="0"/>
                  <a:pt x="5185238" y="261475"/>
                  <a:pt x="5745361" y="784424"/>
                </a:cubicBezTo>
                <a:cubicBezTo>
                  <a:pt x="6305484" y="1307373"/>
                  <a:pt x="6631053" y="2029818"/>
                  <a:pt x="6722070" y="2951758"/>
                </a:cubicBezTo>
                <a:lnTo>
                  <a:pt x="5953125" y="2951758"/>
                </a:lnTo>
                <a:cubicBezTo>
                  <a:pt x="5762889" y="1417969"/>
                  <a:pt x="4929849" y="651074"/>
                  <a:pt x="3454003" y="651074"/>
                </a:cubicBezTo>
                <a:cubicBezTo>
                  <a:pt x="2635514" y="651074"/>
                  <a:pt x="1983382" y="957263"/>
                  <a:pt x="1497607" y="1569641"/>
                </a:cubicBezTo>
                <a:cubicBezTo>
                  <a:pt x="1011832" y="2182019"/>
                  <a:pt x="768945" y="3028157"/>
                  <a:pt x="768945" y="4108054"/>
                </a:cubicBezTo>
                <a:lnTo>
                  <a:pt x="768945" y="5212755"/>
                </a:lnTo>
                <a:cubicBezTo>
                  <a:pt x="768945" y="6255478"/>
                  <a:pt x="1005615" y="7087196"/>
                  <a:pt x="1478954" y="7707908"/>
                </a:cubicBezTo>
                <a:cubicBezTo>
                  <a:pt x="1952294" y="8328488"/>
                  <a:pt x="2592057" y="8638779"/>
                  <a:pt x="3398242" y="8638779"/>
                </a:cubicBezTo>
                <a:cubicBezTo>
                  <a:pt x="4196093" y="8638779"/>
                  <a:pt x="4797557" y="8447617"/>
                  <a:pt x="5202634" y="8065294"/>
                </a:cubicBezTo>
                <a:cubicBezTo>
                  <a:pt x="5607843" y="7682839"/>
                  <a:pt x="5858007" y="7109156"/>
                  <a:pt x="5953125" y="6344246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8" name="Freeform 2798"/>
          <p:cNvSpPr/>
          <p:nvPr/>
        </p:nvSpPr>
        <p:spPr>
          <a:xfrm>
            <a:off x="2782719" y="42053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799" name="Freeform 2799"/>
          <p:cNvSpPr/>
          <p:nvPr/>
        </p:nvSpPr>
        <p:spPr>
          <a:xfrm>
            <a:off x="2856921" y="42039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0" name="Freeform 2800"/>
          <p:cNvSpPr/>
          <p:nvPr/>
        </p:nvSpPr>
        <p:spPr>
          <a:xfrm>
            <a:off x="2929881" y="42039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1" name="Freeform 2801"/>
          <p:cNvSpPr/>
          <p:nvPr/>
        </p:nvSpPr>
        <p:spPr>
          <a:xfrm>
            <a:off x="3013160" y="42053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2" name="Freeform 2802"/>
          <p:cNvSpPr/>
          <p:nvPr/>
        </p:nvSpPr>
        <p:spPr>
          <a:xfrm>
            <a:off x="3083213" y="42053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3" name="Freeform 2803"/>
          <p:cNvSpPr/>
          <p:nvPr/>
        </p:nvSpPr>
        <p:spPr>
          <a:xfrm>
            <a:off x="3147534" y="42039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4" name="Freeform 2804"/>
          <p:cNvSpPr/>
          <p:nvPr/>
        </p:nvSpPr>
        <p:spPr>
          <a:xfrm>
            <a:off x="3216480" y="42053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5" name="Freeform 2805"/>
          <p:cNvSpPr/>
          <p:nvPr/>
        </p:nvSpPr>
        <p:spPr>
          <a:xfrm>
            <a:off x="3303518" y="4205390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6" name="Freeform 2806"/>
          <p:cNvSpPr/>
          <p:nvPr/>
        </p:nvSpPr>
        <p:spPr>
          <a:xfrm>
            <a:off x="3373143" y="420399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7" name="Freeform 2807"/>
          <p:cNvSpPr/>
          <p:nvPr/>
        </p:nvSpPr>
        <p:spPr>
          <a:xfrm>
            <a:off x="3441404" y="42053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8" name="Freeform 2808"/>
          <p:cNvSpPr/>
          <p:nvPr/>
        </p:nvSpPr>
        <p:spPr>
          <a:xfrm>
            <a:off x="3516560" y="420539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09" name="Freeform 2809"/>
          <p:cNvSpPr/>
          <p:nvPr/>
        </p:nvSpPr>
        <p:spPr>
          <a:xfrm>
            <a:off x="3589266" y="42039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10" name="Rectangle 2810"/>
          <p:cNvSpPr/>
          <p:nvPr/>
        </p:nvSpPr>
        <p:spPr>
          <a:xfrm>
            <a:off x="2689325" y="4543858"/>
            <a:ext cx="2420302" cy="442317"/>
          </a:xfrm>
          <a:prstGeom prst="rect">
            <a:avLst/>
          </a:prstGeom>
        </p:spPr>
      </p:sp>
      <p:sp>
        <p:nvSpPr>
          <p:cNvPr id="2811" name="Freeform 2811"/>
          <p:cNvSpPr/>
          <p:nvPr/>
        </p:nvSpPr>
        <p:spPr>
          <a:xfrm>
            <a:off x="2701876" y="4577246"/>
            <a:ext cx="67259" cy="99326"/>
          </a:xfrm>
          <a:custGeom>
            <a:avLst/>
            <a:gdLst/>
            <a:ahLst/>
            <a:cxnLst/>
            <a:rect l="0" t="0" r="0" b="0"/>
            <a:pathLst>
              <a:path w="6114455" h="9029700">
                <a:moveTo>
                  <a:pt x="762794" y="5356622"/>
                </a:moveTo>
                <a:lnTo>
                  <a:pt x="762794" y="9029700"/>
                </a:lnTo>
                <a:lnTo>
                  <a:pt x="0" y="9029700"/>
                </a:lnTo>
                <a:lnTo>
                  <a:pt x="0" y="0"/>
                </a:lnTo>
                <a:lnTo>
                  <a:pt x="3075781" y="0"/>
                </a:lnTo>
                <a:cubicBezTo>
                  <a:pt x="4014259" y="0"/>
                  <a:pt x="4755290" y="240044"/>
                  <a:pt x="5298877" y="720130"/>
                </a:cubicBezTo>
                <a:cubicBezTo>
                  <a:pt x="5842595" y="1200085"/>
                  <a:pt x="6114455" y="1860021"/>
                  <a:pt x="6114455" y="2699941"/>
                </a:cubicBezTo>
                <a:cubicBezTo>
                  <a:pt x="6114455" y="3548328"/>
                  <a:pt x="5852914" y="4203237"/>
                  <a:pt x="5329833" y="4664671"/>
                </a:cubicBezTo>
                <a:cubicBezTo>
                  <a:pt x="4806884" y="5125972"/>
                  <a:pt x="4049316" y="5356622"/>
                  <a:pt x="3057128" y="5356622"/>
                </a:cubicBezTo>
                <a:close/>
                <a:moveTo>
                  <a:pt x="762794" y="4711700"/>
                </a:moveTo>
                <a:lnTo>
                  <a:pt x="3075781" y="4711700"/>
                </a:lnTo>
                <a:cubicBezTo>
                  <a:pt x="3815821" y="4711700"/>
                  <a:pt x="4380111" y="4535819"/>
                  <a:pt x="4768652" y="4184055"/>
                </a:cubicBezTo>
                <a:cubicBezTo>
                  <a:pt x="5157324" y="3832159"/>
                  <a:pt x="5351661" y="3341622"/>
                  <a:pt x="5351661" y="2712443"/>
                </a:cubicBezTo>
                <a:cubicBezTo>
                  <a:pt x="5351661" y="2087365"/>
                  <a:pt x="5158383" y="1589617"/>
                  <a:pt x="4771827" y="1219200"/>
                </a:cubicBezTo>
                <a:cubicBezTo>
                  <a:pt x="4385270" y="848784"/>
                  <a:pt x="3836459" y="659408"/>
                  <a:pt x="3125391" y="651074"/>
                </a:cubicBezTo>
                <a:lnTo>
                  <a:pt x="762794" y="651074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12" name="Freeform 2812"/>
          <p:cNvSpPr/>
          <p:nvPr/>
        </p:nvSpPr>
        <p:spPr>
          <a:xfrm>
            <a:off x="2781363" y="4601414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13" name="Freeform 2813"/>
          <p:cNvSpPr/>
          <p:nvPr/>
        </p:nvSpPr>
        <p:spPr>
          <a:xfrm>
            <a:off x="2855967" y="4601414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14" name="Freeform 2814"/>
          <p:cNvSpPr/>
          <p:nvPr/>
        </p:nvSpPr>
        <p:spPr>
          <a:xfrm>
            <a:off x="2930543" y="4601414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15" name="Freeform 2815"/>
          <p:cNvSpPr/>
          <p:nvPr/>
        </p:nvSpPr>
        <p:spPr>
          <a:xfrm>
            <a:off x="3004185" y="4601414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16" name="Freeform 2816"/>
          <p:cNvSpPr/>
          <p:nvPr/>
        </p:nvSpPr>
        <p:spPr>
          <a:xfrm>
            <a:off x="3078719" y="4570680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17" name="Freeform 2817"/>
          <p:cNvSpPr/>
          <p:nvPr/>
        </p:nvSpPr>
        <p:spPr>
          <a:xfrm>
            <a:off x="3155078" y="460141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18" name="Freeform 2818"/>
          <p:cNvSpPr/>
          <p:nvPr/>
        </p:nvSpPr>
        <p:spPr>
          <a:xfrm>
            <a:off x="3228501" y="4602811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19" name="Freeform 2819"/>
          <p:cNvSpPr/>
          <p:nvPr/>
        </p:nvSpPr>
        <p:spPr>
          <a:xfrm>
            <a:off x="3303250" y="4602811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0" name="Freeform 2820"/>
          <p:cNvSpPr/>
          <p:nvPr/>
        </p:nvSpPr>
        <p:spPr>
          <a:xfrm>
            <a:off x="3371316" y="4601414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1" name="Freeform 2821"/>
          <p:cNvSpPr/>
          <p:nvPr/>
        </p:nvSpPr>
        <p:spPr>
          <a:xfrm>
            <a:off x="3484709" y="4602811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2" name="Freeform 2822"/>
          <p:cNvSpPr/>
          <p:nvPr/>
        </p:nvSpPr>
        <p:spPr>
          <a:xfrm>
            <a:off x="3581303" y="460141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3" name="Freeform 2823"/>
          <p:cNvSpPr/>
          <p:nvPr/>
        </p:nvSpPr>
        <p:spPr>
          <a:xfrm>
            <a:off x="3660010" y="4570680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4" name="Freeform 2824"/>
          <p:cNvSpPr/>
          <p:nvPr/>
        </p:nvSpPr>
        <p:spPr>
          <a:xfrm>
            <a:off x="3740120" y="4665944"/>
            <a:ext cx="11664" cy="11186"/>
          </a:xfrm>
          <a:custGeom>
            <a:avLst/>
            <a:gdLst/>
            <a:ahLst/>
            <a:cxnLst/>
            <a:rect l="0" t="0" r="0" b="0"/>
            <a:pathLst>
              <a:path w="1060450" h="1016992">
                <a:moveTo>
                  <a:pt x="0" y="520899"/>
                </a:moveTo>
                <a:cubicBezTo>
                  <a:pt x="0" y="376172"/>
                  <a:pt x="46500" y="253207"/>
                  <a:pt x="139501" y="152003"/>
                </a:cubicBezTo>
                <a:cubicBezTo>
                  <a:pt x="232635" y="50668"/>
                  <a:pt x="361884" y="0"/>
                  <a:pt x="527248" y="0"/>
                </a:cubicBezTo>
                <a:cubicBezTo>
                  <a:pt x="692613" y="0"/>
                  <a:pt x="822788" y="50668"/>
                  <a:pt x="917773" y="152003"/>
                </a:cubicBezTo>
                <a:cubicBezTo>
                  <a:pt x="1012891" y="253207"/>
                  <a:pt x="1060450" y="376172"/>
                  <a:pt x="1060450" y="520899"/>
                </a:cubicBezTo>
                <a:cubicBezTo>
                  <a:pt x="1060450" y="665626"/>
                  <a:pt x="1012891" y="784490"/>
                  <a:pt x="917773" y="877491"/>
                </a:cubicBezTo>
                <a:cubicBezTo>
                  <a:pt x="822788" y="970491"/>
                  <a:pt x="692613" y="1016992"/>
                  <a:pt x="527248" y="1016992"/>
                </a:cubicBezTo>
                <a:cubicBezTo>
                  <a:pt x="361884" y="1016992"/>
                  <a:pt x="232635" y="970491"/>
                  <a:pt x="139501" y="877491"/>
                </a:cubicBezTo>
                <a:cubicBezTo>
                  <a:pt x="46500" y="784490"/>
                  <a:pt x="0" y="665626"/>
                  <a:pt x="0" y="52089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5" name="Freeform 2825"/>
          <p:cNvSpPr/>
          <p:nvPr/>
        </p:nvSpPr>
        <p:spPr>
          <a:xfrm>
            <a:off x="3808612" y="460281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6" name="Freeform 2826"/>
          <p:cNvSpPr/>
          <p:nvPr/>
        </p:nvSpPr>
        <p:spPr>
          <a:xfrm>
            <a:off x="3886510" y="4601414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7" name="Freeform 2827"/>
          <p:cNvSpPr/>
          <p:nvPr/>
        </p:nvSpPr>
        <p:spPr>
          <a:xfrm>
            <a:off x="3964517" y="460281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8" name="Freeform 2828"/>
          <p:cNvSpPr/>
          <p:nvPr/>
        </p:nvSpPr>
        <p:spPr>
          <a:xfrm>
            <a:off x="4034843" y="4602811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29" name="Freeform 2829"/>
          <p:cNvSpPr/>
          <p:nvPr/>
        </p:nvSpPr>
        <p:spPr>
          <a:xfrm>
            <a:off x="4116494" y="4601414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0" name="Freeform 2830"/>
          <p:cNvSpPr/>
          <p:nvPr/>
        </p:nvSpPr>
        <p:spPr>
          <a:xfrm>
            <a:off x="4188825" y="4602811"/>
            <a:ext cx="103137" cy="73761"/>
          </a:xfrm>
          <a:custGeom>
            <a:avLst/>
            <a:gdLst/>
            <a:ahLst/>
            <a:cxnLst/>
            <a:rect l="0" t="0" r="0" b="0"/>
            <a:pathLst>
              <a:path w="9376172" h="6705600">
                <a:moveTo>
                  <a:pt x="5946973" y="3609975"/>
                </a:moveTo>
                <a:lnTo>
                  <a:pt x="5054004" y="3609975"/>
                </a:lnTo>
                <a:lnTo>
                  <a:pt x="5054004" y="6705600"/>
                </a:lnTo>
                <a:lnTo>
                  <a:pt x="4309864" y="6705600"/>
                </a:lnTo>
                <a:lnTo>
                  <a:pt x="4309864" y="3609975"/>
                </a:lnTo>
                <a:lnTo>
                  <a:pt x="3423047" y="3609975"/>
                </a:lnTo>
                <a:lnTo>
                  <a:pt x="942578" y="6705600"/>
                </a:lnTo>
                <a:lnTo>
                  <a:pt x="0" y="6705600"/>
                </a:lnTo>
                <a:lnTo>
                  <a:pt x="2778125" y="3268861"/>
                </a:lnTo>
                <a:lnTo>
                  <a:pt x="310157" y="0"/>
                </a:lnTo>
                <a:lnTo>
                  <a:pt x="1209278" y="0"/>
                </a:lnTo>
                <a:lnTo>
                  <a:pt x="3410743" y="2946400"/>
                </a:lnTo>
                <a:lnTo>
                  <a:pt x="4309864" y="2946400"/>
                </a:lnTo>
                <a:lnTo>
                  <a:pt x="4309864" y="0"/>
                </a:lnTo>
                <a:lnTo>
                  <a:pt x="5054004" y="0"/>
                </a:lnTo>
                <a:lnTo>
                  <a:pt x="5054004" y="2946400"/>
                </a:lnTo>
                <a:lnTo>
                  <a:pt x="5959276" y="2946400"/>
                </a:lnTo>
                <a:lnTo>
                  <a:pt x="8160742" y="0"/>
                </a:lnTo>
                <a:lnTo>
                  <a:pt x="9072364" y="0"/>
                </a:lnTo>
                <a:lnTo>
                  <a:pt x="6591895" y="3268861"/>
                </a:lnTo>
                <a:lnTo>
                  <a:pt x="9376172" y="6705600"/>
                </a:lnTo>
                <a:lnTo>
                  <a:pt x="8427442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1" name="Freeform 2831"/>
          <p:cNvSpPr/>
          <p:nvPr/>
        </p:nvSpPr>
        <p:spPr>
          <a:xfrm>
            <a:off x="4299221" y="4601414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2" name="Freeform 2832"/>
          <p:cNvSpPr/>
          <p:nvPr/>
        </p:nvSpPr>
        <p:spPr>
          <a:xfrm>
            <a:off x="4376353" y="460281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3" name="Freeform 2833"/>
          <p:cNvSpPr/>
          <p:nvPr/>
        </p:nvSpPr>
        <p:spPr>
          <a:xfrm>
            <a:off x="4454864" y="460281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4" name="Freeform 2834"/>
          <p:cNvSpPr/>
          <p:nvPr/>
        </p:nvSpPr>
        <p:spPr>
          <a:xfrm>
            <a:off x="4528532" y="4602811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5" name="Freeform 2835"/>
          <p:cNvSpPr/>
          <p:nvPr/>
        </p:nvSpPr>
        <p:spPr>
          <a:xfrm>
            <a:off x="4643040" y="4602811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6" name="Freeform 2836"/>
          <p:cNvSpPr/>
          <p:nvPr/>
        </p:nvSpPr>
        <p:spPr>
          <a:xfrm>
            <a:off x="4750725" y="4601414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7" name="Freeform 2837"/>
          <p:cNvSpPr/>
          <p:nvPr/>
        </p:nvSpPr>
        <p:spPr>
          <a:xfrm>
            <a:off x="4823079" y="4601414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8" name="Freeform 2838"/>
          <p:cNvSpPr/>
          <p:nvPr/>
        </p:nvSpPr>
        <p:spPr>
          <a:xfrm>
            <a:off x="4902184" y="4576268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39" name="Freeform 2839"/>
          <p:cNvSpPr/>
          <p:nvPr/>
        </p:nvSpPr>
        <p:spPr>
          <a:xfrm>
            <a:off x="4972237" y="4602811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0" name="Freeform 2840"/>
          <p:cNvSpPr/>
          <p:nvPr/>
        </p:nvSpPr>
        <p:spPr>
          <a:xfrm>
            <a:off x="5041709" y="4601414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1" name="Freeform 2841"/>
          <p:cNvSpPr/>
          <p:nvPr/>
        </p:nvSpPr>
        <p:spPr>
          <a:xfrm>
            <a:off x="2701876" y="4851925"/>
            <a:ext cx="67259" cy="99326"/>
          </a:xfrm>
          <a:custGeom>
            <a:avLst/>
            <a:gdLst/>
            <a:ahLst/>
            <a:cxnLst/>
            <a:rect l="0" t="0" r="0" b="0"/>
            <a:pathLst>
              <a:path w="6114455" h="9029700">
                <a:moveTo>
                  <a:pt x="762794" y="5356622"/>
                </a:moveTo>
                <a:lnTo>
                  <a:pt x="762794" y="9029700"/>
                </a:lnTo>
                <a:lnTo>
                  <a:pt x="0" y="9029700"/>
                </a:lnTo>
                <a:lnTo>
                  <a:pt x="0" y="0"/>
                </a:lnTo>
                <a:lnTo>
                  <a:pt x="3075781" y="0"/>
                </a:lnTo>
                <a:cubicBezTo>
                  <a:pt x="4014259" y="0"/>
                  <a:pt x="4755290" y="240044"/>
                  <a:pt x="5298877" y="720130"/>
                </a:cubicBezTo>
                <a:cubicBezTo>
                  <a:pt x="5842595" y="1200085"/>
                  <a:pt x="6114455" y="1860021"/>
                  <a:pt x="6114455" y="2699941"/>
                </a:cubicBezTo>
                <a:cubicBezTo>
                  <a:pt x="6114455" y="3548328"/>
                  <a:pt x="5852914" y="4203237"/>
                  <a:pt x="5329833" y="4664671"/>
                </a:cubicBezTo>
                <a:cubicBezTo>
                  <a:pt x="4806884" y="5125972"/>
                  <a:pt x="4049316" y="5356622"/>
                  <a:pt x="3057128" y="5356622"/>
                </a:cubicBezTo>
                <a:close/>
                <a:moveTo>
                  <a:pt x="762794" y="4711700"/>
                </a:moveTo>
                <a:lnTo>
                  <a:pt x="3075781" y="4711700"/>
                </a:lnTo>
                <a:cubicBezTo>
                  <a:pt x="3815821" y="4711700"/>
                  <a:pt x="4380111" y="4535819"/>
                  <a:pt x="4768652" y="4184055"/>
                </a:cubicBezTo>
                <a:cubicBezTo>
                  <a:pt x="5157324" y="3832159"/>
                  <a:pt x="5351661" y="3341622"/>
                  <a:pt x="5351661" y="2712443"/>
                </a:cubicBezTo>
                <a:cubicBezTo>
                  <a:pt x="5351661" y="2087365"/>
                  <a:pt x="5158383" y="1589617"/>
                  <a:pt x="4771827" y="1219200"/>
                </a:cubicBezTo>
                <a:cubicBezTo>
                  <a:pt x="4385270" y="848784"/>
                  <a:pt x="3836459" y="659408"/>
                  <a:pt x="3125391" y="651074"/>
                </a:cubicBezTo>
                <a:lnTo>
                  <a:pt x="762794" y="651074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2" name="Freeform 2842"/>
          <p:cNvSpPr/>
          <p:nvPr/>
        </p:nvSpPr>
        <p:spPr>
          <a:xfrm>
            <a:off x="2780542" y="48760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3" name="Freeform 2843"/>
          <p:cNvSpPr/>
          <p:nvPr/>
        </p:nvSpPr>
        <p:spPr>
          <a:xfrm>
            <a:off x="2857606" y="48774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4" name="Freeform 2844"/>
          <p:cNvSpPr/>
          <p:nvPr/>
        </p:nvSpPr>
        <p:spPr>
          <a:xfrm>
            <a:off x="2923595" y="48760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5" name="Freeform 2845"/>
          <p:cNvSpPr/>
          <p:nvPr/>
        </p:nvSpPr>
        <p:spPr>
          <a:xfrm>
            <a:off x="3007214" y="4877490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6" name="Freeform 2846"/>
          <p:cNvSpPr/>
          <p:nvPr/>
        </p:nvSpPr>
        <p:spPr>
          <a:xfrm>
            <a:off x="3103808" y="48760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7" name="Freeform 2847"/>
          <p:cNvSpPr/>
          <p:nvPr/>
        </p:nvSpPr>
        <p:spPr>
          <a:xfrm>
            <a:off x="3180940" y="4877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8" name="Freeform 2848"/>
          <p:cNvSpPr/>
          <p:nvPr/>
        </p:nvSpPr>
        <p:spPr>
          <a:xfrm>
            <a:off x="3251811" y="4877490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49" name="Freeform 2849"/>
          <p:cNvSpPr/>
          <p:nvPr/>
        </p:nvSpPr>
        <p:spPr>
          <a:xfrm>
            <a:off x="3335134" y="48760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0" name="Freeform 2850"/>
          <p:cNvSpPr/>
          <p:nvPr/>
        </p:nvSpPr>
        <p:spPr>
          <a:xfrm>
            <a:off x="3414239" y="4877490"/>
            <a:ext cx="63642" cy="95694"/>
          </a:xfrm>
          <a:custGeom>
            <a:avLst/>
            <a:gdLst/>
            <a:ahLst/>
            <a:cxnLst/>
            <a:rect l="0" t="0" r="0" b="0"/>
            <a:pathLst>
              <a:path w="5785643" h="8699500">
                <a:moveTo>
                  <a:pt x="0" y="0"/>
                </a:moveTo>
                <a:lnTo>
                  <a:pt x="744140" y="0"/>
                </a:lnTo>
                <a:lnTo>
                  <a:pt x="744140" y="6079332"/>
                </a:lnTo>
                <a:lnTo>
                  <a:pt x="4359473" y="6079332"/>
                </a:lnTo>
                <a:lnTo>
                  <a:pt x="4359473" y="0"/>
                </a:lnTo>
                <a:lnTo>
                  <a:pt x="5103614" y="0"/>
                </a:lnTo>
                <a:lnTo>
                  <a:pt x="5103614" y="6079332"/>
                </a:lnTo>
                <a:lnTo>
                  <a:pt x="5785643" y="6079332"/>
                </a:lnTo>
                <a:lnTo>
                  <a:pt x="5729883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1" name="Freeform 2851"/>
          <p:cNvSpPr/>
          <p:nvPr/>
        </p:nvSpPr>
        <p:spPr>
          <a:xfrm>
            <a:off x="3493728" y="4877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2" name="Freeform 2852"/>
          <p:cNvSpPr/>
          <p:nvPr/>
        </p:nvSpPr>
        <p:spPr>
          <a:xfrm>
            <a:off x="3572240" y="4877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3" name="Freeform 2853"/>
          <p:cNvSpPr/>
          <p:nvPr/>
        </p:nvSpPr>
        <p:spPr>
          <a:xfrm>
            <a:off x="3684698" y="4877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4" name="Freeform 2854"/>
          <p:cNvSpPr/>
          <p:nvPr/>
        </p:nvSpPr>
        <p:spPr>
          <a:xfrm>
            <a:off x="3758163" y="48760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5" name="Freeform 2855"/>
          <p:cNvSpPr/>
          <p:nvPr/>
        </p:nvSpPr>
        <p:spPr>
          <a:xfrm>
            <a:off x="3870888" y="4876093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6" name="Freeform 2856"/>
          <p:cNvSpPr/>
          <p:nvPr/>
        </p:nvSpPr>
        <p:spPr>
          <a:xfrm>
            <a:off x="3941711" y="48760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7" name="Freeform 2857"/>
          <p:cNvSpPr/>
          <p:nvPr/>
        </p:nvSpPr>
        <p:spPr>
          <a:xfrm>
            <a:off x="4020748" y="48774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8" name="Freeform 2858"/>
          <p:cNvSpPr/>
          <p:nvPr/>
        </p:nvSpPr>
        <p:spPr>
          <a:xfrm>
            <a:off x="4086737" y="48760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59" name="Freeform 2859"/>
          <p:cNvSpPr/>
          <p:nvPr/>
        </p:nvSpPr>
        <p:spPr>
          <a:xfrm>
            <a:off x="4170016" y="4877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0" name="Freeform 2860"/>
          <p:cNvSpPr/>
          <p:nvPr/>
        </p:nvSpPr>
        <p:spPr>
          <a:xfrm>
            <a:off x="4243481" y="48760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1" name="Freeform 2861"/>
          <p:cNvSpPr/>
          <p:nvPr/>
        </p:nvSpPr>
        <p:spPr>
          <a:xfrm>
            <a:off x="4314230" y="4877490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2" name="Freeform 2862"/>
          <p:cNvSpPr/>
          <p:nvPr/>
        </p:nvSpPr>
        <p:spPr>
          <a:xfrm>
            <a:off x="4397552" y="48760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3" name="Freeform 2863"/>
          <p:cNvSpPr/>
          <p:nvPr/>
        </p:nvSpPr>
        <p:spPr>
          <a:xfrm>
            <a:off x="4467221" y="48774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4" name="Freeform 2864"/>
          <p:cNvSpPr/>
          <p:nvPr/>
        </p:nvSpPr>
        <p:spPr>
          <a:xfrm>
            <a:off x="4531542" y="48760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5" name="Freeform 2865"/>
          <p:cNvSpPr/>
          <p:nvPr/>
        </p:nvSpPr>
        <p:spPr>
          <a:xfrm>
            <a:off x="4600488" y="48774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6" name="Freeform 2866"/>
          <p:cNvSpPr/>
          <p:nvPr/>
        </p:nvSpPr>
        <p:spPr>
          <a:xfrm>
            <a:off x="4687526" y="4877490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7" name="Freeform 2867"/>
          <p:cNvSpPr/>
          <p:nvPr/>
        </p:nvSpPr>
        <p:spPr>
          <a:xfrm>
            <a:off x="4757151" y="487609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8" name="Freeform 2868"/>
          <p:cNvSpPr/>
          <p:nvPr/>
        </p:nvSpPr>
        <p:spPr>
          <a:xfrm>
            <a:off x="4825412" y="48774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69" name="Freeform 2869"/>
          <p:cNvSpPr/>
          <p:nvPr/>
        </p:nvSpPr>
        <p:spPr>
          <a:xfrm>
            <a:off x="4900568" y="4877490"/>
            <a:ext cx="59073" cy="73761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70" name="Freeform 2870"/>
          <p:cNvSpPr/>
          <p:nvPr/>
        </p:nvSpPr>
        <p:spPr>
          <a:xfrm>
            <a:off x="4968618" y="4877490"/>
            <a:ext cx="62210" cy="103517"/>
          </a:xfrm>
          <a:custGeom>
            <a:avLst/>
            <a:gdLst/>
            <a:ahLst/>
            <a:cxnLst/>
            <a:rect l="0" t="0" r="0" b="0"/>
            <a:pathLst>
              <a:path w="5655469" h="9410700">
                <a:moveTo>
                  <a:pt x="2895997" y="5637808"/>
                </a:moveTo>
                <a:lnTo>
                  <a:pt x="4855567" y="0"/>
                </a:lnTo>
                <a:lnTo>
                  <a:pt x="5655469" y="0"/>
                </a:lnTo>
                <a:lnTo>
                  <a:pt x="2790627" y="7843242"/>
                </a:lnTo>
                <a:lnTo>
                  <a:pt x="2641798" y="8190309"/>
                </a:lnTo>
                <a:cubicBezTo>
                  <a:pt x="2273763" y="9003903"/>
                  <a:pt x="1705306" y="9410700"/>
                  <a:pt x="936427" y="9410700"/>
                </a:cubicBezTo>
                <a:cubicBezTo>
                  <a:pt x="758627" y="9410700"/>
                  <a:pt x="568457" y="9381728"/>
                  <a:pt x="365919" y="9323784"/>
                </a:cubicBezTo>
                <a:lnTo>
                  <a:pt x="359767" y="8709818"/>
                </a:lnTo>
                <a:lnTo>
                  <a:pt x="744141" y="8747125"/>
                </a:lnTo>
                <a:cubicBezTo>
                  <a:pt x="1107943" y="8747125"/>
                  <a:pt x="1402490" y="8657298"/>
                  <a:pt x="1627783" y="8477646"/>
                </a:cubicBezTo>
                <a:cubicBezTo>
                  <a:pt x="1853075" y="8297994"/>
                  <a:pt x="2044303" y="7989292"/>
                  <a:pt x="2201466" y="7551539"/>
                </a:cubicBezTo>
                <a:lnTo>
                  <a:pt x="2530078" y="6647061"/>
                </a:lnTo>
                <a:lnTo>
                  <a:pt x="0" y="0"/>
                </a:lnTo>
                <a:lnTo>
                  <a:pt x="81240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71" name="Rectangle 2871"/>
          <p:cNvSpPr/>
          <p:nvPr/>
        </p:nvSpPr>
        <p:spPr>
          <a:xfrm>
            <a:off x="5688999" y="388067"/>
            <a:ext cx="2951835" cy="422910"/>
          </a:xfrm>
          <a:prstGeom prst="rect">
            <a:avLst/>
          </a:prstGeom>
        </p:spPr>
      </p:sp>
      <p:sp>
        <p:nvSpPr>
          <p:cNvPr id="2872" name="Freeform 2872"/>
          <p:cNvSpPr/>
          <p:nvPr/>
        </p:nvSpPr>
        <p:spPr>
          <a:xfrm>
            <a:off x="5703412" y="430561"/>
            <a:ext cx="81346" cy="126415"/>
          </a:xfrm>
          <a:custGeom>
            <a:avLst/>
            <a:gdLst/>
            <a:ahLst/>
            <a:cxnLst/>
            <a:rect l="0" t="0" r="0" b="0"/>
            <a:pathLst>
              <a:path w="5810449" h="9029700">
                <a:moveTo>
                  <a:pt x="5810449" y="9029700"/>
                </a:moveTo>
                <a:lnTo>
                  <a:pt x="4669433" y="9029700"/>
                </a:lnTo>
                <a:lnTo>
                  <a:pt x="4669433" y="979885"/>
                </a:lnTo>
                <a:lnTo>
                  <a:pt x="1134666" y="979885"/>
                </a:lnTo>
                <a:lnTo>
                  <a:pt x="1134666" y="9029700"/>
                </a:lnTo>
                <a:lnTo>
                  <a:pt x="0" y="9029700"/>
                </a:lnTo>
                <a:lnTo>
                  <a:pt x="0" y="0"/>
                </a:lnTo>
                <a:lnTo>
                  <a:pt x="581044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73" name="Freeform 2873"/>
          <p:cNvSpPr/>
          <p:nvPr/>
        </p:nvSpPr>
        <p:spPr>
          <a:xfrm>
            <a:off x="5810781" y="461320"/>
            <a:ext cx="67805" cy="131749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74" name="Freeform 2874"/>
          <p:cNvSpPr/>
          <p:nvPr/>
        </p:nvSpPr>
        <p:spPr>
          <a:xfrm>
            <a:off x="5895139" y="461320"/>
            <a:ext cx="72664" cy="9743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75" name="Freeform 2875"/>
          <p:cNvSpPr/>
          <p:nvPr/>
        </p:nvSpPr>
        <p:spPr>
          <a:xfrm>
            <a:off x="5984564" y="461320"/>
            <a:ext cx="67716" cy="9743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76" name="Freeform 2876"/>
          <p:cNvSpPr/>
          <p:nvPr/>
        </p:nvSpPr>
        <p:spPr>
          <a:xfrm>
            <a:off x="6072114" y="463098"/>
            <a:ext cx="69194" cy="93878"/>
          </a:xfrm>
          <a:custGeom>
            <a:avLst/>
            <a:gdLst/>
            <a:ahLst/>
            <a:cxnLst/>
            <a:rect l="0" t="0" r="0" b="0"/>
            <a:pathLst>
              <a:path w="4942482" h="6705600">
                <a:moveTo>
                  <a:pt x="1717873" y="3842941"/>
                </a:moveTo>
                <a:lnTo>
                  <a:pt x="1097756" y="3842941"/>
                </a:lnTo>
                <a:lnTo>
                  <a:pt x="109775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756" y="0"/>
                </a:lnTo>
                <a:lnTo>
                  <a:pt x="1097756" y="2832100"/>
                </a:lnTo>
                <a:lnTo>
                  <a:pt x="1643459" y="2832100"/>
                </a:lnTo>
                <a:lnTo>
                  <a:pt x="3472656" y="0"/>
                </a:lnTo>
                <a:lnTo>
                  <a:pt x="4781153" y="0"/>
                </a:lnTo>
                <a:lnTo>
                  <a:pt x="2542579" y="3185518"/>
                </a:lnTo>
                <a:lnTo>
                  <a:pt x="4942482" y="6705600"/>
                </a:lnTo>
                <a:lnTo>
                  <a:pt x="3565723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77" name="Freeform 2877"/>
          <p:cNvSpPr/>
          <p:nvPr/>
        </p:nvSpPr>
        <p:spPr>
          <a:xfrm>
            <a:off x="6149034" y="463098"/>
            <a:ext cx="66152" cy="93878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78" name="Freeform 2878"/>
          <p:cNvSpPr/>
          <p:nvPr/>
        </p:nvSpPr>
        <p:spPr>
          <a:xfrm>
            <a:off x="6273297" y="463098"/>
            <a:ext cx="64677" cy="93878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4619823" y="6705600"/>
                </a:moveTo>
                <a:lnTo>
                  <a:pt x="3528417" y="6705600"/>
                </a:lnTo>
                <a:lnTo>
                  <a:pt x="3528417" y="948730"/>
                </a:lnTo>
                <a:lnTo>
                  <a:pt x="1103908" y="948730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461982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79" name="Freeform 2879"/>
          <p:cNvSpPr/>
          <p:nvPr/>
        </p:nvSpPr>
        <p:spPr>
          <a:xfrm>
            <a:off x="6362494" y="461320"/>
            <a:ext cx="67805" cy="131749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0" name="Freeform 2880"/>
          <p:cNvSpPr/>
          <p:nvPr/>
        </p:nvSpPr>
        <p:spPr>
          <a:xfrm>
            <a:off x="6447199" y="461320"/>
            <a:ext cx="67716" cy="9743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1" name="Freeform 2881"/>
          <p:cNvSpPr/>
          <p:nvPr/>
        </p:nvSpPr>
        <p:spPr>
          <a:xfrm>
            <a:off x="6526762" y="463098"/>
            <a:ext cx="84213" cy="121437"/>
          </a:xfrm>
          <a:custGeom>
            <a:avLst/>
            <a:gdLst/>
            <a:ahLst/>
            <a:cxnLst/>
            <a:rect l="0" t="0" r="0" b="0"/>
            <a:pathLst>
              <a:path w="6015236" h="8674100">
                <a:moveTo>
                  <a:pt x="452834" y="5769174"/>
                </a:moveTo>
                <a:lnTo>
                  <a:pt x="781447" y="5298282"/>
                </a:lnTo>
                <a:cubicBezTo>
                  <a:pt x="1136914" y="4752975"/>
                  <a:pt x="1341570" y="3949436"/>
                  <a:pt x="1395412" y="2887663"/>
                </a:cubicBezTo>
                <a:lnTo>
                  <a:pt x="1488281" y="0"/>
                </a:lnTo>
                <a:lnTo>
                  <a:pt x="5233789" y="0"/>
                </a:lnTo>
                <a:lnTo>
                  <a:pt x="5233789" y="5769174"/>
                </a:lnTo>
                <a:lnTo>
                  <a:pt x="6015236" y="5769174"/>
                </a:lnTo>
                <a:lnTo>
                  <a:pt x="6015236" y="8674100"/>
                </a:lnTo>
                <a:lnTo>
                  <a:pt x="4917678" y="8674100"/>
                </a:lnTo>
                <a:lnTo>
                  <a:pt x="4917678" y="6705600"/>
                </a:lnTo>
                <a:lnTo>
                  <a:pt x="1103908" y="6705600"/>
                </a:lnTo>
                <a:lnTo>
                  <a:pt x="1103908" y="8674100"/>
                </a:lnTo>
                <a:lnTo>
                  <a:pt x="0" y="8674100"/>
                </a:lnTo>
                <a:lnTo>
                  <a:pt x="6350" y="5769174"/>
                </a:lnTo>
                <a:close/>
                <a:moveTo>
                  <a:pt x="1674415" y="5769174"/>
                </a:moveTo>
                <a:lnTo>
                  <a:pt x="4142383" y="5769174"/>
                </a:lnTo>
                <a:lnTo>
                  <a:pt x="4142383" y="1060450"/>
                </a:lnTo>
                <a:lnTo>
                  <a:pt x="2554883" y="1060450"/>
                </a:lnTo>
                <a:lnTo>
                  <a:pt x="2499122" y="2696171"/>
                </a:lnTo>
                <a:cubicBezTo>
                  <a:pt x="2441310" y="4001361"/>
                  <a:pt x="2166408" y="5025695"/>
                  <a:pt x="1674415" y="5769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2" name="Freeform 2882"/>
          <p:cNvSpPr/>
          <p:nvPr/>
        </p:nvSpPr>
        <p:spPr>
          <a:xfrm>
            <a:off x="6629964" y="463098"/>
            <a:ext cx="64677" cy="93878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4619823" y="6705600"/>
                </a:moveTo>
                <a:lnTo>
                  <a:pt x="3528417" y="6705600"/>
                </a:lnTo>
                <a:lnTo>
                  <a:pt x="3528417" y="948730"/>
                </a:lnTo>
                <a:lnTo>
                  <a:pt x="1103908" y="948730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461982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3" name="Freeform 2883"/>
          <p:cNvSpPr/>
          <p:nvPr/>
        </p:nvSpPr>
        <p:spPr>
          <a:xfrm>
            <a:off x="6715863" y="461320"/>
            <a:ext cx="72664" cy="9743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4" name="Freeform 2884"/>
          <p:cNvSpPr/>
          <p:nvPr/>
        </p:nvSpPr>
        <p:spPr>
          <a:xfrm>
            <a:off x="6800396" y="463098"/>
            <a:ext cx="72753" cy="93878"/>
          </a:xfrm>
          <a:custGeom>
            <a:avLst/>
            <a:gdLst/>
            <a:ahLst/>
            <a:cxnLst/>
            <a:rect l="0" t="0" r="0" b="0"/>
            <a:pathLst>
              <a:path w="5196681" h="6705600">
                <a:moveTo>
                  <a:pt x="5196681" y="0"/>
                </a:moveTo>
                <a:lnTo>
                  <a:pt x="5196681" y="6705600"/>
                </a:lnTo>
                <a:lnTo>
                  <a:pt x="4099123" y="6705600"/>
                </a:lnTo>
                <a:lnTo>
                  <a:pt x="4099123" y="948730"/>
                </a:lnTo>
                <a:lnTo>
                  <a:pt x="2331640" y="948730"/>
                </a:lnTo>
                <a:lnTo>
                  <a:pt x="2226270" y="3223022"/>
                </a:lnTo>
                <a:cubicBezTo>
                  <a:pt x="2168459" y="4482968"/>
                  <a:pt x="1998993" y="5376334"/>
                  <a:pt x="1717873" y="5903119"/>
                </a:cubicBezTo>
                <a:cubicBezTo>
                  <a:pt x="1436753" y="6429905"/>
                  <a:pt x="986102" y="6697398"/>
                  <a:pt x="365918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279201" y="5669955"/>
                </a:lnTo>
                <a:cubicBezTo>
                  <a:pt x="585060" y="5628680"/>
                  <a:pt x="801026" y="5423165"/>
                  <a:pt x="927100" y="5053410"/>
                </a:cubicBezTo>
                <a:cubicBezTo>
                  <a:pt x="1053174" y="4683655"/>
                  <a:pt x="1136914" y="3955521"/>
                  <a:pt x="1178322" y="2869010"/>
                </a:cubicBezTo>
                <a:lnTo>
                  <a:pt x="128369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5" name="Freeform 2885"/>
          <p:cNvSpPr/>
          <p:nvPr/>
        </p:nvSpPr>
        <p:spPr>
          <a:xfrm>
            <a:off x="6895847" y="461320"/>
            <a:ext cx="65891" cy="9743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6" name="Freeform 2886"/>
          <p:cNvSpPr/>
          <p:nvPr/>
        </p:nvSpPr>
        <p:spPr>
          <a:xfrm>
            <a:off x="6983792" y="463098"/>
            <a:ext cx="50439" cy="93878"/>
          </a:xfrm>
          <a:custGeom>
            <a:avLst/>
            <a:gdLst/>
            <a:ahLst/>
            <a:cxnLst/>
            <a:rect l="0" t="0" r="0" b="0"/>
            <a:pathLst>
              <a:path w="3602831" h="6705600">
                <a:moveTo>
                  <a:pt x="3602831" y="948730"/>
                </a:moveTo>
                <a:lnTo>
                  <a:pt x="1103709" y="948730"/>
                </a:lnTo>
                <a:lnTo>
                  <a:pt x="1103709" y="6705600"/>
                </a:lnTo>
                <a:lnTo>
                  <a:pt x="0" y="6705600"/>
                </a:lnTo>
                <a:lnTo>
                  <a:pt x="0" y="0"/>
                </a:lnTo>
                <a:lnTo>
                  <a:pt x="360283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7" name="Freeform 2887"/>
          <p:cNvSpPr/>
          <p:nvPr/>
        </p:nvSpPr>
        <p:spPr>
          <a:xfrm>
            <a:off x="7046977" y="461320"/>
            <a:ext cx="65891" cy="9743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8" name="Freeform 2888"/>
          <p:cNvSpPr/>
          <p:nvPr/>
        </p:nvSpPr>
        <p:spPr>
          <a:xfrm>
            <a:off x="7130841" y="461320"/>
            <a:ext cx="67716" cy="9743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89" name="Freeform 2889"/>
          <p:cNvSpPr/>
          <p:nvPr/>
        </p:nvSpPr>
        <p:spPr>
          <a:xfrm>
            <a:off x="7209255" y="463098"/>
            <a:ext cx="66152" cy="93878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0" name="Freeform 2890"/>
          <p:cNvSpPr/>
          <p:nvPr/>
        </p:nvSpPr>
        <p:spPr>
          <a:xfrm>
            <a:off x="7281354" y="461320"/>
            <a:ext cx="67544" cy="97434"/>
          </a:xfrm>
          <a:custGeom>
            <a:avLst/>
            <a:gdLst/>
            <a:ahLst/>
            <a:cxnLst/>
            <a:rect l="0" t="0" r="0" b="0"/>
            <a:pathLst>
              <a:path w="4824611" h="6959600">
                <a:moveTo>
                  <a:pt x="2554883" y="6023174"/>
                </a:moveTo>
                <a:cubicBezTo>
                  <a:pt x="2918685" y="6023174"/>
                  <a:pt x="3210123" y="5910528"/>
                  <a:pt x="3429198" y="5685235"/>
                </a:cubicBezTo>
                <a:cubicBezTo>
                  <a:pt x="3648406" y="5459942"/>
                  <a:pt x="3768328" y="5138540"/>
                  <a:pt x="3788966" y="4721027"/>
                </a:cubicBezTo>
                <a:lnTo>
                  <a:pt x="4824611" y="4721027"/>
                </a:lnTo>
                <a:cubicBezTo>
                  <a:pt x="4799740" y="5365949"/>
                  <a:pt x="4571273" y="5900275"/>
                  <a:pt x="4139208" y="6324005"/>
                </a:cubicBezTo>
                <a:cubicBezTo>
                  <a:pt x="3707276" y="6747735"/>
                  <a:pt x="3179167" y="6959600"/>
                  <a:pt x="2554883" y="6959600"/>
                </a:cubicBezTo>
                <a:cubicBezTo>
                  <a:pt x="1723959" y="6959600"/>
                  <a:pt x="1090414" y="6698060"/>
                  <a:pt x="654248" y="6174979"/>
                </a:cubicBezTo>
                <a:cubicBezTo>
                  <a:pt x="218083" y="5651897"/>
                  <a:pt x="0" y="4873427"/>
                  <a:pt x="0" y="3839568"/>
                </a:cubicBezTo>
                <a:lnTo>
                  <a:pt x="0" y="3101380"/>
                </a:lnTo>
                <a:cubicBezTo>
                  <a:pt x="0" y="2088290"/>
                  <a:pt x="217024" y="1318155"/>
                  <a:pt x="651073" y="790972"/>
                </a:cubicBezTo>
                <a:cubicBezTo>
                  <a:pt x="1085255" y="263658"/>
                  <a:pt x="1717807" y="0"/>
                  <a:pt x="2548731" y="0"/>
                </a:cubicBezTo>
                <a:cubicBezTo>
                  <a:pt x="3234928" y="0"/>
                  <a:pt x="3779573" y="217091"/>
                  <a:pt x="4182666" y="651272"/>
                </a:cubicBezTo>
                <a:cubicBezTo>
                  <a:pt x="4585758" y="1085321"/>
                  <a:pt x="4799740" y="1678517"/>
                  <a:pt x="4824611" y="2430860"/>
                </a:cubicBezTo>
                <a:lnTo>
                  <a:pt x="3788966" y="2430860"/>
                </a:lnTo>
                <a:cubicBezTo>
                  <a:pt x="3764095" y="1934766"/>
                  <a:pt x="3645231" y="1562696"/>
                  <a:pt x="3432373" y="1314649"/>
                </a:cubicBezTo>
                <a:cubicBezTo>
                  <a:pt x="3219516" y="1066602"/>
                  <a:pt x="2924969" y="942579"/>
                  <a:pt x="2548731" y="942579"/>
                </a:cubicBezTo>
                <a:cubicBezTo>
                  <a:pt x="2060840" y="942579"/>
                  <a:pt x="1699088" y="1102850"/>
                  <a:pt x="1463477" y="1423393"/>
                </a:cubicBezTo>
                <a:cubicBezTo>
                  <a:pt x="1227865" y="1743936"/>
                  <a:pt x="1105892" y="2270192"/>
                  <a:pt x="1097558" y="3002161"/>
                </a:cubicBezTo>
                <a:lnTo>
                  <a:pt x="1097558" y="3858221"/>
                </a:lnTo>
                <a:cubicBezTo>
                  <a:pt x="1097558" y="4648134"/>
                  <a:pt x="1214371" y="5206471"/>
                  <a:pt x="1447998" y="5533232"/>
                </a:cubicBezTo>
                <a:cubicBezTo>
                  <a:pt x="1681625" y="5859860"/>
                  <a:pt x="2050587" y="6023174"/>
                  <a:pt x="2554883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1" name="Freeform 2891"/>
          <p:cNvSpPr/>
          <p:nvPr/>
        </p:nvSpPr>
        <p:spPr>
          <a:xfrm>
            <a:off x="7358891" y="463098"/>
            <a:ext cx="68933" cy="93878"/>
          </a:xfrm>
          <a:custGeom>
            <a:avLst/>
            <a:gdLst/>
            <a:ahLst/>
            <a:cxnLst/>
            <a:rect l="0" t="0" r="0" b="0"/>
            <a:pathLst>
              <a:path w="4923829" h="6705600">
                <a:moveTo>
                  <a:pt x="4923829" y="0"/>
                </a:moveTo>
                <a:lnTo>
                  <a:pt x="4923829" y="6705600"/>
                </a:lnTo>
                <a:lnTo>
                  <a:pt x="3826272" y="6705600"/>
                </a:lnTo>
                <a:lnTo>
                  <a:pt x="3826272" y="4092179"/>
                </a:lnTo>
                <a:lnTo>
                  <a:pt x="2530078" y="4092179"/>
                </a:lnTo>
                <a:lnTo>
                  <a:pt x="1178322" y="6705600"/>
                </a:lnTo>
                <a:lnTo>
                  <a:pt x="0" y="6705600"/>
                </a:lnTo>
                <a:lnTo>
                  <a:pt x="1451173" y="3900290"/>
                </a:lnTo>
                <a:cubicBezTo>
                  <a:pt x="1087371" y="3743392"/>
                  <a:pt x="810352" y="3501959"/>
                  <a:pt x="620117" y="3175993"/>
                </a:cubicBezTo>
                <a:cubicBezTo>
                  <a:pt x="430014" y="2849894"/>
                  <a:pt x="334962" y="2472201"/>
                  <a:pt x="334962" y="2042915"/>
                </a:cubicBezTo>
                <a:cubicBezTo>
                  <a:pt x="334962" y="1428023"/>
                  <a:pt x="533400" y="933847"/>
                  <a:pt x="930275" y="560388"/>
                </a:cubicBezTo>
                <a:cubicBezTo>
                  <a:pt x="1327150" y="186796"/>
                  <a:pt x="1860417" y="0"/>
                  <a:pt x="2530078" y="0"/>
                </a:cubicBezTo>
                <a:close/>
                <a:moveTo>
                  <a:pt x="1432520" y="2055416"/>
                </a:moveTo>
                <a:cubicBezTo>
                  <a:pt x="1432520" y="2385087"/>
                  <a:pt x="1521420" y="2649869"/>
                  <a:pt x="1699220" y="2849761"/>
                </a:cubicBezTo>
                <a:cubicBezTo>
                  <a:pt x="1877020" y="3049654"/>
                  <a:pt x="2116799" y="3149600"/>
                  <a:pt x="2418556" y="3149600"/>
                </a:cubicBezTo>
                <a:lnTo>
                  <a:pt x="3826272" y="3149600"/>
                </a:lnTo>
                <a:lnTo>
                  <a:pt x="3826272" y="930275"/>
                </a:lnTo>
                <a:lnTo>
                  <a:pt x="2517775" y="930275"/>
                </a:lnTo>
                <a:cubicBezTo>
                  <a:pt x="2191147" y="930275"/>
                  <a:pt x="1928614" y="1034323"/>
                  <a:pt x="1730176" y="1242418"/>
                </a:cubicBezTo>
                <a:cubicBezTo>
                  <a:pt x="1531739" y="1450512"/>
                  <a:pt x="1432520" y="1721512"/>
                  <a:pt x="1432520" y="20554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2" name="Freeform 2892"/>
          <p:cNvSpPr/>
          <p:nvPr/>
        </p:nvSpPr>
        <p:spPr>
          <a:xfrm>
            <a:off x="7492947" y="461320"/>
            <a:ext cx="67805" cy="131749"/>
          </a:xfrm>
          <a:custGeom>
            <a:avLst/>
            <a:gdLst/>
            <a:ahLst/>
            <a:cxnLst/>
            <a:rect l="0" t="0" r="0" b="0"/>
            <a:pathLst>
              <a:path w="4843264" h="9410700">
                <a:moveTo>
                  <a:pt x="4843264" y="3802261"/>
                </a:moveTo>
                <a:cubicBezTo>
                  <a:pt x="4843264" y="4865093"/>
                  <a:pt x="4652036" y="5657057"/>
                  <a:pt x="4269581" y="6178154"/>
                </a:cubicBezTo>
                <a:cubicBezTo>
                  <a:pt x="3887126" y="6699118"/>
                  <a:pt x="3346582" y="6959600"/>
                  <a:pt x="2647950" y="6959600"/>
                </a:cubicBezTo>
                <a:cubicBezTo>
                  <a:pt x="1974056" y="6959600"/>
                  <a:pt x="1455208" y="6705270"/>
                  <a:pt x="1091406" y="6196608"/>
                </a:cubicBezTo>
                <a:lnTo>
                  <a:pt x="1091406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992187" y="127000"/>
                </a:lnTo>
                <a:lnTo>
                  <a:pt x="1048147" y="868363"/>
                </a:lnTo>
                <a:cubicBezTo>
                  <a:pt x="1416050" y="289455"/>
                  <a:pt x="1943100" y="0"/>
                  <a:pt x="2629297" y="0"/>
                </a:cubicBezTo>
                <a:cubicBezTo>
                  <a:pt x="3365235" y="0"/>
                  <a:pt x="3915105" y="256382"/>
                  <a:pt x="4278908" y="769144"/>
                </a:cubicBezTo>
                <a:cubicBezTo>
                  <a:pt x="4642710" y="1281907"/>
                  <a:pt x="4830829" y="2049000"/>
                  <a:pt x="4843264" y="3070424"/>
                </a:cubicBezTo>
                <a:close/>
                <a:moveTo>
                  <a:pt x="3751858" y="3175794"/>
                </a:moveTo>
                <a:cubicBezTo>
                  <a:pt x="3751858" y="2423055"/>
                  <a:pt x="3636102" y="1867826"/>
                  <a:pt x="3404592" y="1510110"/>
                </a:cubicBezTo>
                <a:cubicBezTo>
                  <a:pt x="3173082" y="1152393"/>
                  <a:pt x="2801011" y="973535"/>
                  <a:pt x="2288381" y="973535"/>
                </a:cubicBezTo>
                <a:cubicBezTo>
                  <a:pt x="1763315" y="973535"/>
                  <a:pt x="1364324" y="1236134"/>
                  <a:pt x="1091406" y="1761332"/>
                </a:cubicBezTo>
                <a:lnTo>
                  <a:pt x="1091406" y="5254030"/>
                </a:lnTo>
                <a:cubicBezTo>
                  <a:pt x="1360223" y="5766793"/>
                  <a:pt x="1763315" y="6023174"/>
                  <a:pt x="2300684" y="6023174"/>
                </a:cubicBezTo>
                <a:cubicBezTo>
                  <a:pt x="2796778" y="6023174"/>
                  <a:pt x="3161572" y="5844316"/>
                  <a:pt x="3395067" y="5486599"/>
                </a:cubicBezTo>
                <a:cubicBezTo>
                  <a:pt x="3628694" y="5128882"/>
                  <a:pt x="3747624" y="4581922"/>
                  <a:pt x="3751858" y="384571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3" name="Freeform 2893"/>
          <p:cNvSpPr/>
          <p:nvPr/>
        </p:nvSpPr>
        <p:spPr>
          <a:xfrm>
            <a:off x="7577652" y="461320"/>
            <a:ext cx="67716" cy="97434"/>
          </a:xfrm>
          <a:custGeom>
            <a:avLst/>
            <a:gdLst/>
            <a:ahLst/>
            <a:cxnLst/>
            <a:rect l="0" t="0" r="0" b="0"/>
            <a:pathLst>
              <a:path w="4836914" h="6959600">
                <a:moveTo>
                  <a:pt x="2604492" y="6959600"/>
                </a:moveTo>
                <a:cubicBezTo>
                  <a:pt x="1769335" y="6959600"/>
                  <a:pt x="1128514" y="6710495"/>
                  <a:pt x="682030" y="6212285"/>
                </a:cubicBezTo>
                <a:cubicBezTo>
                  <a:pt x="235545" y="5713942"/>
                  <a:pt x="8202" y="4982965"/>
                  <a:pt x="0" y="4019352"/>
                </a:cubicBezTo>
                <a:lnTo>
                  <a:pt x="0" y="3206949"/>
                </a:lnTo>
                <a:cubicBezTo>
                  <a:pt x="0" y="2206162"/>
                  <a:pt x="218083" y="1421475"/>
                  <a:pt x="654249" y="852885"/>
                </a:cubicBezTo>
                <a:cubicBezTo>
                  <a:pt x="1090414" y="284296"/>
                  <a:pt x="1699154" y="0"/>
                  <a:pt x="2480469" y="0"/>
                </a:cubicBezTo>
                <a:cubicBezTo>
                  <a:pt x="3265885" y="0"/>
                  <a:pt x="3852863" y="250495"/>
                  <a:pt x="4241403" y="751483"/>
                </a:cubicBezTo>
                <a:cubicBezTo>
                  <a:pt x="4630076" y="1252340"/>
                  <a:pt x="4828580" y="2032662"/>
                  <a:pt x="4836914" y="3092450"/>
                </a:cubicBezTo>
                <a:lnTo>
                  <a:pt x="4836914" y="3812779"/>
                </a:lnTo>
                <a:lnTo>
                  <a:pt x="1091406" y="3812779"/>
                </a:lnTo>
                <a:lnTo>
                  <a:pt x="1091406" y="3967560"/>
                </a:lnTo>
                <a:cubicBezTo>
                  <a:pt x="1091406" y="4685771"/>
                  <a:pt x="1226807" y="5207927"/>
                  <a:pt x="1497608" y="5534025"/>
                </a:cubicBezTo>
                <a:cubicBezTo>
                  <a:pt x="1768409" y="5860124"/>
                  <a:pt x="2158008" y="6023174"/>
                  <a:pt x="2666405" y="6023174"/>
                </a:cubicBezTo>
                <a:cubicBezTo>
                  <a:pt x="2988932" y="6023174"/>
                  <a:pt x="3273160" y="5962187"/>
                  <a:pt x="3519091" y="5840215"/>
                </a:cubicBezTo>
                <a:cubicBezTo>
                  <a:pt x="3765153" y="5718109"/>
                  <a:pt x="3995671" y="5524699"/>
                  <a:pt x="4210645" y="5259983"/>
                </a:cubicBezTo>
                <a:lnTo>
                  <a:pt x="4781153" y="5954713"/>
                </a:lnTo>
                <a:cubicBezTo>
                  <a:pt x="4305697" y="6624638"/>
                  <a:pt x="3580143" y="6959600"/>
                  <a:pt x="2604492" y="6959600"/>
                </a:cubicBezTo>
                <a:close/>
                <a:moveTo>
                  <a:pt x="2480469" y="942579"/>
                </a:moveTo>
                <a:cubicBezTo>
                  <a:pt x="2025650" y="942579"/>
                  <a:pt x="1688703" y="1099080"/>
                  <a:pt x="1469628" y="1412082"/>
                </a:cubicBezTo>
                <a:cubicBezTo>
                  <a:pt x="1250553" y="1725084"/>
                  <a:pt x="1126530" y="2211123"/>
                  <a:pt x="1097558" y="2870200"/>
                </a:cubicBezTo>
                <a:lnTo>
                  <a:pt x="3739356" y="2870200"/>
                </a:lnTo>
                <a:lnTo>
                  <a:pt x="3739356" y="2720975"/>
                </a:lnTo>
                <a:cubicBezTo>
                  <a:pt x="3710385" y="2082536"/>
                  <a:pt x="3595621" y="1626526"/>
                  <a:pt x="3395067" y="1352947"/>
                </a:cubicBezTo>
                <a:cubicBezTo>
                  <a:pt x="3194645" y="1079368"/>
                  <a:pt x="2889779" y="942579"/>
                  <a:pt x="2480469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4" name="Freeform 2894"/>
          <p:cNvSpPr/>
          <p:nvPr/>
        </p:nvSpPr>
        <p:spPr>
          <a:xfrm>
            <a:off x="7662165" y="461320"/>
            <a:ext cx="65891" cy="9743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5" name="Freeform 2895"/>
          <p:cNvSpPr/>
          <p:nvPr/>
        </p:nvSpPr>
        <p:spPr>
          <a:xfrm>
            <a:off x="7742380" y="463098"/>
            <a:ext cx="72753" cy="93878"/>
          </a:xfrm>
          <a:custGeom>
            <a:avLst/>
            <a:gdLst/>
            <a:ahLst/>
            <a:cxnLst/>
            <a:rect l="0" t="0" r="0" b="0"/>
            <a:pathLst>
              <a:path w="5196681" h="6705600">
                <a:moveTo>
                  <a:pt x="5196681" y="0"/>
                </a:moveTo>
                <a:lnTo>
                  <a:pt x="5196681" y="6705600"/>
                </a:lnTo>
                <a:lnTo>
                  <a:pt x="4099123" y="6705600"/>
                </a:lnTo>
                <a:lnTo>
                  <a:pt x="4099123" y="948730"/>
                </a:lnTo>
                <a:lnTo>
                  <a:pt x="2331640" y="948730"/>
                </a:lnTo>
                <a:lnTo>
                  <a:pt x="2226270" y="3223022"/>
                </a:lnTo>
                <a:cubicBezTo>
                  <a:pt x="2168459" y="4482968"/>
                  <a:pt x="1998993" y="5376334"/>
                  <a:pt x="1717873" y="5903119"/>
                </a:cubicBezTo>
                <a:cubicBezTo>
                  <a:pt x="1436753" y="6429905"/>
                  <a:pt x="986102" y="6697398"/>
                  <a:pt x="365918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279201" y="5669955"/>
                </a:lnTo>
                <a:cubicBezTo>
                  <a:pt x="585060" y="5628680"/>
                  <a:pt x="801026" y="5423165"/>
                  <a:pt x="927100" y="5053410"/>
                </a:cubicBezTo>
                <a:cubicBezTo>
                  <a:pt x="1053174" y="4683655"/>
                  <a:pt x="1136914" y="3955521"/>
                  <a:pt x="1178322" y="2869010"/>
                </a:cubicBezTo>
                <a:lnTo>
                  <a:pt x="128369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6" name="Freeform 2896"/>
          <p:cNvSpPr/>
          <p:nvPr/>
        </p:nvSpPr>
        <p:spPr>
          <a:xfrm>
            <a:off x="7840782" y="463098"/>
            <a:ext cx="64677" cy="93878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3528417" y="0"/>
                </a:moveTo>
                <a:lnTo>
                  <a:pt x="4619823" y="0"/>
                </a:lnTo>
                <a:lnTo>
                  <a:pt x="4619823" y="6705600"/>
                </a:lnTo>
                <a:lnTo>
                  <a:pt x="3528417" y="6705600"/>
                </a:lnTo>
                <a:lnTo>
                  <a:pt x="3528417" y="1815902"/>
                </a:lnTo>
                <a:lnTo>
                  <a:pt x="109755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097558" y="0"/>
                </a:lnTo>
                <a:lnTo>
                  <a:pt x="109755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7" name="Freeform 2897"/>
          <p:cNvSpPr/>
          <p:nvPr/>
        </p:nvSpPr>
        <p:spPr>
          <a:xfrm>
            <a:off x="7926334" y="461320"/>
            <a:ext cx="62680" cy="97256"/>
          </a:xfrm>
          <a:custGeom>
            <a:avLst/>
            <a:gdLst/>
            <a:ahLst/>
            <a:cxnLst/>
            <a:rect l="0" t="0" r="0" b="0"/>
            <a:pathLst>
              <a:path w="4477147" h="6946900">
                <a:moveTo>
                  <a:pt x="4371776" y="1947466"/>
                </a:moveTo>
                <a:cubicBezTo>
                  <a:pt x="4371776" y="2249223"/>
                  <a:pt x="4295312" y="2526242"/>
                  <a:pt x="4142383" y="2778522"/>
                </a:cubicBezTo>
                <a:cubicBezTo>
                  <a:pt x="3989454" y="3030670"/>
                  <a:pt x="3772429" y="3231158"/>
                  <a:pt x="3491309" y="3379986"/>
                </a:cubicBezTo>
                <a:cubicBezTo>
                  <a:pt x="4148534" y="3648803"/>
                  <a:pt x="4477147" y="4169900"/>
                  <a:pt x="4477147" y="4943277"/>
                </a:cubicBezTo>
                <a:cubicBezTo>
                  <a:pt x="4477147" y="5567694"/>
                  <a:pt x="4273550" y="6057768"/>
                  <a:pt x="3866356" y="6413500"/>
                </a:cubicBezTo>
                <a:cubicBezTo>
                  <a:pt x="3459162" y="6769100"/>
                  <a:pt x="2922786" y="6946900"/>
                  <a:pt x="2257226" y="6946900"/>
                </a:cubicBezTo>
                <a:cubicBezTo>
                  <a:pt x="1599869" y="6946900"/>
                  <a:pt x="1059325" y="6757723"/>
                  <a:pt x="635595" y="6379369"/>
                </a:cubicBezTo>
                <a:cubicBezTo>
                  <a:pt x="211865" y="6001015"/>
                  <a:pt x="0" y="5489311"/>
                  <a:pt x="0" y="4844257"/>
                </a:cubicBezTo>
                <a:lnTo>
                  <a:pt x="1085254" y="4844257"/>
                </a:lnTo>
                <a:cubicBezTo>
                  <a:pt x="1085254" y="5175118"/>
                  <a:pt x="1196842" y="5456370"/>
                  <a:pt x="1420019" y="5688013"/>
                </a:cubicBezTo>
                <a:cubicBezTo>
                  <a:pt x="1643327" y="5919523"/>
                  <a:pt x="1922396" y="6035279"/>
                  <a:pt x="2257226" y="6035279"/>
                </a:cubicBezTo>
                <a:cubicBezTo>
                  <a:pt x="2596158" y="6035279"/>
                  <a:pt x="2867951" y="5933943"/>
                  <a:pt x="3072606" y="5731272"/>
                </a:cubicBezTo>
                <a:cubicBezTo>
                  <a:pt x="3277261" y="5528602"/>
                  <a:pt x="3379589" y="5265936"/>
                  <a:pt x="3379589" y="4943277"/>
                </a:cubicBezTo>
                <a:cubicBezTo>
                  <a:pt x="3379589" y="4566775"/>
                  <a:pt x="3295848" y="4296834"/>
                  <a:pt x="3128367" y="4133454"/>
                </a:cubicBezTo>
                <a:cubicBezTo>
                  <a:pt x="2961018" y="3970073"/>
                  <a:pt x="2697493" y="3888383"/>
                  <a:pt x="2337792" y="3888383"/>
                </a:cubicBezTo>
                <a:lnTo>
                  <a:pt x="1333301" y="3888383"/>
                </a:lnTo>
                <a:lnTo>
                  <a:pt x="1333301" y="2921000"/>
                </a:lnTo>
                <a:lnTo>
                  <a:pt x="2412206" y="2921000"/>
                </a:lnTo>
                <a:cubicBezTo>
                  <a:pt x="2990982" y="2900363"/>
                  <a:pt x="3280370" y="2577902"/>
                  <a:pt x="3280370" y="1953618"/>
                </a:cubicBezTo>
                <a:cubicBezTo>
                  <a:pt x="3280370" y="1639293"/>
                  <a:pt x="3190412" y="1390187"/>
                  <a:pt x="3010495" y="1206302"/>
                </a:cubicBezTo>
                <a:cubicBezTo>
                  <a:pt x="2830711" y="1022284"/>
                  <a:pt x="2581672" y="930275"/>
                  <a:pt x="2263378" y="930275"/>
                </a:cubicBezTo>
                <a:cubicBezTo>
                  <a:pt x="1953286" y="930275"/>
                  <a:pt x="1693862" y="1033661"/>
                  <a:pt x="1485106" y="1240433"/>
                </a:cubicBezTo>
                <a:cubicBezTo>
                  <a:pt x="1276350" y="1447205"/>
                  <a:pt x="1171972" y="1697435"/>
                  <a:pt x="1171972" y="1991122"/>
                </a:cubicBezTo>
                <a:lnTo>
                  <a:pt x="86717" y="1991122"/>
                </a:lnTo>
                <a:cubicBezTo>
                  <a:pt x="86717" y="1408113"/>
                  <a:pt x="293423" y="930540"/>
                  <a:pt x="706834" y="558404"/>
                </a:cubicBezTo>
                <a:cubicBezTo>
                  <a:pt x="1120246" y="186135"/>
                  <a:pt x="1639094" y="0"/>
                  <a:pt x="2263378" y="0"/>
                </a:cubicBezTo>
                <a:cubicBezTo>
                  <a:pt x="2928937" y="0"/>
                  <a:pt x="3446727" y="169532"/>
                  <a:pt x="3816747" y="508596"/>
                </a:cubicBezTo>
                <a:cubicBezTo>
                  <a:pt x="4186766" y="847659"/>
                  <a:pt x="4371776" y="1327283"/>
                  <a:pt x="4371776" y="194746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8" name="Freeform 2898"/>
          <p:cNvSpPr/>
          <p:nvPr/>
        </p:nvSpPr>
        <p:spPr>
          <a:xfrm>
            <a:off x="8005981" y="461320"/>
            <a:ext cx="72664" cy="9743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899" name="Freeform 2899"/>
          <p:cNvSpPr/>
          <p:nvPr/>
        </p:nvSpPr>
        <p:spPr>
          <a:xfrm>
            <a:off x="8099659" y="463098"/>
            <a:ext cx="67369" cy="93878"/>
          </a:xfrm>
          <a:custGeom>
            <a:avLst/>
            <a:gdLst/>
            <a:ahLst/>
            <a:cxnLst/>
            <a:rect l="0" t="0" r="0" b="0"/>
            <a:pathLst>
              <a:path w="4812109" h="6705600">
                <a:moveTo>
                  <a:pt x="0" y="6705600"/>
                </a:moveTo>
                <a:lnTo>
                  <a:pt x="0" y="0"/>
                </a:lnTo>
                <a:lnTo>
                  <a:pt x="2251075" y="0"/>
                </a:lnTo>
                <a:cubicBezTo>
                  <a:pt x="3019954" y="0"/>
                  <a:pt x="3606932" y="157030"/>
                  <a:pt x="4012009" y="471091"/>
                </a:cubicBezTo>
                <a:cubicBezTo>
                  <a:pt x="4417219" y="785151"/>
                  <a:pt x="4619823" y="1241756"/>
                  <a:pt x="4619823" y="1840905"/>
                </a:cubicBezTo>
                <a:cubicBezTo>
                  <a:pt x="4619823" y="2150732"/>
                  <a:pt x="4539191" y="2429603"/>
                  <a:pt x="4377928" y="2677518"/>
                </a:cubicBezTo>
                <a:cubicBezTo>
                  <a:pt x="4216797" y="2925432"/>
                  <a:pt x="3981185" y="3115536"/>
                  <a:pt x="3671094" y="3247827"/>
                </a:cubicBezTo>
                <a:cubicBezTo>
                  <a:pt x="4014258" y="3338711"/>
                  <a:pt x="4290219" y="3522597"/>
                  <a:pt x="4498975" y="3799483"/>
                </a:cubicBezTo>
                <a:cubicBezTo>
                  <a:pt x="4707731" y="4076238"/>
                  <a:pt x="4812109" y="4410803"/>
                  <a:pt x="4812109" y="4803180"/>
                </a:cubicBezTo>
                <a:cubicBezTo>
                  <a:pt x="4812109" y="5422834"/>
                  <a:pt x="4618831" y="5894851"/>
                  <a:pt x="4232275" y="6219230"/>
                </a:cubicBezTo>
                <a:cubicBezTo>
                  <a:pt x="3845719" y="6543477"/>
                  <a:pt x="3299023" y="6705600"/>
                  <a:pt x="2592189" y="6705600"/>
                </a:cubicBezTo>
                <a:close/>
                <a:moveTo>
                  <a:pt x="1091406" y="3762574"/>
                </a:moveTo>
                <a:lnTo>
                  <a:pt x="1091406" y="5781675"/>
                </a:lnTo>
                <a:lnTo>
                  <a:pt x="2604492" y="5781675"/>
                </a:lnTo>
                <a:cubicBezTo>
                  <a:pt x="3344532" y="5781675"/>
                  <a:pt x="3714552" y="5443075"/>
                  <a:pt x="3714552" y="4765874"/>
                </a:cubicBezTo>
                <a:cubicBezTo>
                  <a:pt x="3714552" y="4097007"/>
                  <a:pt x="3340431" y="3762574"/>
                  <a:pt x="2592189" y="3762574"/>
                </a:cubicBezTo>
                <a:close/>
                <a:moveTo>
                  <a:pt x="1091406" y="2844800"/>
                </a:moveTo>
                <a:lnTo>
                  <a:pt x="2238573" y="2844800"/>
                </a:lnTo>
                <a:cubicBezTo>
                  <a:pt x="3094368" y="2844800"/>
                  <a:pt x="3522266" y="2530872"/>
                  <a:pt x="3522266" y="1903016"/>
                </a:cubicBezTo>
                <a:cubicBezTo>
                  <a:pt x="3522266" y="1271059"/>
                  <a:pt x="3119173" y="946812"/>
                  <a:pt x="2312987" y="930275"/>
                </a:cubicBezTo>
                <a:lnTo>
                  <a:pt x="109140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0" name="Freeform 2900"/>
          <p:cNvSpPr/>
          <p:nvPr/>
        </p:nvSpPr>
        <p:spPr>
          <a:xfrm>
            <a:off x="8186142" y="461320"/>
            <a:ext cx="65891" cy="97434"/>
          </a:xfrm>
          <a:custGeom>
            <a:avLst/>
            <a:gdLst/>
            <a:ahLst/>
            <a:cxnLst/>
            <a:rect l="0" t="0" r="0" b="0"/>
            <a:pathLst>
              <a:path w="4706541" h="6959600">
                <a:moveTo>
                  <a:pt x="3565525" y="6832600"/>
                </a:moveTo>
                <a:cubicBezTo>
                  <a:pt x="3499379" y="6688403"/>
                  <a:pt x="3451887" y="6445383"/>
                  <a:pt x="3423047" y="6103541"/>
                </a:cubicBezTo>
                <a:cubicBezTo>
                  <a:pt x="3034374" y="6674247"/>
                  <a:pt x="2538280" y="6959600"/>
                  <a:pt x="1934766" y="6959600"/>
                </a:cubicBezTo>
                <a:cubicBezTo>
                  <a:pt x="1327018" y="6959600"/>
                  <a:pt x="852620" y="6789143"/>
                  <a:pt x="511572" y="6448227"/>
                </a:cubicBezTo>
                <a:cubicBezTo>
                  <a:pt x="170524" y="6107179"/>
                  <a:pt x="0" y="5626696"/>
                  <a:pt x="0" y="5006777"/>
                </a:cubicBezTo>
                <a:cubicBezTo>
                  <a:pt x="0" y="4324813"/>
                  <a:pt x="231511" y="3783344"/>
                  <a:pt x="694532" y="3382368"/>
                </a:cubicBezTo>
                <a:cubicBezTo>
                  <a:pt x="1157552" y="2981392"/>
                  <a:pt x="1792089" y="2776803"/>
                  <a:pt x="2598143" y="2768600"/>
                </a:cubicBezTo>
                <a:lnTo>
                  <a:pt x="3404394" y="2768600"/>
                </a:lnTo>
                <a:lnTo>
                  <a:pt x="3404394" y="2054424"/>
                </a:lnTo>
                <a:cubicBezTo>
                  <a:pt x="3404394" y="1652786"/>
                  <a:pt x="3315494" y="1367103"/>
                  <a:pt x="3137694" y="1197372"/>
                </a:cubicBezTo>
                <a:cubicBezTo>
                  <a:pt x="2959894" y="1027510"/>
                  <a:pt x="2689093" y="942579"/>
                  <a:pt x="2325291" y="942579"/>
                </a:cubicBezTo>
                <a:cubicBezTo>
                  <a:pt x="1994562" y="942579"/>
                  <a:pt x="1725811" y="1040937"/>
                  <a:pt x="1519039" y="1237655"/>
                </a:cubicBezTo>
                <a:cubicBezTo>
                  <a:pt x="1312400" y="1434373"/>
                  <a:pt x="1209080" y="1683941"/>
                  <a:pt x="1209080" y="1986360"/>
                </a:cubicBezTo>
                <a:lnTo>
                  <a:pt x="111522" y="1986360"/>
                </a:lnTo>
                <a:cubicBezTo>
                  <a:pt x="111522" y="1642931"/>
                  <a:pt x="212791" y="1314980"/>
                  <a:pt x="415330" y="1002507"/>
                </a:cubicBezTo>
                <a:cubicBezTo>
                  <a:pt x="618001" y="690034"/>
                  <a:pt x="890852" y="444831"/>
                  <a:pt x="1233885" y="266899"/>
                </a:cubicBezTo>
                <a:cubicBezTo>
                  <a:pt x="1577049" y="88966"/>
                  <a:pt x="1959505" y="0"/>
                  <a:pt x="2381250" y="0"/>
                </a:cubicBezTo>
                <a:cubicBezTo>
                  <a:pt x="3067447" y="0"/>
                  <a:pt x="3589338" y="170524"/>
                  <a:pt x="3946922" y="511572"/>
                </a:cubicBezTo>
                <a:cubicBezTo>
                  <a:pt x="4304507" y="852488"/>
                  <a:pt x="4487466" y="1349508"/>
                  <a:pt x="4495800" y="2002632"/>
                </a:cubicBezTo>
                <a:lnTo>
                  <a:pt x="4495800" y="5387975"/>
                </a:lnTo>
                <a:cubicBezTo>
                  <a:pt x="4499901" y="5904707"/>
                  <a:pt x="4570148" y="6353175"/>
                  <a:pt x="4706541" y="6733382"/>
                </a:cubicBezTo>
                <a:lnTo>
                  <a:pt x="4706541" y="6832600"/>
                </a:lnTo>
                <a:close/>
                <a:moveTo>
                  <a:pt x="2102049" y="5961261"/>
                </a:moveTo>
                <a:cubicBezTo>
                  <a:pt x="2370865" y="5961261"/>
                  <a:pt x="2627181" y="5886914"/>
                  <a:pt x="2870994" y="5738218"/>
                </a:cubicBezTo>
                <a:cubicBezTo>
                  <a:pt x="3114940" y="5589390"/>
                  <a:pt x="3292740" y="5403387"/>
                  <a:pt x="3404394" y="5180211"/>
                </a:cubicBezTo>
                <a:lnTo>
                  <a:pt x="3404394" y="3581004"/>
                </a:lnTo>
                <a:lnTo>
                  <a:pt x="2784277" y="3581004"/>
                </a:lnTo>
                <a:cubicBezTo>
                  <a:pt x="2263312" y="3589206"/>
                  <a:pt x="1851951" y="3705953"/>
                  <a:pt x="1550194" y="3931246"/>
                </a:cubicBezTo>
                <a:cubicBezTo>
                  <a:pt x="1248437" y="4156406"/>
                  <a:pt x="1097558" y="4471525"/>
                  <a:pt x="1097558" y="4876602"/>
                </a:cubicBezTo>
                <a:cubicBezTo>
                  <a:pt x="1097558" y="5256676"/>
                  <a:pt x="1174023" y="5532504"/>
                  <a:pt x="1326952" y="5704086"/>
                </a:cubicBezTo>
                <a:cubicBezTo>
                  <a:pt x="1479881" y="5875536"/>
                  <a:pt x="1738247" y="5961261"/>
                  <a:pt x="210204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1" name="Freeform 2901"/>
          <p:cNvSpPr/>
          <p:nvPr/>
        </p:nvSpPr>
        <p:spPr>
          <a:xfrm>
            <a:off x="8264855" y="463098"/>
            <a:ext cx="66152" cy="93878"/>
          </a:xfrm>
          <a:custGeom>
            <a:avLst/>
            <a:gdLst/>
            <a:ahLst/>
            <a:cxnLst/>
            <a:rect l="0" t="0" r="0" b="0"/>
            <a:pathLst>
              <a:path w="4725194" h="6705600">
                <a:moveTo>
                  <a:pt x="4725194" y="930275"/>
                </a:moveTo>
                <a:lnTo>
                  <a:pt x="2895798" y="930275"/>
                </a:lnTo>
                <a:lnTo>
                  <a:pt x="2895798" y="6705600"/>
                </a:lnTo>
                <a:lnTo>
                  <a:pt x="1804392" y="6705600"/>
                </a:lnTo>
                <a:lnTo>
                  <a:pt x="1804392" y="930275"/>
                </a:lnTo>
                <a:lnTo>
                  <a:pt x="0" y="930275"/>
                </a:lnTo>
                <a:lnTo>
                  <a:pt x="0" y="0"/>
                </a:lnTo>
                <a:lnTo>
                  <a:pt x="472519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2" name="Freeform 2902"/>
          <p:cNvSpPr/>
          <p:nvPr/>
        </p:nvSpPr>
        <p:spPr>
          <a:xfrm>
            <a:off x="8348401" y="463098"/>
            <a:ext cx="64071" cy="93878"/>
          </a:xfrm>
          <a:custGeom>
            <a:avLst/>
            <a:gdLst/>
            <a:ahLst/>
            <a:cxnLst/>
            <a:rect l="0" t="0" r="0" b="0"/>
            <a:pathLst>
              <a:path w="4576564" h="6705600">
                <a:moveTo>
                  <a:pt x="1091406" y="2311400"/>
                </a:moveTo>
                <a:lnTo>
                  <a:pt x="2474317" y="2311400"/>
                </a:lnTo>
                <a:cubicBezTo>
                  <a:pt x="3115138" y="2315501"/>
                  <a:pt x="3625718" y="2511756"/>
                  <a:pt x="4006056" y="2900165"/>
                </a:cubicBezTo>
                <a:cubicBezTo>
                  <a:pt x="4386395" y="3288573"/>
                  <a:pt x="4576564" y="3817475"/>
                  <a:pt x="4576564" y="4486871"/>
                </a:cubicBezTo>
                <a:cubicBezTo>
                  <a:pt x="4576564" y="5156134"/>
                  <a:pt x="4384278" y="5692246"/>
                  <a:pt x="3999706" y="6095207"/>
                </a:cubicBezTo>
                <a:cubicBezTo>
                  <a:pt x="3615266" y="6498035"/>
                  <a:pt x="3106804" y="6701499"/>
                  <a:pt x="247431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091406" y="0"/>
                </a:lnTo>
                <a:close/>
                <a:moveTo>
                  <a:pt x="1091406" y="3247827"/>
                </a:moveTo>
                <a:lnTo>
                  <a:pt x="1091406" y="5769174"/>
                </a:lnTo>
                <a:lnTo>
                  <a:pt x="2455664" y="5769174"/>
                </a:lnTo>
                <a:cubicBezTo>
                  <a:pt x="2778191" y="5769174"/>
                  <a:pt x="3029347" y="5659769"/>
                  <a:pt x="3209131" y="5440958"/>
                </a:cubicBezTo>
                <a:cubicBezTo>
                  <a:pt x="3388916" y="5222016"/>
                  <a:pt x="3478808" y="4918406"/>
                  <a:pt x="3478808" y="4530130"/>
                </a:cubicBezTo>
                <a:cubicBezTo>
                  <a:pt x="3478808" y="4150188"/>
                  <a:pt x="3389908" y="3842544"/>
                  <a:pt x="3212108" y="3607197"/>
                </a:cubicBezTo>
                <a:cubicBezTo>
                  <a:pt x="3034440" y="3371718"/>
                  <a:pt x="2790560" y="3251928"/>
                  <a:pt x="2480469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3" name="Freeform 2903"/>
          <p:cNvSpPr/>
          <p:nvPr/>
        </p:nvSpPr>
        <p:spPr>
          <a:xfrm>
            <a:off x="8474106" y="463098"/>
            <a:ext cx="64677" cy="93878"/>
          </a:xfrm>
          <a:custGeom>
            <a:avLst/>
            <a:gdLst/>
            <a:ahLst/>
            <a:cxnLst/>
            <a:rect l="0" t="0" r="0" b="0"/>
            <a:pathLst>
              <a:path w="4619823" h="6705600">
                <a:moveTo>
                  <a:pt x="4619823" y="6705600"/>
                </a:moveTo>
                <a:lnTo>
                  <a:pt x="3528417" y="6705600"/>
                </a:lnTo>
                <a:lnTo>
                  <a:pt x="3528417" y="948730"/>
                </a:lnTo>
                <a:lnTo>
                  <a:pt x="1103908" y="948730"/>
                </a:lnTo>
                <a:lnTo>
                  <a:pt x="1103908" y="6705600"/>
                </a:lnTo>
                <a:lnTo>
                  <a:pt x="0" y="6705600"/>
                </a:lnTo>
                <a:lnTo>
                  <a:pt x="0" y="0"/>
                </a:lnTo>
                <a:lnTo>
                  <a:pt x="461982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4" name="Freeform 2904"/>
          <p:cNvSpPr/>
          <p:nvPr/>
        </p:nvSpPr>
        <p:spPr>
          <a:xfrm>
            <a:off x="8560005" y="461320"/>
            <a:ext cx="72664" cy="97434"/>
          </a:xfrm>
          <a:custGeom>
            <a:avLst/>
            <a:gdLst/>
            <a:ahLst/>
            <a:cxnLst/>
            <a:rect l="0" t="0" r="0" b="0"/>
            <a:pathLst>
              <a:path w="5190332" h="6959600">
                <a:moveTo>
                  <a:pt x="0" y="3169643"/>
                </a:moveTo>
                <a:cubicBezTo>
                  <a:pt x="0" y="2193727"/>
                  <a:pt x="236670" y="1421475"/>
                  <a:pt x="710010" y="852885"/>
                </a:cubicBezTo>
                <a:cubicBezTo>
                  <a:pt x="1183349" y="284296"/>
                  <a:pt x="1808626" y="0"/>
                  <a:pt x="2585840" y="0"/>
                </a:cubicBezTo>
                <a:cubicBezTo>
                  <a:pt x="3363053" y="0"/>
                  <a:pt x="3988329" y="277085"/>
                  <a:pt x="4461669" y="831255"/>
                </a:cubicBezTo>
                <a:cubicBezTo>
                  <a:pt x="4935009" y="1385293"/>
                  <a:pt x="5177896" y="2139950"/>
                  <a:pt x="5190332" y="3095229"/>
                </a:cubicBezTo>
                <a:lnTo>
                  <a:pt x="5190332" y="3802261"/>
                </a:lnTo>
                <a:cubicBezTo>
                  <a:pt x="5190332" y="4774076"/>
                  <a:pt x="4954654" y="5543286"/>
                  <a:pt x="4483299" y="6109891"/>
                </a:cubicBezTo>
                <a:cubicBezTo>
                  <a:pt x="4012076" y="6676364"/>
                  <a:pt x="3383757" y="6959600"/>
                  <a:pt x="2598341" y="6959600"/>
                </a:cubicBezTo>
                <a:cubicBezTo>
                  <a:pt x="1821127" y="6959600"/>
                  <a:pt x="1197902" y="6684632"/>
                  <a:pt x="728663" y="6134696"/>
                </a:cubicBezTo>
                <a:cubicBezTo>
                  <a:pt x="259424" y="5584627"/>
                  <a:pt x="16537" y="4840288"/>
                  <a:pt x="0" y="3901679"/>
                </a:cubicBezTo>
                <a:close/>
                <a:moveTo>
                  <a:pt x="1097558" y="3802261"/>
                </a:moveTo>
                <a:cubicBezTo>
                  <a:pt x="1097558" y="4492956"/>
                  <a:pt x="1232959" y="5035815"/>
                  <a:pt x="1503760" y="5430838"/>
                </a:cubicBezTo>
                <a:cubicBezTo>
                  <a:pt x="1774561" y="5825729"/>
                  <a:pt x="2139421" y="6023174"/>
                  <a:pt x="2598341" y="6023174"/>
                </a:cubicBezTo>
                <a:cubicBezTo>
                  <a:pt x="3565658" y="6023174"/>
                  <a:pt x="4063802" y="5324277"/>
                  <a:pt x="4092774" y="3926483"/>
                </a:cubicBezTo>
                <a:lnTo>
                  <a:pt x="4092774" y="3169643"/>
                </a:lnTo>
                <a:cubicBezTo>
                  <a:pt x="4092774" y="2483049"/>
                  <a:pt x="3956315" y="1940256"/>
                  <a:pt x="3683397" y="1541265"/>
                </a:cubicBezTo>
                <a:cubicBezTo>
                  <a:pt x="3410612" y="1142140"/>
                  <a:pt x="3044759" y="942579"/>
                  <a:pt x="2585840" y="942579"/>
                </a:cubicBezTo>
                <a:cubicBezTo>
                  <a:pt x="2135254" y="942579"/>
                  <a:pt x="1774561" y="1142140"/>
                  <a:pt x="1503760" y="1541265"/>
                </a:cubicBezTo>
                <a:cubicBezTo>
                  <a:pt x="1232959" y="1940256"/>
                  <a:pt x="1097558" y="2480998"/>
                  <a:pt x="1097558" y="31634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5" name="Freeform 2905"/>
          <p:cNvSpPr/>
          <p:nvPr/>
        </p:nvSpPr>
        <p:spPr>
          <a:xfrm>
            <a:off x="5697247" y="640111"/>
            <a:ext cx="73881" cy="128193"/>
          </a:xfrm>
          <a:custGeom>
            <a:avLst/>
            <a:gdLst/>
            <a:ahLst/>
            <a:cxnLst/>
            <a:rect l="0" t="0" r="0" b="0"/>
            <a:pathLst>
              <a:path w="5277247" h="9156700">
                <a:moveTo>
                  <a:pt x="179785" y="4592836"/>
                </a:moveTo>
                <a:lnTo>
                  <a:pt x="626269" y="0"/>
                </a:lnTo>
                <a:lnTo>
                  <a:pt x="4998046" y="0"/>
                </a:lnTo>
                <a:lnTo>
                  <a:pt x="4998046" y="1500783"/>
                </a:lnTo>
                <a:lnTo>
                  <a:pt x="2064941" y="1500783"/>
                </a:lnTo>
                <a:lnTo>
                  <a:pt x="1903810" y="3439915"/>
                </a:lnTo>
                <a:cubicBezTo>
                  <a:pt x="2242741" y="3212505"/>
                  <a:pt x="2592057" y="3098800"/>
                  <a:pt x="2951758" y="3098800"/>
                </a:cubicBezTo>
                <a:cubicBezTo>
                  <a:pt x="3695899" y="3098800"/>
                  <a:pt x="4269515" y="3363384"/>
                  <a:pt x="4672608" y="3892550"/>
                </a:cubicBezTo>
                <a:cubicBezTo>
                  <a:pt x="5075701" y="4421585"/>
                  <a:pt x="5277247" y="5169761"/>
                  <a:pt x="5277247" y="6137077"/>
                </a:cubicBezTo>
                <a:cubicBezTo>
                  <a:pt x="5277247" y="7042349"/>
                  <a:pt x="5037469" y="7771937"/>
                  <a:pt x="4557911" y="8325843"/>
                </a:cubicBezTo>
                <a:cubicBezTo>
                  <a:pt x="4078354" y="8879748"/>
                  <a:pt x="3437533" y="9156700"/>
                  <a:pt x="2635449" y="9156700"/>
                </a:cubicBezTo>
                <a:cubicBezTo>
                  <a:pt x="2159993" y="9156700"/>
                  <a:pt x="1719660" y="9044053"/>
                  <a:pt x="1314450" y="8818761"/>
                </a:cubicBezTo>
                <a:cubicBezTo>
                  <a:pt x="909373" y="8593469"/>
                  <a:pt x="590021" y="8280334"/>
                  <a:pt x="356394" y="7879358"/>
                </a:cubicBezTo>
                <a:cubicBezTo>
                  <a:pt x="122899" y="7478382"/>
                  <a:pt x="4101" y="7023696"/>
                  <a:pt x="0" y="6515299"/>
                </a:cubicBezTo>
                <a:lnTo>
                  <a:pt x="1736329" y="6515299"/>
                </a:lnTo>
                <a:cubicBezTo>
                  <a:pt x="1765300" y="6891404"/>
                  <a:pt x="1858302" y="7182777"/>
                  <a:pt x="2015332" y="7389416"/>
                </a:cubicBezTo>
                <a:cubicBezTo>
                  <a:pt x="2172494" y="7596056"/>
                  <a:pt x="2375099" y="7699375"/>
                  <a:pt x="2623146" y="7699375"/>
                </a:cubicBezTo>
                <a:cubicBezTo>
                  <a:pt x="2912468" y="7699375"/>
                  <a:pt x="3135644" y="7559874"/>
                  <a:pt x="3292674" y="7280871"/>
                </a:cubicBezTo>
                <a:cubicBezTo>
                  <a:pt x="3449836" y="7001868"/>
                  <a:pt x="3528418" y="6585480"/>
                  <a:pt x="3528418" y="6031707"/>
                </a:cubicBezTo>
                <a:cubicBezTo>
                  <a:pt x="3528418" y="5510875"/>
                  <a:pt x="3434358" y="5118233"/>
                  <a:pt x="3246240" y="4853782"/>
                </a:cubicBezTo>
                <a:cubicBezTo>
                  <a:pt x="3058121" y="4589198"/>
                  <a:pt x="2794596" y="4456907"/>
                  <a:pt x="2455665" y="4456907"/>
                </a:cubicBezTo>
                <a:cubicBezTo>
                  <a:pt x="2124935" y="4456907"/>
                  <a:pt x="1868620" y="4570545"/>
                  <a:pt x="1686719" y="4797822"/>
                </a:cubicBezTo>
                <a:lnTo>
                  <a:pt x="1574999" y="495280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6" name="Freeform 2906"/>
          <p:cNvSpPr/>
          <p:nvPr/>
        </p:nvSpPr>
        <p:spPr>
          <a:xfrm>
            <a:off x="5830361" y="672648"/>
            <a:ext cx="77526" cy="93878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2207617" y="4244777"/>
                </a:moveTo>
                <a:lnTo>
                  <a:pt x="1748632" y="4244777"/>
                </a:lnTo>
                <a:lnTo>
                  <a:pt x="1748632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48632" y="0"/>
                </a:lnTo>
                <a:lnTo>
                  <a:pt x="1748632" y="2514600"/>
                </a:lnTo>
                <a:lnTo>
                  <a:pt x="2182813" y="2514600"/>
                </a:lnTo>
                <a:lnTo>
                  <a:pt x="3199805" y="0"/>
                </a:lnTo>
                <a:lnTo>
                  <a:pt x="5401271" y="0"/>
                </a:lnTo>
                <a:lnTo>
                  <a:pt x="3633788" y="3091260"/>
                </a:lnTo>
                <a:lnTo>
                  <a:pt x="5537597" y="6705600"/>
                </a:lnTo>
                <a:lnTo>
                  <a:pt x="3212108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7" name="Freeform 2907"/>
          <p:cNvSpPr/>
          <p:nvPr/>
        </p:nvSpPr>
        <p:spPr>
          <a:xfrm>
            <a:off x="5910394" y="670870"/>
            <a:ext cx="76051" cy="9743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8" name="Freeform 2908"/>
          <p:cNvSpPr/>
          <p:nvPr/>
        </p:nvSpPr>
        <p:spPr>
          <a:xfrm>
            <a:off x="6001538" y="672648"/>
            <a:ext cx="70842" cy="93878"/>
          </a:xfrm>
          <a:custGeom>
            <a:avLst/>
            <a:gdLst/>
            <a:ahLst/>
            <a:cxnLst/>
            <a:rect l="0" t="0" r="0" b="0"/>
            <a:pathLst>
              <a:path w="5060157" h="6705600">
                <a:moveTo>
                  <a:pt x="5060157" y="6705600"/>
                </a:moveTo>
                <a:lnTo>
                  <a:pt x="3305175" y="6705600"/>
                </a:lnTo>
                <a:lnTo>
                  <a:pt x="3305175" y="4130874"/>
                </a:lnTo>
                <a:lnTo>
                  <a:pt x="1761133" y="4130874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2679700"/>
                </a:lnTo>
                <a:lnTo>
                  <a:pt x="3305175" y="2679700"/>
                </a:lnTo>
                <a:lnTo>
                  <a:pt x="3305175" y="0"/>
                </a:lnTo>
                <a:lnTo>
                  <a:pt x="506015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09" name="Freeform 2909"/>
          <p:cNvSpPr/>
          <p:nvPr/>
        </p:nvSpPr>
        <p:spPr>
          <a:xfrm>
            <a:off x="6092083" y="672648"/>
            <a:ext cx="77526" cy="93878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2207617" y="4244777"/>
                </a:moveTo>
                <a:lnTo>
                  <a:pt x="1748632" y="4244777"/>
                </a:lnTo>
                <a:lnTo>
                  <a:pt x="1748632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48632" y="0"/>
                </a:lnTo>
                <a:lnTo>
                  <a:pt x="1748632" y="2514600"/>
                </a:lnTo>
                <a:lnTo>
                  <a:pt x="2182813" y="2514600"/>
                </a:lnTo>
                <a:lnTo>
                  <a:pt x="3199805" y="0"/>
                </a:lnTo>
                <a:lnTo>
                  <a:pt x="5401271" y="0"/>
                </a:lnTo>
                <a:lnTo>
                  <a:pt x="3633788" y="3091260"/>
                </a:lnTo>
                <a:lnTo>
                  <a:pt x="5537597" y="6705600"/>
                </a:lnTo>
                <a:lnTo>
                  <a:pt x="3212108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0" name="Freeform 2910"/>
          <p:cNvSpPr/>
          <p:nvPr/>
        </p:nvSpPr>
        <p:spPr>
          <a:xfrm>
            <a:off x="6172226" y="672648"/>
            <a:ext cx="76398" cy="131749"/>
          </a:xfrm>
          <a:custGeom>
            <a:avLst/>
            <a:gdLst/>
            <a:ahLst/>
            <a:cxnLst/>
            <a:rect l="0" t="0" r="0" b="0"/>
            <a:pathLst>
              <a:path w="5457032" h="9410700">
                <a:moveTo>
                  <a:pt x="2691408" y="3785394"/>
                </a:moveTo>
                <a:lnTo>
                  <a:pt x="3584377" y="0"/>
                </a:lnTo>
                <a:lnTo>
                  <a:pt x="5457032" y="0"/>
                </a:lnTo>
                <a:lnTo>
                  <a:pt x="3249414" y="7706915"/>
                </a:lnTo>
                <a:cubicBezTo>
                  <a:pt x="2918685" y="8842771"/>
                  <a:pt x="2296517" y="9410700"/>
                  <a:pt x="1382911" y="9410700"/>
                </a:cubicBezTo>
                <a:cubicBezTo>
                  <a:pt x="1172038" y="9410700"/>
                  <a:pt x="932260" y="9371409"/>
                  <a:pt x="663575" y="9292828"/>
                </a:cubicBezTo>
                <a:lnTo>
                  <a:pt x="663575" y="7922220"/>
                </a:lnTo>
                <a:lnTo>
                  <a:pt x="868164" y="7928570"/>
                </a:lnTo>
                <a:cubicBezTo>
                  <a:pt x="1141082" y="7928570"/>
                  <a:pt x="1346729" y="7875918"/>
                  <a:pt x="1485107" y="7770614"/>
                </a:cubicBezTo>
                <a:cubicBezTo>
                  <a:pt x="1623616" y="7665309"/>
                  <a:pt x="1728060" y="7482615"/>
                  <a:pt x="1798439" y="7222529"/>
                </a:cubicBezTo>
                <a:lnTo>
                  <a:pt x="1934766" y="6770290"/>
                </a:lnTo>
                <a:lnTo>
                  <a:pt x="0" y="0"/>
                </a:lnTo>
                <a:lnTo>
                  <a:pt x="188515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1" name="Freeform 2911"/>
          <p:cNvSpPr/>
          <p:nvPr/>
        </p:nvSpPr>
        <p:spPr>
          <a:xfrm>
            <a:off x="6259079" y="670870"/>
            <a:ext cx="73186" cy="131749"/>
          </a:xfrm>
          <a:custGeom>
            <a:avLst/>
            <a:gdLst/>
            <a:ahLst/>
            <a:cxnLst/>
            <a:rect l="0" t="0" r="0" b="0"/>
            <a:pathLst>
              <a:path w="5227637" h="9410700">
                <a:moveTo>
                  <a:pt x="5227637" y="3690740"/>
                </a:moveTo>
                <a:cubicBezTo>
                  <a:pt x="5227637" y="4745236"/>
                  <a:pt x="5046729" y="5553671"/>
                  <a:pt x="4684911" y="6116043"/>
                </a:cubicBezTo>
                <a:cubicBezTo>
                  <a:pt x="4323225" y="6678415"/>
                  <a:pt x="3784798" y="6959600"/>
                  <a:pt x="3069630" y="6959600"/>
                </a:cubicBezTo>
                <a:cubicBezTo>
                  <a:pt x="2523926" y="6959600"/>
                  <a:pt x="2085710" y="6738343"/>
                  <a:pt x="1754981" y="6295827"/>
                </a:cubicBezTo>
                <a:lnTo>
                  <a:pt x="1754981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24608" y="127000"/>
                </a:lnTo>
                <a:lnTo>
                  <a:pt x="1686719" y="738188"/>
                </a:lnTo>
                <a:cubicBezTo>
                  <a:pt x="2021549" y="246063"/>
                  <a:pt x="2478352" y="0"/>
                  <a:pt x="3057128" y="0"/>
                </a:cubicBezTo>
                <a:cubicBezTo>
                  <a:pt x="3772297" y="0"/>
                  <a:pt x="4310724" y="260549"/>
                  <a:pt x="4672409" y="781646"/>
                </a:cubicBezTo>
                <a:cubicBezTo>
                  <a:pt x="5034227" y="1302611"/>
                  <a:pt x="5219303" y="2100660"/>
                  <a:pt x="5227637" y="3175794"/>
                </a:cubicBezTo>
                <a:close/>
                <a:moveTo>
                  <a:pt x="3478808" y="3250208"/>
                </a:moveTo>
                <a:cubicBezTo>
                  <a:pt x="3478808" y="2600789"/>
                  <a:pt x="3407502" y="2141670"/>
                  <a:pt x="3264892" y="1872854"/>
                </a:cubicBezTo>
                <a:cubicBezTo>
                  <a:pt x="3122282" y="1604037"/>
                  <a:pt x="2881444" y="1469629"/>
                  <a:pt x="2542381" y="1469629"/>
                </a:cubicBezTo>
                <a:cubicBezTo>
                  <a:pt x="2182812" y="1469629"/>
                  <a:pt x="1920346" y="1620573"/>
                  <a:pt x="1754981" y="1922463"/>
                </a:cubicBezTo>
                <a:lnTo>
                  <a:pt x="1754981" y="5067896"/>
                </a:lnTo>
                <a:cubicBezTo>
                  <a:pt x="1912011" y="5357482"/>
                  <a:pt x="2178645" y="5502275"/>
                  <a:pt x="2554883" y="5502275"/>
                </a:cubicBezTo>
                <a:cubicBezTo>
                  <a:pt x="2902148" y="5502275"/>
                  <a:pt x="3142919" y="5355432"/>
                  <a:pt x="3277195" y="5061744"/>
                </a:cubicBezTo>
                <a:cubicBezTo>
                  <a:pt x="3411604" y="4768057"/>
                  <a:pt x="3478808" y="4311055"/>
                  <a:pt x="3478808" y="369074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2" name="Freeform 2912"/>
          <p:cNvSpPr/>
          <p:nvPr/>
        </p:nvSpPr>
        <p:spPr>
          <a:xfrm>
            <a:off x="6344136" y="670870"/>
            <a:ext cx="70842" cy="97434"/>
          </a:xfrm>
          <a:custGeom>
            <a:avLst/>
            <a:gdLst/>
            <a:ahLst/>
            <a:cxnLst/>
            <a:rect l="0" t="0" r="0" b="0"/>
            <a:pathLst>
              <a:path w="5060156" h="6959600">
                <a:moveTo>
                  <a:pt x="2635647" y="5502275"/>
                </a:moveTo>
                <a:cubicBezTo>
                  <a:pt x="3144044" y="5502275"/>
                  <a:pt x="3402409" y="5171546"/>
                  <a:pt x="3410744" y="4510088"/>
                </a:cubicBezTo>
                <a:lnTo>
                  <a:pt x="5060156" y="4510088"/>
                </a:lnTo>
                <a:cubicBezTo>
                  <a:pt x="5051954" y="5241793"/>
                  <a:pt x="4826661" y="5833005"/>
                  <a:pt x="4384278" y="6283722"/>
                </a:cubicBezTo>
                <a:cubicBezTo>
                  <a:pt x="3941894" y="6734308"/>
                  <a:pt x="3371387" y="6959600"/>
                  <a:pt x="2672754" y="6959600"/>
                </a:cubicBezTo>
                <a:cubicBezTo>
                  <a:pt x="1808758" y="6959600"/>
                  <a:pt x="1149350" y="6690850"/>
                  <a:pt x="694531" y="6153349"/>
                </a:cubicBezTo>
                <a:cubicBezTo>
                  <a:pt x="239845" y="5615716"/>
                  <a:pt x="8334" y="4823752"/>
                  <a:pt x="0" y="3777457"/>
                </a:cubicBezTo>
                <a:lnTo>
                  <a:pt x="0" y="3244057"/>
                </a:lnTo>
                <a:cubicBezTo>
                  <a:pt x="0" y="2189560"/>
                  <a:pt x="224300" y="1385293"/>
                  <a:pt x="672901" y="831255"/>
                </a:cubicBezTo>
                <a:cubicBezTo>
                  <a:pt x="1121502" y="277085"/>
                  <a:pt x="1784019" y="0"/>
                  <a:pt x="2660451" y="0"/>
                </a:cubicBezTo>
                <a:cubicBezTo>
                  <a:pt x="3400358" y="0"/>
                  <a:pt x="3983236" y="228402"/>
                  <a:pt x="4409083" y="685205"/>
                </a:cubicBezTo>
                <a:cubicBezTo>
                  <a:pt x="4834929" y="1142008"/>
                  <a:pt x="5051954" y="1790039"/>
                  <a:pt x="5060156" y="2629297"/>
                </a:cubicBezTo>
                <a:lnTo>
                  <a:pt x="3410744" y="2629297"/>
                </a:lnTo>
                <a:cubicBezTo>
                  <a:pt x="3406643" y="2253192"/>
                  <a:pt x="3344598" y="1963870"/>
                  <a:pt x="3224609" y="1761332"/>
                </a:cubicBezTo>
                <a:cubicBezTo>
                  <a:pt x="3104753" y="1558661"/>
                  <a:pt x="2906315" y="1457325"/>
                  <a:pt x="2629297" y="1457325"/>
                </a:cubicBezTo>
                <a:cubicBezTo>
                  <a:pt x="2323438" y="1457325"/>
                  <a:pt x="2104363" y="1565937"/>
                  <a:pt x="1972072" y="1783160"/>
                </a:cubicBezTo>
                <a:cubicBezTo>
                  <a:pt x="1839780" y="2000250"/>
                  <a:pt x="1769467" y="2421070"/>
                  <a:pt x="1761133" y="3045619"/>
                </a:cubicBezTo>
                <a:lnTo>
                  <a:pt x="1761133" y="3728046"/>
                </a:lnTo>
                <a:cubicBezTo>
                  <a:pt x="1761133" y="4273881"/>
                  <a:pt x="1787988" y="4655410"/>
                  <a:pt x="1841698" y="4872633"/>
                </a:cubicBezTo>
                <a:cubicBezTo>
                  <a:pt x="1895541" y="5089724"/>
                  <a:pt x="1984441" y="5248937"/>
                  <a:pt x="2108398" y="5350272"/>
                </a:cubicBezTo>
                <a:cubicBezTo>
                  <a:pt x="2232488" y="5451608"/>
                  <a:pt x="2408237" y="5502275"/>
                  <a:pt x="2635647" y="55022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3" name="Freeform 2913"/>
          <p:cNvSpPr/>
          <p:nvPr/>
        </p:nvSpPr>
        <p:spPr>
          <a:xfrm>
            <a:off x="6428614" y="672648"/>
            <a:ext cx="70842" cy="93878"/>
          </a:xfrm>
          <a:custGeom>
            <a:avLst/>
            <a:gdLst/>
            <a:ahLst/>
            <a:cxnLst/>
            <a:rect l="0" t="0" r="0" b="0"/>
            <a:pathLst>
              <a:path w="5060157" h="6705600">
                <a:moveTo>
                  <a:pt x="5060157" y="6705600"/>
                </a:moveTo>
                <a:lnTo>
                  <a:pt x="3305175" y="6705600"/>
                </a:lnTo>
                <a:lnTo>
                  <a:pt x="3305175" y="4130874"/>
                </a:lnTo>
                <a:lnTo>
                  <a:pt x="1761133" y="4130874"/>
                </a:lnTo>
                <a:lnTo>
                  <a:pt x="1761133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61133" y="0"/>
                </a:lnTo>
                <a:lnTo>
                  <a:pt x="1761133" y="2679700"/>
                </a:lnTo>
                <a:lnTo>
                  <a:pt x="3305175" y="2679700"/>
                </a:lnTo>
                <a:lnTo>
                  <a:pt x="3305175" y="0"/>
                </a:lnTo>
                <a:lnTo>
                  <a:pt x="506015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4" name="Freeform 2914"/>
          <p:cNvSpPr/>
          <p:nvPr/>
        </p:nvSpPr>
        <p:spPr>
          <a:xfrm>
            <a:off x="6518983" y="672648"/>
            <a:ext cx="107999" cy="93878"/>
          </a:xfrm>
          <a:custGeom>
            <a:avLst/>
            <a:gdLst/>
            <a:ahLst/>
            <a:cxnLst/>
            <a:rect l="0" t="0" r="0" b="0"/>
            <a:pathLst>
              <a:path w="7714258" h="6705600">
                <a:moveTo>
                  <a:pt x="1754981" y="1955800"/>
                </a:moveTo>
                <a:lnTo>
                  <a:pt x="2654101" y="1955800"/>
                </a:lnTo>
                <a:cubicBezTo>
                  <a:pt x="3443750" y="1955800"/>
                  <a:pt x="4064926" y="2172561"/>
                  <a:pt x="4517628" y="2606080"/>
                </a:cubicBezTo>
                <a:cubicBezTo>
                  <a:pt x="4970330" y="3039600"/>
                  <a:pt x="5196681" y="3619633"/>
                  <a:pt x="5196681" y="4346179"/>
                </a:cubicBezTo>
                <a:cubicBezTo>
                  <a:pt x="5196681" y="5056320"/>
                  <a:pt x="4968279" y="5627093"/>
                  <a:pt x="4511476" y="6058496"/>
                </a:cubicBezTo>
                <a:cubicBezTo>
                  <a:pt x="4054673" y="6489899"/>
                  <a:pt x="3433497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54981" y="0"/>
                </a:lnTo>
                <a:close/>
                <a:moveTo>
                  <a:pt x="7714258" y="6705600"/>
                </a:moveTo>
                <a:lnTo>
                  <a:pt x="5959475" y="6705600"/>
                </a:lnTo>
                <a:lnTo>
                  <a:pt x="5959475" y="0"/>
                </a:lnTo>
                <a:lnTo>
                  <a:pt x="7714258" y="0"/>
                </a:lnTo>
                <a:close/>
                <a:moveTo>
                  <a:pt x="1754981" y="3413125"/>
                </a:moveTo>
                <a:lnTo>
                  <a:pt x="1754981" y="5260777"/>
                </a:lnTo>
                <a:lnTo>
                  <a:pt x="2672754" y="5260777"/>
                </a:lnTo>
                <a:cubicBezTo>
                  <a:pt x="2916700" y="5260777"/>
                  <a:pt x="3106869" y="5180476"/>
                  <a:pt x="3243262" y="5019874"/>
                </a:cubicBezTo>
                <a:cubicBezTo>
                  <a:pt x="3379655" y="4859140"/>
                  <a:pt x="3447851" y="4636625"/>
                  <a:pt x="3447851" y="4352330"/>
                </a:cubicBezTo>
                <a:cubicBezTo>
                  <a:pt x="3447851" y="3726194"/>
                  <a:pt x="3172949" y="3413125"/>
                  <a:pt x="2623145" y="34131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5" name="Freeform 2915"/>
          <p:cNvSpPr/>
          <p:nvPr/>
        </p:nvSpPr>
        <p:spPr>
          <a:xfrm>
            <a:off x="6649133" y="672648"/>
            <a:ext cx="96106" cy="93878"/>
          </a:xfrm>
          <a:custGeom>
            <a:avLst/>
            <a:gdLst/>
            <a:ahLst/>
            <a:cxnLst/>
            <a:rect l="0" t="0" r="0" b="0"/>
            <a:pathLst>
              <a:path w="6864747" h="6705600">
                <a:moveTo>
                  <a:pt x="3404592" y="4573786"/>
                </a:moveTo>
                <a:lnTo>
                  <a:pt x="4663281" y="0"/>
                </a:lnTo>
                <a:lnTo>
                  <a:pt x="6864747" y="0"/>
                </a:lnTo>
                <a:lnTo>
                  <a:pt x="6864747" y="6705600"/>
                </a:lnTo>
                <a:lnTo>
                  <a:pt x="5109765" y="6705600"/>
                </a:lnTo>
                <a:lnTo>
                  <a:pt x="5109765" y="3117255"/>
                </a:lnTo>
                <a:lnTo>
                  <a:pt x="3993554" y="6705600"/>
                </a:lnTo>
                <a:lnTo>
                  <a:pt x="2821583" y="6705600"/>
                </a:lnTo>
                <a:lnTo>
                  <a:pt x="1748829" y="3235127"/>
                </a:lnTo>
                <a:lnTo>
                  <a:pt x="174882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16435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6" name="Freeform 2916"/>
          <p:cNvSpPr/>
          <p:nvPr/>
        </p:nvSpPr>
        <p:spPr>
          <a:xfrm>
            <a:off x="6800535" y="672648"/>
            <a:ext cx="77004" cy="93878"/>
          </a:xfrm>
          <a:custGeom>
            <a:avLst/>
            <a:gdLst/>
            <a:ahLst/>
            <a:cxnLst/>
            <a:rect l="0" t="0" r="0" b="0"/>
            <a:pathLst>
              <a:path w="5500290" h="6705600">
                <a:moveTo>
                  <a:pt x="5500290" y="0"/>
                </a:moveTo>
                <a:lnTo>
                  <a:pt x="5500290" y="6705600"/>
                </a:lnTo>
                <a:lnTo>
                  <a:pt x="3745507" y="6705600"/>
                </a:lnTo>
                <a:lnTo>
                  <a:pt x="3745507" y="1463477"/>
                </a:lnTo>
                <a:lnTo>
                  <a:pt x="2703711" y="1463477"/>
                </a:lnTo>
                <a:lnTo>
                  <a:pt x="2604492" y="3532982"/>
                </a:lnTo>
                <a:cubicBezTo>
                  <a:pt x="2542447" y="4607058"/>
                  <a:pt x="2350161" y="5401271"/>
                  <a:pt x="2027634" y="5915621"/>
                </a:cubicBezTo>
                <a:cubicBezTo>
                  <a:pt x="1705239" y="6429839"/>
                  <a:pt x="1225682" y="6693165"/>
                  <a:pt x="588962" y="6705600"/>
                </a:cubicBezTo>
                <a:lnTo>
                  <a:pt x="18454" y="6705600"/>
                </a:lnTo>
                <a:lnTo>
                  <a:pt x="0" y="5242124"/>
                </a:lnTo>
                <a:lnTo>
                  <a:pt x="198437" y="5217319"/>
                </a:lnTo>
                <a:cubicBezTo>
                  <a:pt x="434049" y="5184246"/>
                  <a:pt x="607615" y="5012796"/>
                  <a:pt x="719137" y="4702969"/>
                </a:cubicBezTo>
                <a:cubicBezTo>
                  <a:pt x="830791" y="4393142"/>
                  <a:pt x="903155" y="3885076"/>
                  <a:pt x="936228" y="3178771"/>
                </a:cubicBezTo>
                <a:lnTo>
                  <a:pt x="105410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7" name="Freeform 2917"/>
          <p:cNvSpPr/>
          <p:nvPr/>
        </p:nvSpPr>
        <p:spPr>
          <a:xfrm>
            <a:off x="6892561" y="670870"/>
            <a:ext cx="76051" cy="97434"/>
          </a:xfrm>
          <a:custGeom>
            <a:avLst/>
            <a:gdLst/>
            <a:ahLst/>
            <a:cxnLst/>
            <a:rect l="0" t="0" r="0" b="0"/>
            <a:pathLst>
              <a:path w="5432226" h="6959600">
                <a:moveTo>
                  <a:pt x="0" y="3262710"/>
                </a:moveTo>
                <a:cubicBezTo>
                  <a:pt x="0" y="2245387"/>
                  <a:pt x="239778" y="1447271"/>
                  <a:pt x="719336" y="868363"/>
                </a:cubicBezTo>
                <a:cubicBezTo>
                  <a:pt x="1198893" y="289455"/>
                  <a:pt x="1862402" y="0"/>
                  <a:pt x="2709862" y="0"/>
                </a:cubicBezTo>
                <a:cubicBezTo>
                  <a:pt x="3565657" y="0"/>
                  <a:pt x="4233333" y="289455"/>
                  <a:pt x="4712890" y="868363"/>
                </a:cubicBezTo>
                <a:cubicBezTo>
                  <a:pt x="5192448" y="1447271"/>
                  <a:pt x="5432226" y="2249488"/>
                  <a:pt x="5432226" y="3275013"/>
                </a:cubicBezTo>
                <a:lnTo>
                  <a:pt x="5432226" y="3703043"/>
                </a:lnTo>
                <a:cubicBezTo>
                  <a:pt x="5432226" y="4724467"/>
                  <a:pt x="5194498" y="5522582"/>
                  <a:pt x="4719042" y="6097390"/>
                </a:cubicBezTo>
                <a:cubicBezTo>
                  <a:pt x="4243586" y="6672197"/>
                  <a:pt x="3577960" y="6959600"/>
                  <a:pt x="2722165" y="6959600"/>
                </a:cubicBezTo>
                <a:cubicBezTo>
                  <a:pt x="1862269" y="6959600"/>
                  <a:pt x="1193601" y="6671205"/>
                  <a:pt x="716161" y="6094413"/>
                </a:cubicBezTo>
                <a:cubicBezTo>
                  <a:pt x="238720" y="5517489"/>
                  <a:pt x="0" y="4716265"/>
                  <a:pt x="0" y="3690740"/>
                </a:cubicBezTo>
                <a:close/>
                <a:moveTo>
                  <a:pt x="1761133" y="3703043"/>
                </a:moveTo>
                <a:cubicBezTo>
                  <a:pt x="1761133" y="4902531"/>
                  <a:pt x="2081477" y="5502275"/>
                  <a:pt x="2722165" y="5502275"/>
                </a:cubicBezTo>
                <a:cubicBezTo>
                  <a:pt x="3313377" y="5502275"/>
                  <a:pt x="3631737" y="5001816"/>
                  <a:pt x="3677245" y="4000897"/>
                </a:cubicBezTo>
                <a:lnTo>
                  <a:pt x="3683397" y="3262710"/>
                </a:lnTo>
                <a:cubicBezTo>
                  <a:pt x="3683397" y="2650596"/>
                  <a:pt x="3598664" y="2196704"/>
                  <a:pt x="3429198" y="1901032"/>
                </a:cubicBezTo>
                <a:cubicBezTo>
                  <a:pt x="3259733" y="1605228"/>
                  <a:pt x="3019954" y="1457325"/>
                  <a:pt x="2709862" y="1457325"/>
                </a:cubicBezTo>
                <a:cubicBezTo>
                  <a:pt x="2412206" y="1457325"/>
                  <a:pt x="2179637" y="1605228"/>
                  <a:pt x="2012156" y="1901032"/>
                </a:cubicBezTo>
                <a:cubicBezTo>
                  <a:pt x="1844807" y="2196704"/>
                  <a:pt x="1761133" y="2650596"/>
                  <a:pt x="1761133" y="326271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8" name="Freeform 2918"/>
          <p:cNvSpPr/>
          <p:nvPr/>
        </p:nvSpPr>
        <p:spPr>
          <a:xfrm>
            <a:off x="6976265" y="672648"/>
            <a:ext cx="72667" cy="93878"/>
          </a:xfrm>
          <a:custGeom>
            <a:avLst/>
            <a:gdLst/>
            <a:ahLst/>
            <a:cxnLst/>
            <a:rect l="0" t="0" r="0" b="0"/>
            <a:pathLst>
              <a:path w="5190529" h="6705600">
                <a:moveTo>
                  <a:pt x="5190529" y="1444824"/>
                </a:moveTo>
                <a:lnTo>
                  <a:pt x="3466504" y="1444824"/>
                </a:lnTo>
                <a:lnTo>
                  <a:pt x="3466504" y="6705600"/>
                </a:lnTo>
                <a:lnTo>
                  <a:pt x="1711523" y="6705600"/>
                </a:lnTo>
                <a:lnTo>
                  <a:pt x="1711523" y="1444824"/>
                </a:lnTo>
                <a:lnTo>
                  <a:pt x="0" y="1444824"/>
                </a:lnTo>
                <a:lnTo>
                  <a:pt x="0" y="0"/>
                </a:lnTo>
                <a:lnTo>
                  <a:pt x="51905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19" name="Freeform 2919"/>
          <p:cNvSpPr/>
          <p:nvPr/>
        </p:nvSpPr>
        <p:spPr>
          <a:xfrm>
            <a:off x="7058087" y="670870"/>
            <a:ext cx="72059" cy="97434"/>
          </a:xfrm>
          <a:custGeom>
            <a:avLst/>
            <a:gdLst/>
            <a:ahLst/>
            <a:cxnLst/>
            <a:rect l="0" t="0" r="0" b="0"/>
            <a:pathLst>
              <a:path w="5147072" h="6959600">
                <a:moveTo>
                  <a:pt x="3379589" y="6832600"/>
                </a:moveTo>
                <a:cubicBezTo>
                  <a:pt x="3329980" y="6729810"/>
                  <a:pt x="3280370" y="6557103"/>
                  <a:pt x="3230761" y="6314480"/>
                </a:cubicBezTo>
                <a:cubicBezTo>
                  <a:pt x="2916568" y="6744560"/>
                  <a:pt x="2490787" y="6959600"/>
                  <a:pt x="1953419" y="6959600"/>
                </a:cubicBezTo>
                <a:cubicBezTo>
                  <a:pt x="1391179" y="6959600"/>
                  <a:pt x="925049" y="6773334"/>
                  <a:pt x="555030" y="6400800"/>
                </a:cubicBezTo>
                <a:cubicBezTo>
                  <a:pt x="185010" y="6028135"/>
                  <a:pt x="0" y="5545799"/>
                  <a:pt x="0" y="4953794"/>
                </a:cubicBezTo>
                <a:cubicBezTo>
                  <a:pt x="0" y="4249870"/>
                  <a:pt x="224234" y="3705424"/>
                  <a:pt x="672703" y="3320455"/>
                </a:cubicBezTo>
                <a:cubicBezTo>
                  <a:pt x="1121304" y="2935486"/>
                  <a:pt x="1767284" y="2738835"/>
                  <a:pt x="2610644" y="2730500"/>
                </a:cubicBezTo>
                <a:lnTo>
                  <a:pt x="3144044" y="2730500"/>
                </a:lnTo>
                <a:lnTo>
                  <a:pt x="3144044" y="2192735"/>
                </a:lnTo>
                <a:cubicBezTo>
                  <a:pt x="3144044" y="1891771"/>
                  <a:pt x="3092318" y="1679509"/>
                  <a:pt x="2988866" y="1555949"/>
                </a:cubicBezTo>
                <a:cubicBezTo>
                  <a:pt x="2885546" y="1432256"/>
                  <a:pt x="2734667" y="1370410"/>
                  <a:pt x="2536230" y="1370410"/>
                </a:cubicBezTo>
                <a:cubicBezTo>
                  <a:pt x="2098080" y="1370410"/>
                  <a:pt x="1879005" y="1624807"/>
                  <a:pt x="1879005" y="2133600"/>
                </a:cubicBezTo>
                <a:lnTo>
                  <a:pt x="124023" y="2133600"/>
                </a:lnTo>
                <a:cubicBezTo>
                  <a:pt x="124023" y="1515137"/>
                  <a:pt x="356526" y="1004954"/>
                  <a:pt x="821531" y="603052"/>
                </a:cubicBezTo>
                <a:cubicBezTo>
                  <a:pt x="1286669" y="201018"/>
                  <a:pt x="1874771" y="0"/>
                  <a:pt x="2585839" y="0"/>
                </a:cubicBezTo>
                <a:cubicBezTo>
                  <a:pt x="3321777" y="0"/>
                  <a:pt x="3891293" y="191162"/>
                  <a:pt x="4294386" y="573485"/>
                </a:cubicBezTo>
                <a:cubicBezTo>
                  <a:pt x="4697479" y="955808"/>
                  <a:pt x="4899025" y="1502437"/>
                  <a:pt x="4899025" y="2213372"/>
                </a:cubicBezTo>
                <a:lnTo>
                  <a:pt x="4899025" y="5369322"/>
                </a:lnTo>
                <a:cubicBezTo>
                  <a:pt x="4907227" y="5947966"/>
                  <a:pt x="4989909" y="6400602"/>
                  <a:pt x="5147072" y="6727230"/>
                </a:cubicBezTo>
                <a:lnTo>
                  <a:pt x="5147072" y="6832600"/>
                </a:lnTo>
                <a:close/>
                <a:moveTo>
                  <a:pt x="2344142" y="5582841"/>
                </a:moveTo>
                <a:cubicBezTo>
                  <a:pt x="2538346" y="5582841"/>
                  <a:pt x="2703645" y="5543484"/>
                  <a:pt x="2840037" y="5464771"/>
                </a:cubicBezTo>
                <a:cubicBezTo>
                  <a:pt x="2976562" y="5385925"/>
                  <a:pt x="3077898" y="5292527"/>
                  <a:pt x="3144044" y="5184577"/>
                </a:cubicBezTo>
                <a:lnTo>
                  <a:pt x="3144044" y="3784799"/>
                </a:lnTo>
                <a:lnTo>
                  <a:pt x="2722364" y="3784799"/>
                </a:lnTo>
                <a:cubicBezTo>
                  <a:pt x="2424708" y="3784799"/>
                  <a:pt x="2190088" y="3880181"/>
                  <a:pt x="2018506" y="4070946"/>
                </a:cubicBezTo>
                <a:cubicBezTo>
                  <a:pt x="1846924" y="4261710"/>
                  <a:pt x="1761133" y="4516835"/>
                  <a:pt x="1761133" y="4836319"/>
                </a:cubicBezTo>
                <a:cubicBezTo>
                  <a:pt x="1761133" y="5334000"/>
                  <a:pt x="1955469" y="5582841"/>
                  <a:pt x="2344142" y="5582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20" name="Freeform 2920"/>
          <p:cNvSpPr/>
          <p:nvPr/>
        </p:nvSpPr>
        <p:spPr>
          <a:xfrm>
            <a:off x="7145906" y="672648"/>
            <a:ext cx="96106" cy="93878"/>
          </a:xfrm>
          <a:custGeom>
            <a:avLst/>
            <a:gdLst/>
            <a:ahLst/>
            <a:cxnLst/>
            <a:rect l="0" t="0" r="0" b="0"/>
            <a:pathLst>
              <a:path w="6864747" h="6705600">
                <a:moveTo>
                  <a:pt x="3404592" y="4573786"/>
                </a:moveTo>
                <a:lnTo>
                  <a:pt x="4663281" y="0"/>
                </a:lnTo>
                <a:lnTo>
                  <a:pt x="6864747" y="0"/>
                </a:lnTo>
                <a:lnTo>
                  <a:pt x="6864747" y="6705600"/>
                </a:lnTo>
                <a:lnTo>
                  <a:pt x="5109765" y="6705600"/>
                </a:lnTo>
                <a:lnTo>
                  <a:pt x="5109765" y="3117255"/>
                </a:lnTo>
                <a:lnTo>
                  <a:pt x="3993554" y="6705600"/>
                </a:lnTo>
                <a:lnTo>
                  <a:pt x="2821583" y="6705600"/>
                </a:lnTo>
                <a:lnTo>
                  <a:pt x="1748829" y="3235127"/>
                </a:lnTo>
                <a:lnTo>
                  <a:pt x="174882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16435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21" name="Freeform 2921"/>
          <p:cNvSpPr/>
          <p:nvPr/>
        </p:nvSpPr>
        <p:spPr>
          <a:xfrm>
            <a:off x="7265486" y="671684"/>
            <a:ext cx="20058" cy="95731"/>
          </a:xfrm>
          <a:custGeom>
            <a:avLst/>
            <a:gdLst/>
            <a:ahLst/>
            <a:cxnLst/>
            <a:rect l="0" t="0" r="0" b="0"/>
            <a:pathLst>
              <a:path w="1432719" h="6837957">
                <a:moveTo>
                  <a:pt x="0" y="6168231"/>
                </a:moveTo>
                <a:cubicBezTo>
                  <a:pt x="0" y="5969793"/>
                  <a:pt x="58870" y="5804429"/>
                  <a:pt x="176609" y="5672137"/>
                </a:cubicBezTo>
                <a:cubicBezTo>
                  <a:pt x="294481" y="5539846"/>
                  <a:pt x="471223" y="5473700"/>
                  <a:pt x="706834" y="5473700"/>
                </a:cubicBezTo>
                <a:cubicBezTo>
                  <a:pt x="942578" y="5473700"/>
                  <a:pt x="1121436" y="5539846"/>
                  <a:pt x="1243409" y="5672137"/>
                </a:cubicBezTo>
                <a:cubicBezTo>
                  <a:pt x="1365382" y="5804429"/>
                  <a:pt x="1426369" y="5969793"/>
                  <a:pt x="1426369" y="6168231"/>
                </a:cubicBezTo>
                <a:cubicBezTo>
                  <a:pt x="1426369" y="6358334"/>
                  <a:pt x="1365382" y="6517481"/>
                  <a:pt x="1243409" y="6645672"/>
                </a:cubicBezTo>
                <a:cubicBezTo>
                  <a:pt x="1121436" y="6773862"/>
                  <a:pt x="942578" y="6837957"/>
                  <a:pt x="706834" y="6837957"/>
                </a:cubicBezTo>
                <a:cubicBezTo>
                  <a:pt x="471223" y="6837957"/>
                  <a:pt x="294481" y="6773862"/>
                  <a:pt x="176609" y="6645672"/>
                </a:cubicBezTo>
                <a:cubicBezTo>
                  <a:pt x="58870" y="6517481"/>
                  <a:pt x="0" y="6358334"/>
                  <a:pt x="0" y="6168231"/>
                </a:cubicBezTo>
                <a:close/>
                <a:moveTo>
                  <a:pt x="6350" y="694531"/>
                </a:moveTo>
                <a:cubicBezTo>
                  <a:pt x="6350" y="496093"/>
                  <a:pt x="65220" y="330729"/>
                  <a:pt x="182959" y="198437"/>
                </a:cubicBezTo>
                <a:cubicBezTo>
                  <a:pt x="300831" y="66145"/>
                  <a:pt x="477573" y="0"/>
                  <a:pt x="713184" y="0"/>
                </a:cubicBezTo>
                <a:cubicBezTo>
                  <a:pt x="948928" y="0"/>
                  <a:pt x="1127786" y="66145"/>
                  <a:pt x="1249759" y="198437"/>
                </a:cubicBezTo>
                <a:cubicBezTo>
                  <a:pt x="1371732" y="330729"/>
                  <a:pt x="1432719" y="496093"/>
                  <a:pt x="1432719" y="694531"/>
                </a:cubicBezTo>
                <a:cubicBezTo>
                  <a:pt x="1432719" y="884634"/>
                  <a:pt x="1371732" y="1043781"/>
                  <a:pt x="1249759" y="1171972"/>
                </a:cubicBezTo>
                <a:cubicBezTo>
                  <a:pt x="1127786" y="1300162"/>
                  <a:pt x="948928" y="1364257"/>
                  <a:pt x="713184" y="1364257"/>
                </a:cubicBezTo>
                <a:cubicBezTo>
                  <a:pt x="477573" y="1364257"/>
                  <a:pt x="300831" y="1300162"/>
                  <a:pt x="182959" y="1171972"/>
                </a:cubicBezTo>
                <a:cubicBezTo>
                  <a:pt x="65220" y="1043781"/>
                  <a:pt x="6350" y="884634"/>
                  <a:pt x="6350" y="69453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22" name="Rectangle 2922"/>
          <p:cNvSpPr/>
          <p:nvPr/>
        </p:nvSpPr>
        <p:spPr>
          <a:xfrm>
            <a:off x="6185186" y="1111120"/>
            <a:ext cx="98856" cy="20013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400" b="0" i="0" spc="0" baseline="0" dirty="0">
                <a:latin typeface="Arial"/>
              </a:rPr>
              <a:t>1</a:t>
            </a:r>
          </a:p>
        </p:txBody>
      </p:sp>
      <p:sp>
        <p:nvSpPr>
          <p:cNvPr id="2923" name="Rectangle 2923"/>
          <p:cNvSpPr/>
          <p:nvPr/>
        </p:nvSpPr>
        <p:spPr>
          <a:xfrm>
            <a:off x="6185135" y="1877945"/>
            <a:ext cx="98856" cy="20013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400" b="0" i="0" spc="0" baseline="0" dirty="0">
                <a:latin typeface="Arial"/>
              </a:rPr>
              <a:t>2</a:t>
            </a:r>
          </a:p>
        </p:txBody>
      </p:sp>
      <p:sp>
        <p:nvSpPr>
          <p:cNvPr id="2924" name="Rectangle 2924"/>
          <p:cNvSpPr/>
          <p:nvPr/>
        </p:nvSpPr>
        <p:spPr>
          <a:xfrm>
            <a:off x="6185135" y="2524136"/>
            <a:ext cx="2278717" cy="320039"/>
          </a:xfrm>
          <a:prstGeom prst="rect">
            <a:avLst/>
          </a:prstGeom>
        </p:spPr>
      </p:sp>
      <p:sp>
        <p:nvSpPr>
          <p:cNvPr id="2925" name="Freeform 2925"/>
          <p:cNvSpPr/>
          <p:nvPr/>
        </p:nvSpPr>
        <p:spPr>
          <a:xfrm>
            <a:off x="6878376" y="2557525"/>
            <a:ext cx="67259" cy="99326"/>
          </a:xfrm>
          <a:custGeom>
            <a:avLst/>
            <a:gdLst/>
            <a:ahLst/>
            <a:cxnLst/>
            <a:rect l="0" t="0" r="0" b="0"/>
            <a:pathLst>
              <a:path w="6114455" h="9029700">
                <a:moveTo>
                  <a:pt x="762794" y="5356622"/>
                </a:moveTo>
                <a:lnTo>
                  <a:pt x="762794" y="9029700"/>
                </a:lnTo>
                <a:lnTo>
                  <a:pt x="0" y="9029700"/>
                </a:lnTo>
                <a:lnTo>
                  <a:pt x="0" y="0"/>
                </a:lnTo>
                <a:lnTo>
                  <a:pt x="3075781" y="0"/>
                </a:lnTo>
                <a:cubicBezTo>
                  <a:pt x="4014259" y="0"/>
                  <a:pt x="4755290" y="240044"/>
                  <a:pt x="5298877" y="720130"/>
                </a:cubicBezTo>
                <a:cubicBezTo>
                  <a:pt x="5842595" y="1200085"/>
                  <a:pt x="6114455" y="1860021"/>
                  <a:pt x="6114455" y="2699941"/>
                </a:cubicBezTo>
                <a:cubicBezTo>
                  <a:pt x="6114455" y="3548328"/>
                  <a:pt x="5852914" y="4203237"/>
                  <a:pt x="5329833" y="4664671"/>
                </a:cubicBezTo>
                <a:cubicBezTo>
                  <a:pt x="4806884" y="5125972"/>
                  <a:pt x="4049316" y="5356622"/>
                  <a:pt x="3057128" y="5356622"/>
                </a:cubicBezTo>
                <a:close/>
                <a:moveTo>
                  <a:pt x="762794" y="4711700"/>
                </a:moveTo>
                <a:lnTo>
                  <a:pt x="3075781" y="4711700"/>
                </a:lnTo>
                <a:cubicBezTo>
                  <a:pt x="3815821" y="4711700"/>
                  <a:pt x="4380111" y="4535819"/>
                  <a:pt x="4768652" y="4184055"/>
                </a:cubicBezTo>
                <a:cubicBezTo>
                  <a:pt x="5157324" y="3832159"/>
                  <a:pt x="5351661" y="3341622"/>
                  <a:pt x="5351661" y="2712443"/>
                </a:cubicBezTo>
                <a:cubicBezTo>
                  <a:pt x="5351661" y="2087365"/>
                  <a:pt x="5158383" y="1589617"/>
                  <a:pt x="4771827" y="1219200"/>
                </a:cubicBezTo>
                <a:cubicBezTo>
                  <a:pt x="4385270" y="848784"/>
                  <a:pt x="3836459" y="659408"/>
                  <a:pt x="3125391" y="651074"/>
                </a:cubicBezTo>
                <a:lnTo>
                  <a:pt x="762794" y="651074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26" name="Freeform 2926"/>
          <p:cNvSpPr/>
          <p:nvPr/>
        </p:nvSpPr>
        <p:spPr>
          <a:xfrm>
            <a:off x="6957863" y="25816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27" name="Freeform 2927"/>
          <p:cNvSpPr/>
          <p:nvPr/>
        </p:nvSpPr>
        <p:spPr>
          <a:xfrm>
            <a:off x="7032467" y="2581693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28" name="Freeform 2928"/>
          <p:cNvSpPr/>
          <p:nvPr/>
        </p:nvSpPr>
        <p:spPr>
          <a:xfrm>
            <a:off x="7107043" y="25816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29" name="Freeform 2929"/>
          <p:cNvSpPr/>
          <p:nvPr/>
        </p:nvSpPr>
        <p:spPr>
          <a:xfrm>
            <a:off x="7180684" y="25816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0" name="Freeform 2930"/>
          <p:cNvSpPr/>
          <p:nvPr/>
        </p:nvSpPr>
        <p:spPr>
          <a:xfrm>
            <a:off x="7255219" y="2550959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1" name="Freeform 2931"/>
          <p:cNvSpPr/>
          <p:nvPr/>
        </p:nvSpPr>
        <p:spPr>
          <a:xfrm>
            <a:off x="7331578" y="25816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2" name="Freeform 2932"/>
          <p:cNvSpPr/>
          <p:nvPr/>
        </p:nvSpPr>
        <p:spPr>
          <a:xfrm>
            <a:off x="7405001" y="25830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3" name="Freeform 2933"/>
          <p:cNvSpPr/>
          <p:nvPr/>
        </p:nvSpPr>
        <p:spPr>
          <a:xfrm>
            <a:off x="7479750" y="25830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4" name="Freeform 2934"/>
          <p:cNvSpPr/>
          <p:nvPr/>
        </p:nvSpPr>
        <p:spPr>
          <a:xfrm>
            <a:off x="7547816" y="25816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5" name="Freeform 2935"/>
          <p:cNvSpPr/>
          <p:nvPr/>
        </p:nvSpPr>
        <p:spPr>
          <a:xfrm>
            <a:off x="7661209" y="2583090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6" name="Freeform 2936"/>
          <p:cNvSpPr/>
          <p:nvPr/>
        </p:nvSpPr>
        <p:spPr>
          <a:xfrm>
            <a:off x="7757802" y="25816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7" name="Freeform 2937"/>
          <p:cNvSpPr/>
          <p:nvPr/>
        </p:nvSpPr>
        <p:spPr>
          <a:xfrm>
            <a:off x="7836511" y="2550959"/>
            <a:ext cx="65281" cy="107289"/>
          </a:xfrm>
          <a:custGeom>
            <a:avLst/>
            <a:gdLst/>
            <a:ahLst/>
            <a:cxnLst/>
            <a:rect l="0" t="0" r="0" b="0"/>
            <a:pathLst>
              <a:path w="5934670" h="9753600">
                <a:moveTo>
                  <a:pt x="3069629" y="3365500"/>
                </a:moveTo>
                <a:cubicBezTo>
                  <a:pt x="3921323" y="3365500"/>
                  <a:pt x="4611753" y="3643578"/>
                  <a:pt x="5140920" y="4199732"/>
                </a:cubicBezTo>
                <a:cubicBezTo>
                  <a:pt x="5670086" y="4755754"/>
                  <a:pt x="5934670" y="5492750"/>
                  <a:pt x="5934670" y="6410722"/>
                </a:cubicBezTo>
                <a:lnTo>
                  <a:pt x="5934670" y="6572052"/>
                </a:lnTo>
                <a:cubicBezTo>
                  <a:pt x="5934670" y="7179800"/>
                  <a:pt x="5813689" y="7726628"/>
                  <a:pt x="5571728" y="8212535"/>
                </a:cubicBezTo>
                <a:cubicBezTo>
                  <a:pt x="5329899" y="8698310"/>
                  <a:pt x="4982633" y="9076598"/>
                  <a:pt x="4529931" y="9347399"/>
                </a:cubicBezTo>
                <a:cubicBezTo>
                  <a:pt x="4077361" y="9618200"/>
                  <a:pt x="3557521" y="9753600"/>
                  <a:pt x="2970411" y="9753600"/>
                </a:cubicBezTo>
                <a:cubicBezTo>
                  <a:pt x="2085776" y="9753600"/>
                  <a:pt x="1369549" y="9459119"/>
                  <a:pt x="821729" y="8870157"/>
                </a:cubicBezTo>
                <a:cubicBezTo>
                  <a:pt x="273909" y="8281062"/>
                  <a:pt x="0" y="7494588"/>
                  <a:pt x="0" y="6510735"/>
                </a:cubicBezTo>
                <a:lnTo>
                  <a:pt x="0" y="5915422"/>
                </a:lnTo>
                <a:cubicBezTo>
                  <a:pt x="0" y="4526492"/>
                  <a:pt x="264583" y="3416631"/>
                  <a:pt x="793750" y="2585840"/>
                </a:cubicBezTo>
                <a:cubicBezTo>
                  <a:pt x="1322916" y="1754916"/>
                  <a:pt x="2075325" y="1258822"/>
                  <a:pt x="3050976" y="1097558"/>
                </a:cubicBezTo>
                <a:cubicBezTo>
                  <a:pt x="3667058" y="998340"/>
                  <a:pt x="4100115" y="863997"/>
                  <a:pt x="4350146" y="694532"/>
                </a:cubicBezTo>
                <a:cubicBezTo>
                  <a:pt x="4600310" y="525066"/>
                  <a:pt x="4725392" y="293555"/>
                  <a:pt x="4725392" y="0"/>
                </a:cubicBezTo>
                <a:lnTo>
                  <a:pt x="5364162" y="0"/>
                </a:lnTo>
                <a:cubicBezTo>
                  <a:pt x="5364162" y="347266"/>
                  <a:pt x="5291799" y="634604"/>
                  <a:pt x="5147071" y="862013"/>
                </a:cubicBezTo>
                <a:cubicBezTo>
                  <a:pt x="5002344" y="1089290"/>
                  <a:pt x="4785254" y="1272183"/>
                  <a:pt x="4495800" y="1410693"/>
                </a:cubicBezTo>
                <a:cubicBezTo>
                  <a:pt x="4206478" y="1549070"/>
                  <a:pt x="3764161" y="1665817"/>
                  <a:pt x="3168848" y="1760935"/>
                </a:cubicBezTo>
                <a:cubicBezTo>
                  <a:pt x="2486752" y="1868355"/>
                  <a:pt x="1937940" y="2158670"/>
                  <a:pt x="1522412" y="2631877"/>
                </a:cubicBezTo>
                <a:cubicBezTo>
                  <a:pt x="1107016" y="3104952"/>
                  <a:pt x="837274" y="3738166"/>
                  <a:pt x="713184" y="4531519"/>
                </a:cubicBezTo>
                <a:cubicBezTo>
                  <a:pt x="977767" y="4184254"/>
                  <a:pt x="1309489" y="3903134"/>
                  <a:pt x="1708348" y="3688160"/>
                </a:cubicBezTo>
                <a:cubicBezTo>
                  <a:pt x="2107340" y="3473054"/>
                  <a:pt x="2561100" y="3365500"/>
                  <a:pt x="3069629" y="3365500"/>
                </a:cubicBezTo>
                <a:close/>
                <a:moveTo>
                  <a:pt x="744140" y="6416874"/>
                </a:moveTo>
                <a:lnTo>
                  <a:pt x="744140" y="6572052"/>
                </a:lnTo>
                <a:cubicBezTo>
                  <a:pt x="744140" y="7328628"/>
                  <a:pt x="948795" y="7943652"/>
                  <a:pt x="1358106" y="8417124"/>
                </a:cubicBezTo>
                <a:cubicBezTo>
                  <a:pt x="1767416" y="8890596"/>
                  <a:pt x="2304851" y="9127332"/>
                  <a:pt x="2970411" y="9127332"/>
                </a:cubicBezTo>
                <a:cubicBezTo>
                  <a:pt x="3640203" y="9127332"/>
                  <a:pt x="4177638" y="8888545"/>
                  <a:pt x="4582715" y="8410972"/>
                </a:cubicBezTo>
                <a:cubicBezTo>
                  <a:pt x="4987925" y="7933399"/>
                  <a:pt x="5190529" y="7305940"/>
                  <a:pt x="5190529" y="6528594"/>
                </a:cubicBezTo>
                <a:lnTo>
                  <a:pt x="5190529" y="6367265"/>
                </a:lnTo>
                <a:cubicBezTo>
                  <a:pt x="5190529" y="5668500"/>
                  <a:pt x="4984816" y="5097926"/>
                  <a:pt x="4573389" y="4655543"/>
                </a:cubicBezTo>
                <a:cubicBezTo>
                  <a:pt x="4162094" y="4213027"/>
                  <a:pt x="3623600" y="3991769"/>
                  <a:pt x="2957909" y="3991769"/>
                </a:cubicBezTo>
                <a:cubicBezTo>
                  <a:pt x="2292350" y="3991769"/>
                  <a:pt x="1756965" y="4216136"/>
                  <a:pt x="1351756" y="4664869"/>
                </a:cubicBezTo>
                <a:cubicBezTo>
                  <a:pt x="946679" y="5113470"/>
                  <a:pt x="744140" y="5697472"/>
                  <a:pt x="744140" y="641687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8" name="Freeform 2938"/>
          <p:cNvSpPr/>
          <p:nvPr/>
        </p:nvSpPr>
        <p:spPr>
          <a:xfrm>
            <a:off x="7916798" y="25830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39" name="Freeform 2939"/>
          <p:cNvSpPr/>
          <p:nvPr/>
        </p:nvSpPr>
        <p:spPr>
          <a:xfrm>
            <a:off x="7987124" y="25830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0" name="Freeform 2940"/>
          <p:cNvSpPr/>
          <p:nvPr/>
        </p:nvSpPr>
        <p:spPr>
          <a:xfrm>
            <a:off x="8074162" y="2583090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1" name="Freeform 2941"/>
          <p:cNvSpPr/>
          <p:nvPr/>
        </p:nvSpPr>
        <p:spPr>
          <a:xfrm>
            <a:off x="8148561" y="25830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2" name="Freeform 2942"/>
          <p:cNvSpPr/>
          <p:nvPr/>
        </p:nvSpPr>
        <p:spPr>
          <a:xfrm>
            <a:off x="8222026" y="25816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3" name="Freeform 2943"/>
          <p:cNvSpPr/>
          <p:nvPr/>
        </p:nvSpPr>
        <p:spPr>
          <a:xfrm>
            <a:off x="8305237" y="2583090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4" name="Freeform 2944"/>
          <p:cNvSpPr/>
          <p:nvPr/>
        </p:nvSpPr>
        <p:spPr>
          <a:xfrm>
            <a:off x="8357814" y="25816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5" name="Freeform 2945"/>
          <p:cNvSpPr/>
          <p:nvPr/>
        </p:nvSpPr>
        <p:spPr>
          <a:xfrm>
            <a:off x="6192602" y="2625650"/>
            <a:ext cx="83343" cy="129971"/>
          </a:xfrm>
          <a:custGeom>
            <a:avLst/>
            <a:gdLst/>
            <a:ahLst/>
            <a:cxnLst/>
            <a:rect l="0" t="0" r="0" b="0"/>
            <a:pathLst>
              <a:path w="5953125" h="9283700">
                <a:moveTo>
                  <a:pt x="0" y="6718300"/>
                </a:moveTo>
                <a:lnTo>
                  <a:pt x="1116210" y="6565900"/>
                </a:lnTo>
                <a:cubicBezTo>
                  <a:pt x="1244401" y="7200107"/>
                  <a:pt x="1462484" y="7657108"/>
                  <a:pt x="1770459" y="7936905"/>
                </a:cubicBezTo>
                <a:cubicBezTo>
                  <a:pt x="2078434" y="8216702"/>
                  <a:pt x="2453613" y="8356600"/>
                  <a:pt x="2895996" y="8356600"/>
                </a:cubicBezTo>
                <a:cubicBezTo>
                  <a:pt x="3420930" y="8356600"/>
                  <a:pt x="3864239" y="8174567"/>
                  <a:pt x="4225925" y="7810500"/>
                </a:cubicBezTo>
                <a:cubicBezTo>
                  <a:pt x="4587742" y="7446434"/>
                  <a:pt x="4768651" y="6995518"/>
                  <a:pt x="4768651" y="6457752"/>
                </a:cubicBezTo>
                <a:cubicBezTo>
                  <a:pt x="4768651" y="5944725"/>
                  <a:pt x="4601170" y="5521722"/>
                  <a:pt x="4266207" y="5188744"/>
                </a:cubicBezTo>
                <a:cubicBezTo>
                  <a:pt x="3931377" y="4855766"/>
                  <a:pt x="3505596" y="4689277"/>
                  <a:pt x="2988865" y="4689277"/>
                </a:cubicBezTo>
                <a:cubicBezTo>
                  <a:pt x="2777992" y="4689277"/>
                  <a:pt x="2515459" y="4730618"/>
                  <a:pt x="2201267" y="4813300"/>
                </a:cubicBezTo>
                <a:lnTo>
                  <a:pt x="2325290" y="3835400"/>
                </a:lnTo>
                <a:cubicBezTo>
                  <a:pt x="2399770" y="3843603"/>
                  <a:pt x="2459765" y="3847704"/>
                  <a:pt x="2505273" y="3847704"/>
                </a:cubicBezTo>
                <a:cubicBezTo>
                  <a:pt x="2980597" y="3847704"/>
                  <a:pt x="3408428" y="3723945"/>
                  <a:pt x="3788767" y="3476427"/>
                </a:cubicBezTo>
                <a:cubicBezTo>
                  <a:pt x="4169105" y="3228909"/>
                  <a:pt x="4359275" y="2847314"/>
                  <a:pt x="4359275" y="2331641"/>
                </a:cubicBezTo>
                <a:cubicBezTo>
                  <a:pt x="4359275" y="1923124"/>
                  <a:pt x="4220765" y="1584788"/>
                  <a:pt x="3943746" y="1316633"/>
                </a:cubicBezTo>
                <a:cubicBezTo>
                  <a:pt x="3666860" y="1048478"/>
                  <a:pt x="3309275" y="914400"/>
                  <a:pt x="2870993" y="914400"/>
                </a:cubicBezTo>
                <a:cubicBezTo>
                  <a:pt x="2436944" y="914400"/>
                  <a:pt x="2075193" y="1051984"/>
                  <a:pt x="1785739" y="1327150"/>
                </a:cubicBezTo>
                <a:cubicBezTo>
                  <a:pt x="1496417" y="1602317"/>
                  <a:pt x="1310415" y="2015067"/>
                  <a:pt x="1227732" y="2565400"/>
                </a:cubicBezTo>
                <a:lnTo>
                  <a:pt x="111521" y="2362200"/>
                </a:lnTo>
                <a:cubicBezTo>
                  <a:pt x="247914" y="1612107"/>
                  <a:pt x="557940" y="1030883"/>
                  <a:pt x="1041598" y="618530"/>
                </a:cubicBezTo>
                <a:cubicBezTo>
                  <a:pt x="1525389" y="206177"/>
                  <a:pt x="2126985" y="0"/>
                  <a:pt x="2846387" y="0"/>
                </a:cubicBezTo>
                <a:cubicBezTo>
                  <a:pt x="3342481" y="0"/>
                  <a:pt x="3799284" y="106230"/>
                  <a:pt x="4216796" y="318691"/>
                </a:cubicBezTo>
                <a:cubicBezTo>
                  <a:pt x="4634309" y="531019"/>
                  <a:pt x="4953661" y="820738"/>
                  <a:pt x="5174853" y="1187847"/>
                </a:cubicBezTo>
                <a:cubicBezTo>
                  <a:pt x="5396044" y="1554824"/>
                  <a:pt x="5506640" y="1944555"/>
                  <a:pt x="5506640" y="2357041"/>
                </a:cubicBezTo>
                <a:cubicBezTo>
                  <a:pt x="5506640" y="2748889"/>
                  <a:pt x="5401204" y="3105680"/>
                  <a:pt x="5190331" y="3427413"/>
                </a:cubicBezTo>
                <a:cubicBezTo>
                  <a:pt x="4979458" y="3749014"/>
                  <a:pt x="4667316" y="4004668"/>
                  <a:pt x="4253904" y="4194374"/>
                </a:cubicBezTo>
                <a:cubicBezTo>
                  <a:pt x="4791405" y="4318464"/>
                  <a:pt x="5208984" y="4576036"/>
                  <a:pt x="5506640" y="4967090"/>
                </a:cubicBezTo>
                <a:cubicBezTo>
                  <a:pt x="5804296" y="5358144"/>
                  <a:pt x="5953125" y="5847425"/>
                  <a:pt x="5953125" y="6434932"/>
                </a:cubicBezTo>
                <a:cubicBezTo>
                  <a:pt x="5953125" y="7229343"/>
                  <a:pt x="5663736" y="7902774"/>
                  <a:pt x="5084960" y="8455224"/>
                </a:cubicBezTo>
                <a:cubicBezTo>
                  <a:pt x="4506185" y="9007542"/>
                  <a:pt x="3774479" y="9283700"/>
                  <a:pt x="2889845" y="9283700"/>
                </a:cubicBezTo>
                <a:cubicBezTo>
                  <a:pt x="2091862" y="9283700"/>
                  <a:pt x="1429345" y="9045575"/>
                  <a:pt x="902295" y="8569325"/>
                </a:cubicBezTo>
                <a:cubicBezTo>
                  <a:pt x="375245" y="8093075"/>
                  <a:pt x="74480" y="7476067"/>
                  <a:pt x="0" y="6718300"/>
                </a:cubicBezTo>
                <a:close/>
              </a:path>
            </a:pathLst>
          </a:custGeom>
          <a:solidFill>
            <a:srgbClr val="000000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6" name="Freeform 2946"/>
          <p:cNvSpPr/>
          <p:nvPr/>
        </p:nvSpPr>
        <p:spPr>
          <a:xfrm>
            <a:off x="6877012" y="2735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7" name="Freeform 2947"/>
          <p:cNvSpPr/>
          <p:nvPr/>
        </p:nvSpPr>
        <p:spPr>
          <a:xfrm>
            <a:off x="6954910" y="27340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8" name="Freeform 2948"/>
          <p:cNvSpPr/>
          <p:nvPr/>
        </p:nvSpPr>
        <p:spPr>
          <a:xfrm>
            <a:off x="7032917" y="2735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49" name="Freeform 2949"/>
          <p:cNvSpPr/>
          <p:nvPr/>
        </p:nvSpPr>
        <p:spPr>
          <a:xfrm>
            <a:off x="7103243" y="27354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0" name="Freeform 2950"/>
          <p:cNvSpPr/>
          <p:nvPr/>
        </p:nvSpPr>
        <p:spPr>
          <a:xfrm>
            <a:off x="7184893" y="27340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1" name="Freeform 2951"/>
          <p:cNvSpPr/>
          <p:nvPr/>
        </p:nvSpPr>
        <p:spPr>
          <a:xfrm>
            <a:off x="7257225" y="2735490"/>
            <a:ext cx="103137" cy="73761"/>
          </a:xfrm>
          <a:custGeom>
            <a:avLst/>
            <a:gdLst/>
            <a:ahLst/>
            <a:cxnLst/>
            <a:rect l="0" t="0" r="0" b="0"/>
            <a:pathLst>
              <a:path w="9376172" h="6705600">
                <a:moveTo>
                  <a:pt x="5946973" y="3609975"/>
                </a:moveTo>
                <a:lnTo>
                  <a:pt x="5054004" y="3609975"/>
                </a:lnTo>
                <a:lnTo>
                  <a:pt x="5054004" y="6705600"/>
                </a:lnTo>
                <a:lnTo>
                  <a:pt x="4309864" y="6705600"/>
                </a:lnTo>
                <a:lnTo>
                  <a:pt x="4309864" y="3609975"/>
                </a:lnTo>
                <a:lnTo>
                  <a:pt x="3423047" y="3609975"/>
                </a:lnTo>
                <a:lnTo>
                  <a:pt x="942578" y="6705600"/>
                </a:lnTo>
                <a:lnTo>
                  <a:pt x="0" y="6705600"/>
                </a:lnTo>
                <a:lnTo>
                  <a:pt x="2778125" y="3268861"/>
                </a:lnTo>
                <a:lnTo>
                  <a:pt x="310157" y="0"/>
                </a:lnTo>
                <a:lnTo>
                  <a:pt x="1209278" y="0"/>
                </a:lnTo>
                <a:lnTo>
                  <a:pt x="3410743" y="2946400"/>
                </a:lnTo>
                <a:lnTo>
                  <a:pt x="4309864" y="2946400"/>
                </a:lnTo>
                <a:lnTo>
                  <a:pt x="4309864" y="0"/>
                </a:lnTo>
                <a:lnTo>
                  <a:pt x="5054004" y="0"/>
                </a:lnTo>
                <a:lnTo>
                  <a:pt x="5054004" y="2946400"/>
                </a:lnTo>
                <a:lnTo>
                  <a:pt x="5959276" y="2946400"/>
                </a:lnTo>
                <a:lnTo>
                  <a:pt x="8160742" y="0"/>
                </a:lnTo>
                <a:lnTo>
                  <a:pt x="9072364" y="0"/>
                </a:lnTo>
                <a:lnTo>
                  <a:pt x="6591895" y="3268861"/>
                </a:lnTo>
                <a:lnTo>
                  <a:pt x="9376172" y="6705600"/>
                </a:lnTo>
                <a:lnTo>
                  <a:pt x="8427442" y="670560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2" name="Freeform 2952"/>
          <p:cNvSpPr/>
          <p:nvPr/>
        </p:nvSpPr>
        <p:spPr>
          <a:xfrm>
            <a:off x="7367621" y="27340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3" name="Freeform 2953"/>
          <p:cNvSpPr/>
          <p:nvPr/>
        </p:nvSpPr>
        <p:spPr>
          <a:xfrm>
            <a:off x="7444752" y="2735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4" name="Freeform 2954"/>
          <p:cNvSpPr/>
          <p:nvPr/>
        </p:nvSpPr>
        <p:spPr>
          <a:xfrm>
            <a:off x="7523264" y="2735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5" name="Freeform 2955"/>
          <p:cNvSpPr/>
          <p:nvPr/>
        </p:nvSpPr>
        <p:spPr>
          <a:xfrm>
            <a:off x="7596931" y="2735490"/>
            <a:ext cx="58117" cy="73761"/>
          </a:xfrm>
          <a:custGeom>
            <a:avLst/>
            <a:gdLst/>
            <a:ahLst/>
            <a:cxnLst/>
            <a:rect l="0" t="0" r="0" b="0"/>
            <a:pathLst>
              <a:path w="5283398" h="6705600">
                <a:moveTo>
                  <a:pt x="5283398" y="0"/>
                </a:moveTo>
                <a:lnTo>
                  <a:pt x="5283398" y="6705600"/>
                </a:lnTo>
                <a:lnTo>
                  <a:pt x="4539258" y="6705600"/>
                </a:lnTo>
                <a:lnTo>
                  <a:pt x="4539258" y="3998119"/>
                </a:lnTo>
                <a:lnTo>
                  <a:pt x="2455664" y="3998119"/>
                </a:lnTo>
                <a:lnTo>
                  <a:pt x="818555" y="6705600"/>
                </a:lnTo>
                <a:lnTo>
                  <a:pt x="0" y="6705600"/>
                </a:lnTo>
                <a:lnTo>
                  <a:pt x="1686719" y="3905250"/>
                </a:lnTo>
                <a:cubicBezTo>
                  <a:pt x="1227931" y="3785659"/>
                  <a:pt x="871405" y="3554611"/>
                  <a:pt x="617141" y="3212108"/>
                </a:cubicBezTo>
                <a:cubicBezTo>
                  <a:pt x="362876" y="2869605"/>
                  <a:pt x="235744" y="2465256"/>
                  <a:pt x="235744" y="1999060"/>
                </a:cubicBezTo>
                <a:cubicBezTo>
                  <a:pt x="235744" y="1392503"/>
                  <a:pt x="453826" y="907720"/>
                  <a:pt x="889992" y="544711"/>
                </a:cubicBezTo>
                <a:cubicBezTo>
                  <a:pt x="1326158" y="181571"/>
                  <a:pt x="1916311" y="0"/>
                  <a:pt x="2660451" y="0"/>
                </a:cubicBezTo>
                <a:close/>
                <a:moveTo>
                  <a:pt x="979884" y="2011363"/>
                </a:moveTo>
                <a:cubicBezTo>
                  <a:pt x="979884" y="2402946"/>
                  <a:pt x="1104900" y="2724481"/>
                  <a:pt x="1354931" y="2975968"/>
                </a:cubicBezTo>
                <a:cubicBezTo>
                  <a:pt x="1605095" y="3227454"/>
                  <a:pt x="1953419" y="3357298"/>
                  <a:pt x="2399903" y="3365500"/>
                </a:cubicBezTo>
                <a:lnTo>
                  <a:pt x="4539258" y="3365500"/>
                </a:lnTo>
                <a:lnTo>
                  <a:pt x="4539258" y="632619"/>
                </a:lnTo>
                <a:lnTo>
                  <a:pt x="2641798" y="632619"/>
                </a:lnTo>
                <a:cubicBezTo>
                  <a:pt x="2125067" y="632619"/>
                  <a:pt x="1718866" y="756312"/>
                  <a:pt x="1423194" y="1003697"/>
                </a:cubicBezTo>
                <a:cubicBezTo>
                  <a:pt x="1127654" y="1250950"/>
                  <a:pt x="979884" y="1586839"/>
                  <a:pt x="979884" y="2011363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6" name="Freeform 2956"/>
          <p:cNvSpPr/>
          <p:nvPr/>
        </p:nvSpPr>
        <p:spPr>
          <a:xfrm>
            <a:off x="7711440" y="2735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7" name="Freeform 2957"/>
          <p:cNvSpPr/>
          <p:nvPr/>
        </p:nvSpPr>
        <p:spPr>
          <a:xfrm>
            <a:off x="7819124" y="273409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8" name="Freeform 2958"/>
          <p:cNvSpPr/>
          <p:nvPr/>
        </p:nvSpPr>
        <p:spPr>
          <a:xfrm>
            <a:off x="7891478" y="27340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9" name="Freeform 2959"/>
          <p:cNvSpPr/>
          <p:nvPr/>
        </p:nvSpPr>
        <p:spPr>
          <a:xfrm>
            <a:off x="7970583" y="2708947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60" name="Freeform 2960"/>
          <p:cNvSpPr/>
          <p:nvPr/>
        </p:nvSpPr>
        <p:spPr>
          <a:xfrm>
            <a:off x="8040636" y="27354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61" name="Freeform 2961"/>
          <p:cNvSpPr/>
          <p:nvPr/>
        </p:nvSpPr>
        <p:spPr>
          <a:xfrm>
            <a:off x="8110108" y="27340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474652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62" name="Rectangle 2962"/>
          <p:cNvSpPr/>
          <p:nvPr/>
        </p:nvSpPr>
        <p:spPr>
          <a:xfrm>
            <a:off x="6185135" y="3436345"/>
            <a:ext cx="98856" cy="20013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400" b="0" i="0" spc="0" baseline="0" dirty="0">
                <a:latin typeface="Arial"/>
              </a:rPr>
              <a:t>4</a:t>
            </a:r>
          </a:p>
        </p:txBody>
      </p:sp>
      <p:sp>
        <p:nvSpPr>
          <p:cNvPr id="2963" name="Rectangle 2963"/>
          <p:cNvSpPr/>
          <p:nvPr/>
        </p:nvSpPr>
        <p:spPr>
          <a:xfrm>
            <a:off x="6185186" y="4477270"/>
            <a:ext cx="98856" cy="20013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400" b="0" i="0" spc="0" baseline="0" dirty="0">
                <a:latin typeface="Arial"/>
              </a:rPr>
              <a:t>5</a:t>
            </a:r>
          </a:p>
        </p:txBody>
      </p:sp>
      <p:sp>
        <p:nvSpPr>
          <p:cNvPr id="2964" name="Rectangle 2964"/>
          <p:cNvSpPr/>
          <p:nvPr/>
        </p:nvSpPr>
        <p:spPr>
          <a:xfrm>
            <a:off x="6865825" y="4257337"/>
            <a:ext cx="1161605" cy="320039"/>
          </a:xfrm>
          <a:prstGeom prst="rect">
            <a:avLst/>
          </a:prstGeom>
        </p:spPr>
      </p:sp>
      <p:sp>
        <p:nvSpPr>
          <p:cNvPr id="2965" name="Freeform 2965"/>
          <p:cNvSpPr/>
          <p:nvPr/>
        </p:nvSpPr>
        <p:spPr>
          <a:xfrm>
            <a:off x="6871965" y="4289328"/>
            <a:ext cx="70531" cy="102120"/>
          </a:xfrm>
          <a:custGeom>
            <a:avLst/>
            <a:gdLst/>
            <a:ahLst/>
            <a:cxnLst/>
            <a:rect l="0" t="0" r="0" b="0"/>
            <a:pathLst>
              <a:path w="6411913" h="9283700">
                <a:moveTo>
                  <a:pt x="5512792" y="2483644"/>
                </a:moveTo>
                <a:cubicBezTo>
                  <a:pt x="5512792" y="1916246"/>
                  <a:pt x="5308137" y="1468967"/>
                  <a:pt x="4898827" y="1141810"/>
                </a:cubicBezTo>
                <a:cubicBezTo>
                  <a:pt x="4489516" y="814652"/>
                  <a:pt x="3906639" y="651074"/>
                  <a:pt x="3150196" y="651074"/>
                </a:cubicBezTo>
                <a:cubicBezTo>
                  <a:pt x="2496939" y="651074"/>
                  <a:pt x="1957388" y="824905"/>
                  <a:pt x="1531541" y="1172568"/>
                </a:cubicBezTo>
                <a:cubicBezTo>
                  <a:pt x="1105826" y="1520230"/>
                  <a:pt x="892969" y="1960960"/>
                  <a:pt x="892969" y="2494757"/>
                </a:cubicBezTo>
                <a:lnTo>
                  <a:pt x="130175" y="2494757"/>
                </a:lnTo>
                <a:cubicBezTo>
                  <a:pt x="130175" y="2014802"/>
                  <a:pt x="260350" y="1585582"/>
                  <a:pt x="520700" y="1207096"/>
                </a:cubicBezTo>
                <a:cubicBezTo>
                  <a:pt x="781182" y="828477"/>
                  <a:pt x="1146043" y="532673"/>
                  <a:pt x="1615281" y="319683"/>
                </a:cubicBezTo>
                <a:cubicBezTo>
                  <a:pt x="2084520" y="106561"/>
                  <a:pt x="2596158" y="0"/>
                  <a:pt x="3150196" y="0"/>
                </a:cubicBezTo>
                <a:cubicBezTo>
                  <a:pt x="4125846" y="0"/>
                  <a:pt x="4890625" y="217355"/>
                  <a:pt x="5444530" y="652066"/>
                </a:cubicBezTo>
                <a:cubicBezTo>
                  <a:pt x="5998567" y="1086644"/>
                  <a:pt x="6275586" y="1703454"/>
                  <a:pt x="6275586" y="2502496"/>
                </a:cubicBezTo>
                <a:cubicBezTo>
                  <a:pt x="6275586" y="2961945"/>
                  <a:pt x="6128808" y="3371784"/>
                  <a:pt x="5835253" y="3732015"/>
                </a:cubicBezTo>
                <a:cubicBezTo>
                  <a:pt x="5541698" y="4092112"/>
                  <a:pt x="5146874" y="4359077"/>
                  <a:pt x="4650780" y="4532908"/>
                </a:cubicBezTo>
                <a:cubicBezTo>
                  <a:pt x="5824868" y="4847101"/>
                  <a:pt x="6411913" y="5572721"/>
                  <a:pt x="6411913" y="6709768"/>
                </a:cubicBezTo>
                <a:cubicBezTo>
                  <a:pt x="6411913" y="7491215"/>
                  <a:pt x="6117366" y="8115565"/>
                  <a:pt x="5528271" y="8582819"/>
                </a:cubicBezTo>
                <a:cubicBezTo>
                  <a:pt x="4939176" y="9050073"/>
                  <a:pt x="4146484" y="9283700"/>
                  <a:pt x="3150196" y="9283700"/>
                </a:cubicBezTo>
                <a:cubicBezTo>
                  <a:pt x="2546549" y="9283700"/>
                  <a:pt x="1996678" y="9168936"/>
                  <a:pt x="1500585" y="8939411"/>
                </a:cubicBezTo>
                <a:cubicBezTo>
                  <a:pt x="1004491" y="8709753"/>
                  <a:pt x="630370" y="8399463"/>
                  <a:pt x="378222" y="8008541"/>
                </a:cubicBezTo>
                <a:cubicBezTo>
                  <a:pt x="126074" y="7617487"/>
                  <a:pt x="0" y="7165446"/>
                  <a:pt x="0" y="6652419"/>
                </a:cubicBezTo>
                <a:lnTo>
                  <a:pt x="762596" y="6652419"/>
                </a:lnTo>
                <a:cubicBezTo>
                  <a:pt x="762596" y="7231724"/>
                  <a:pt x="987888" y="7708636"/>
                  <a:pt x="1438474" y="8083154"/>
                </a:cubicBezTo>
                <a:cubicBezTo>
                  <a:pt x="1889191" y="8457671"/>
                  <a:pt x="2459765" y="8644930"/>
                  <a:pt x="3150196" y="8644930"/>
                </a:cubicBezTo>
                <a:cubicBezTo>
                  <a:pt x="3931510" y="8644930"/>
                  <a:pt x="4543293" y="8472356"/>
                  <a:pt x="4985544" y="8127207"/>
                </a:cubicBezTo>
                <a:cubicBezTo>
                  <a:pt x="5427927" y="7781925"/>
                  <a:pt x="5649119" y="7317780"/>
                  <a:pt x="5649119" y="6734771"/>
                </a:cubicBezTo>
                <a:cubicBezTo>
                  <a:pt x="5649119" y="6118688"/>
                  <a:pt x="5452732" y="5658711"/>
                  <a:pt x="5059958" y="5354836"/>
                </a:cubicBezTo>
                <a:cubicBezTo>
                  <a:pt x="4667316" y="5050962"/>
                  <a:pt x="4061685" y="4894858"/>
                  <a:pt x="3243064" y="4886524"/>
                </a:cubicBezTo>
                <a:lnTo>
                  <a:pt x="2089746" y="4886524"/>
                </a:lnTo>
                <a:lnTo>
                  <a:pt x="2089746" y="4229100"/>
                </a:lnTo>
                <a:lnTo>
                  <a:pt x="3205956" y="4229100"/>
                </a:lnTo>
                <a:cubicBezTo>
                  <a:pt x="3958299" y="4225000"/>
                  <a:pt x="4530857" y="4076965"/>
                  <a:pt x="4923631" y="3784997"/>
                </a:cubicBezTo>
                <a:cubicBezTo>
                  <a:pt x="5316406" y="3493030"/>
                  <a:pt x="5512792" y="3059245"/>
                  <a:pt x="5512792" y="24836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66" name="Freeform 2966"/>
          <p:cNvSpPr/>
          <p:nvPr/>
        </p:nvSpPr>
        <p:spPr>
          <a:xfrm>
            <a:off x="6955628" y="43148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67" name="Freeform 2967"/>
          <p:cNvSpPr/>
          <p:nvPr/>
        </p:nvSpPr>
        <p:spPr>
          <a:xfrm>
            <a:off x="7034665" y="43162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68" name="Freeform 2968"/>
          <p:cNvSpPr/>
          <p:nvPr/>
        </p:nvSpPr>
        <p:spPr>
          <a:xfrm>
            <a:off x="7100654" y="43148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69" name="Freeform 2969"/>
          <p:cNvSpPr/>
          <p:nvPr/>
        </p:nvSpPr>
        <p:spPr>
          <a:xfrm>
            <a:off x="7183932" y="43162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0" name="Freeform 2970"/>
          <p:cNvSpPr/>
          <p:nvPr/>
        </p:nvSpPr>
        <p:spPr>
          <a:xfrm>
            <a:off x="7257397" y="43148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1" name="Freeform 2971"/>
          <p:cNvSpPr/>
          <p:nvPr/>
        </p:nvSpPr>
        <p:spPr>
          <a:xfrm>
            <a:off x="7328147" y="4316290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2" name="Freeform 2972"/>
          <p:cNvSpPr/>
          <p:nvPr/>
        </p:nvSpPr>
        <p:spPr>
          <a:xfrm>
            <a:off x="7411469" y="43148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3" name="Freeform 2973"/>
          <p:cNvSpPr/>
          <p:nvPr/>
        </p:nvSpPr>
        <p:spPr>
          <a:xfrm>
            <a:off x="7481137" y="43162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4" name="Freeform 2974"/>
          <p:cNvSpPr/>
          <p:nvPr/>
        </p:nvSpPr>
        <p:spPr>
          <a:xfrm>
            <a:off x="7545459" y="43148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5" name="Freeform 2975"/>
          <p:cNvSpPr/>
          <p:nvPr/>
        </p:nvSpPr>
        <p:spPr>
          <a:xfrm>
            <a:off x="7614404" y="43162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6" name="Freeform 2976"/>
          <p:cNvSpPr/>
          <p:nvPr/>
        </p:nvSpPr>
        <p:spPr>
          <a:xfrm>
            <a:off x="7701442" y="4316290"/>
            <a:ext cx="56277" cy="73761"/>
          </a:xfrm>
          <a:custGeom>
            <a:avLst/>
            <a:gdLst/>
            <a:ahLst/>
            <a:cxnLst/>
            <a:rect l="0" t="0" r="0" b="0"/>
            <a:pathLst>
              <a:path w="5116116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7" name="Freeform 2977"/>
          <p:cNvSpPr/>
          <p:nvPr/>
        </p:nvSpPr>
        <p:spPr>
          <a:xfrm>
            <a:off x="7775841" y="43162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8" name="Freeform 2978"/>
          <p:cNvSpPr/>
          <p:nvPr/>
        </p:nvSpPr>
        <p:spPr>
          <a:xfrm>
            <a:off x="7849306" y="43148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79" name="Freeform 2979"/>
          <p:cNvSpPr/>
          <p:nvPr/>
        </p:nvSpPr>
        <p:spPr>
          <a:xfrm>
            <a:off x="7927538" y="43148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0" name="Freeform 2980"/>
          <p:cNvSpPr/>
          <p:nvPr/>
        </p:nvSpPr>
        <p:spPr>
          <a:xfrm>
            <a:off x="6872511" y="4467293"/>
            <a:ext cx="56753" cy="76415"/>
          </a:xfrm>
          <a:custGeom>
            <a:avLst/>
            <a:gdLst/>
            <a:ahLst/>
            <a:cxnLst/>
            <a:rect l="0" t="0" r="0" b="0"/>
            <a:pathLst>
              <a:path w="5159375" h="6946900">
                <a:moveTo>
                  <a:pt x="4291211" y="1893491"/>
                </a:moveTo>
                <a:cubicBezTo>
                  <a:pt x="4291211" y="1487620"/>
                  <a:pt x="4140266" y="1174949"/>
                  <a:pt x="3838376" y="955477"/>
                </a:cubicBezTo>
                <a:cubicBezTo>
                  <a:pt x="3536619" y="736005"/>
                  <a:pt x="3121157" y="626269"/>
                  <a:pt x="2591990" y="626269"/>
                </a:cubicBezTo>
                <a:cubicBezTo>
                  <a:pt x="2112433" y="626269"/>
                  <a:pt x="1702130" y="749300"/>
                  <a:pt x="1361082" y="995363"/>
                </a:cubicBezTo>
                <a:cubicBezTo>
                  <a:pt x="1020034" y="1241425"/>
                  <a:pt x="849511" y="1552642"/>
                  <a:pt x="849511" y="1929011"/>
                </a:cubicBezTo>
                <a:lnTo>
                  <a:pt x="111521" y="1929011"/>
                </a:lnTo>
                <a:cubicBezTo>
                  <a:pt x="111521" y="1370740"/>
                  <a:pt x="350242" y="909704"/>
                  <a:pt x="827682" y="545902"/>
                </a:cubicBezTo>
                <a:cubicBezTo>
                  <a:pt x="1305255" y="181968"/>
                  <a:pt x="1893358" y="0"/>
                  <a:pt x="2591990" y="0"/>
                </a:cubicBezTo>
                <a:cubicBezTo>
                  <a:pt x="3361002" y="0"/>
                  <a:pt x="3960481" y="165563"/>
                  <a:pt x="4390429" y="496690"/>
                </a:cubicBezTo>
                <a:cubicBezTo>
                  <a:pt x="4820377" y="827815"/>
                  <a:pt x="5035351" y="1297583"/>
                  <a:pt x="5035351" y="1905993"/>
                </a:cubicBezTo>
                <a:cubicBezTo>
                  <a:pt x="5035351" y="2228917"/>
                  <a:pt x="4936132" y="2520752"/>
                  <a:pt x="4737695" y="2781499"/>
                </a:cubicBezTo>
                <a:cubicBezTo>
                  <a:pt x="4539257" y="3042246"/>
                  <a:pt x="4249869" y="3245049"/>
                  <a:pt x="3869531" y="3389908"/>
                </a:cubicBezTo>
                <a:cubicBezTo>
                  <a:pt x="4729427" y="3625388"/>
                  <a:pt x="5159375" y="4158324"/>
                  <a:pt x="5159375" y="4988719"/>
                </a:cubicBezTo>
                <a:cubicBezTo>
                  <a:pt x="5159375" y="5591837"/>
                  <a:pt x="4925747" y="6069013"/>
                  <a:pt x="4458493" y="6420247"/>
                </a:cubicBezTo>
                <a:cubicBezTo>
                  <a:pt x="3991371" y="6771349"/>
                  <a:pt x="3371254" y="6946900"/>
                  <a:pt x="2598142" y="6946900"/>
                </a:cubicBezTo>
                <a:cubicBezTo>
                  <a:pt x="1849900" y="6946900"/>
                  <a:pt x="1229783" y="6758782"/>
                  <a:pt x="737790" y="6382544"/>
                </a:cubicBezTo>
                <a:cubicBezTo>
                  <a:pt x="245930" y="6006174"/>
                  <a:pt x="0" y="5514049"/>
                  <a:pt x="0" y="4906169"/>
                </a:cubicBezTo>
                <a:lnTo>
                  <a:pt x="744140" y="4906169"/>
                </a:lnTo>
                <a:cubicBezTo>
                  <a:pt x="744140" y="5311511"/>
                  <a:pt x="922932" y="5649648"/>
                  <a:pt x="1280517" y="5920582"/>
                </a:cubicBezTo>
                <a:cubicBezTo>
                  <a:pt x="1638101" y="6191383"/>
                  <a:pt x="2077309" y="6326783"/>
                  <a:pt x="2598142" y="6326783"/>
                </a:cubicBezTo>
                <a:cubicBezTo>
                  <a:pt x="3164615" y="6326783"/>
                  <a:pt x="3607990" y="6208052"/>
                  <a:pt x="3928268" y="5970588"/>
                </a:cubicBezTo>
                <a:cubicBezTo>
                  <a:pt x="4248679" y="5733124"/>
                  <a:pt x="4408884" y="5409936"/>
                  <a:pt x="4408884" y="5001022"/>
                </a:cubicBezTo>
                <a:cubicBezTo>
                  <a:pt x="4408884" y="4550834"/>
                  <a:pt x="4262106" y="4226653"/>
                  <a:pt x="3968551" y="4028480"/>
                </a:cubicBezTo>
                <a:cubicBezTo>
                  <a:pt x="3675128" y="3830175"/>
                  <a:pt x="3226593" y="3731022"/>
                  <a:pt x="2622946" y="3731022"/>
                </a:cubicBezTo>
                <a:lnTo>
                  <a:pt x="1599803" y="3731022"/>
                </a:lnTo>
                <a:lnTo>
                  <a:pt x="1599803" y="3086100"/>
                </a:lnTo>
                <a:lnTo>
                  <a:pt x="2746970" y="3086100"/>
                </a:lnTo>
                <a:cubicBezTo>
                  <a:pt x="3776464" y="3061230"/>
                  <a:pt x="4291211" y="2663693"/>
                  <a:pt x="4291211" y="1893491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1" name="Freeform 2981"/>
          <p:cNvSpPr/>
          <p:nvPr/>
        </p:nvSpPr>
        <p:spPr>
          <a:xfrm>
            <a:off x="6943334" y="44672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2" name="Freeform 2982"/>
          <p:cNvSpPr/>
          <p:nvPr/>
        </p:nvSpPr>
        <p:spPr>
          <a:xfrm>
            <a:off x="7022371" y="44686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3" name="Freeform 2983"/>
          <p:cNvSpPr/>
          <p:nvPr/>
        </p:nvSpPr>
        <p:spPr>
          <a:xfrm>
            <a:off x="7094190" y="44672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4" name="Freeform 2984"/>
          <p:cNvSpPr/>
          <p:nvPr/>
        </p:nvSpPr>
        <p:spPr>
          <a:xfrm>
            <a:off x="7167151" y="44672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5" name="Freeform 2985"/>
          <p:cNvSpPr/>
          <p:nvPr/>
        </p:nvSpPr>
        <p:spPr>
          <a:xfrm>
            <a:off x="7244283" y="44686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6" name="Freeform 2986"/>
          <p:cNvSpPr/>
          <p:nvPr/>
        </p:nvSpPr>
        <p:spPr>
          <a:xfrm>
            <a:off x="7314609" y="44686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7" name="Freeform 2987"/>
          <p:cNvSpPr/>
          <p:nvPr/>
        </p:nvSpPr>
        <p:spPr>
          <a:xfrm>
            <a:off x="7396259" y="44672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8" name="Freeform 2988"/>
          <p:cNvSpPr/>
          <p:nvPr/>
        </p:nvSpPr>
        <p:spPr>
          <a:xfrm>
            <a:off x="7473391" y="44686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89" name="Freeform 2989"/>
          <p:cNvSpPr/>
          <p:nvPr/>
        </p:nvSpPr>
        <p:spPr>
          <a:xfrm>
            <a:off x="7551902" y="44686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90" name="Freeform 2990"/>
          <p:cNvSpPr/>
          <p:nvPr/>
        </p:nvSpPr>
        <p:spPr>
          <a:xfrm>
            <a:off x="7625367" y="44672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91" name="Rectangle 2991"/>
          <p:cNvSpPr/>
          <p:nvPr/>
        </p:nvSpPr>
        <p:spPr>
          <a:xfrm>
            <a:off x="6865825" y="4562137"/>
            <a:ext cx="1923529" cy="320039"/>
          </a:xfrm>
          <a:prstGeom prst="rect">
            <a:avLst/>
          </a:prstGeom>
        </p:spPr>
      </p:sp>
      <p:sp>
        <p:nvSpPr>
          <p:cNvPr id="2992" name="Freeform 2992"/>
          <p:cNvSpPr/>
          <p:nvPr/>
        </p:nvSpPr>
        <p:spPr>
          <a:xfrm>
            <a:off x="6877352" y="4621090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93" name="Freeform 2993"/>
          <p:cNvSpPr/>
          <p:nvPr/>
        </p:nvSpPr>
        <p:spPr>
          <a:xfrm>
            <a:off x="6973946" y="46196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94" name="Freeform 2994"/>
          <p:cNvSpPr/>
          <p:nvPr/>
        </p:nvSpPr>
        <p:spPr>
          <a:xfrm>
            <a:off x="7041921" y="46210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95" name="Freeform 2995"/>
          <p:cNvSpPr/>
          <p:nvPr/>
        </p:nvSpPr>
        <p:spPr>
          <a:xfrm>
            <a:off x="7108896" y="46196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96" name="Freeform 2996"/>
          <p:cNvSpPr/>
          <p:nvPr/>
        </p:nvSpPr>
        <p:spPr>
          <a:xfrm>
            <a:off x="7179646" y="4621090"/>
            <a:ext cx="71419" cy="95415"/>
          </a:xfrm>
          <a:custGeom>
            <a:avLst/>
            <a:gdLst/>
            <a:ahLst/>
            <a:cxnLst/>
            <a:rect l="0" t="0" r="0" b="0"/>
            <a:pathLst>
              <a:path w="6492677" h="8674100">
                <a:moveTo>
                  <a:pt x="489943" y="6079332"/>
                </a:moveTo>
                <a:lnTo>
                  <a:pt x="818555" y="5651699"/>
                </a:lnTo>
                <a:cubicBezTo>
                  <a:pt x="1339520" y="4945261"/>
                  <a:pt x="1639227" y="3912394"/>
                  <a:pt x="1717675" y="2553097"/>
                </a:cubicBezTo>
                <a:lnTo>
                  <a:pt x="1835547" y="0"/>
                </a:lnTo>
                <a:lnTo>
                  <a:pt x="5798146" y="0"/>
                </a:lnTo>
                <a:lnTo>
                  <a:pt x="5798146" y="6079332"/>
                </a:lnTo>
                <a:lnTo>
                  <a:pt x="6492677" y="6079332"/>
                </a:lnTo>
                <a:lnTo>
                  <a:pt x="6492677" y="8674100"/>
                </a:lnTo>
                <a:lnTo>
                  <a:pt x="5754688" y="8674100"/>
                </a:lnTo>
                <a:lnTo>
                  <a:pt x="5754688" y="6705600"/>
                </a:lnTo>
                <a:lnTo>
                  <a:pt x="713185" y="6705600"/>
                </a:lnTo>
                <a:lnTo>
                  <a:pt x="713185" y="8674100"/>
                </a:lnTo>
                <a:lnTo>
                  <a:pt x="0" y="8674100"/>
                </a:lnTo>
                <a:lnTo>
                  <a:pt x="6152" y="6079332"/>
                </a:lnTo>
                <a:close/>
                <a:moveTo>
                  <a:pt x="1345605" y="6079332"/>
                </a:moveTo>
                <a:lnTo>
                  <a:pt x="5054005" y="6079332"/>
                </a:lnTo>
                <a:lnTo>
                  <a:pt x="5054005" y="694532"/>
                </a:lnTo>
                <a:lnTo>
                  <a:pt x="2542580" y="694532"/>
                </a:lnTo>
                <a:lnTo>
                  <a:pt x="2461816" y="2435821"/>
                </a:lnTo>
                <a:cubicBezTo>
                  <a:pt x="2387468" y="4034433"/>
                  <a:pt x="2015398" y="5248937"/>
                  <a:pt x="1345605" y="6079332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97" name="Freeform 2997"/>
          <p:cNvSpPr/>
          <p:nvPr/>
        </p:nvSpPr>
        <p:spPr>
          <a:xfrm>
            <a:off x="7267333" y="46210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98" name="Freeform 2998"/>
          <p:cNvSpPr/>
          <p:nvPr/>
        </p:nvSpPr>
        <p:spPr>
          <a:xfrm>
            <a:off x="7345777" y="46210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99" name="Freeform 2999"/>
          <p:cNvSpPr/>
          <p:nvPr/>
        </p:nvSpPr>
        <p:spPr>
          <a:xfrm>
            <a:off x="7418209" y="46210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0" name="Freeform 3000"/>
          <p:cNvSpPr/>
          <p:nvPr/>
        </p:nvSpPr>
        <p:spPr>
          <a:xfrm>
            <a:off x="7604073" y="46210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1" name="Freeform 3001"/>
          <p:cNvSpPr/>
          <p:nvPr/>
        </p:nvSpPr>
        <p:spPr>
          <a:xfrm>
            <a:off x="7668395" y="46196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2" name="Freeform 3002"/>
          <p:cNvSpPr/>
          <p:nvPr/>
        </p:nvSpPr>
        <p:spPr>
          <a:xfrm>
            <a:off x="7737614" y="4621090"/>
            <a:ext cx="61256" cy="73761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3" name="Freeform 3003"/>
          <p:cNvSpPr/>
          <p:nvPr/>
        </p:nvSpPr>
        <p:spPr>
          <a:xfrm>
            <a:off x="7813420" y="46210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4" name="Freeform 3004"/>
          <p:cNvSpPr/>
          <p:nvPr/>
        </p:nvSpPr>
        <p:spPr>
          <a:xfrm>
            <a:off x="7886885" y="46196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5" name="Freeform 3005"/>
          <p:cNvSpPr/>
          <p:nvPr/>
        </p:nvSpPr>
        <p:spPr>
          <a:xfrm>
            <a:off x="7961000" y="4621090"/>
            <a:ext cx="64392" cy="73761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6" name="Freeform 3006"/>
          <p:cNvSpPr/>
          <p:nvPr/>
        </p:nvSpPr>
        <p:spPr>
          <a:xfrm>
            <a:off x="8042651" y="46196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7" name="Freeform 3007"/>
          <p:cNvSpPr/>
          <p:nvPr/>
        </p:nvSpPr>
        <p:spPr>
          <a:xfrm>
            <a:off x="8125862" y="4621090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8" name="Freeform 3008"/>
          <p:cNvSpPr/>
          <p:nvPr/>
        </p:nvSpPr>
        <p:spPr>
          <a:xfrm>
            <a:off x="8184743" y="46210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9" name="Freeform 3009"/>
          <p:cNvSpPr/>
          <p:nvPr/>
        </p:nvSpPr>
        <p:spPr>
          <a:xfrm>
            <a:off x="8259572" y="4621090"/>
            <a:ext cx="55661" cy="73761"/>
          </a:xfrm>
          <a:custGeom>
            <a:avLst/>
            <a:gdLst/>
            <a:ahLst/>
            <a:cxnLst/>
            <a:rect l="0" t="0" r="0" b="0"/>
            <a:pathLst>
              <a:path w="5060156" h="6705600">
                <a:moveTo>
                  <a:pt x="5060156" y="6705600"/>
                </a:moveTo>
                <a:lnTo>
                  <a:pt x="4316015" y="6705600"/>
                </a:lnTo>
                <a:lnTo>
                  <a:pt x="4316015" y="3885208"/>
                </a:lnTo>
                <a:cubicBezTo>
                  <a:pt x="3704166" y="4108517"/>
                  <a:pt x="3119172" y="4220171"/>
                  <a:pt x="2561034" y="4220171"/>
                </a:cubicBezTo>
                <a:cubicBezTo>
                  <a:pt x="1672166" y="4220171"/>
                  <a:pt x="1027244" y="4024974"/>
                  <a:pt x="626268" y="3634582"/>
                </a:cubicBezTo>
                <a:cubicBezTo>
                  <a:pt x="225292" y="3244189"/>
                  <a:pt x="16536" y="2635846"/>
                  <a:pt x="0" y="1809552"/>
                </a:cubicBezTo>
                <a:lnTo>
                  <a:pt x="0" y="0"/>
                </a:lnTo>
                <a:lnTo>
                  <a:pt x="737790" y="0"/>
                </a:lnTo>
                <a:lnTo>
                  <a:pt x="737790" y="1772047"/>
                </a:lnTo>
                <a:cubicBezTo>
                  <a:pt x="746125" y="2412339"/>
                  <a:pt x="887743" y="2873971"/>
                  <a:pt x="1162645" y="3156943"/>
                </a:cubicBezTo>
                <a:cubicBezTo>
                  <a:pt x="1437547" y="3439915"/>
                  <a:pt x="1903677" y="3581400"/>
                  <a:pt x="2561034" y="3581400"/>
                </a:cubicBezTo>
                <a:cubicBezTo>
                  <a:pt x="3160447" y="3564864"/>
                  <a:pt x="3745441" y="3457443"/>
                  <a:pt x="4316015" y="3259138"/>
                </a:cubicBezTo>
                <a:lnTo>
                  <a:pt x="4316015" y="0"/>
                </a:lnTo>
                <a:lnTo>
                  <a:pt x="5060156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0" name="Freeform 3010"/>
          <p:cNvSpPr/>
          <p:nvPr/>
        </p:nvSpPr>
        <p:spPr>
          <a:xfrm>
            <a:off x="8332528" y="46196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1" name="Freeform 3011"/>
          <p:cNvSpPr/>
          <p:nvPr/>
        </p:nvSpPr>
        <p:spPr>
          <a:xfrm>
            <a:off x="8404886" y="461969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2" name="Freeform 3012"/>
          <p:cNvSpPr/>
          <p:nvPr/>
        </p:nvSpPr>
        <p:spPr>
          <a:xfrm>
            <a:off x="8481538" y="46210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3" name="Freeform 3013"/>
          <p:cNvSpPr/>
          <p:nvPr/>
        </p:nvSpPr>
        <p:spPr>
          <a:xfrm>
            <a:off x="8547527" y="46196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4" name="Freeform 3014"/>
          <p:cNvSpPr/>
          <p:nvPr/>
        </p:nvSpPr>
        <p:spPr>
          <a:xfrm>
            <a:off x="8630738" y="4621090"/>
            <a:ext cx="45498" cy="73761"/>
          </a:xfrm>
          <a:custGeom>
            <a:avLst/>
            <a:gdLst/>
            <a:ahLst/>
            <a:cxnLst/>
            <a:rect l="0" t="0" r="0" b="0"/>
            <a:pathLst>
              <a:path w="4136231" h="6705600">
                <a:moveTo>
                  <a:pt x="4136231" y="638771"/>
                </a:moveTo>
                <a:lnTo>
                  <a:pt x="744141" y="638771"/>
                </a:lnTo>
                <a:lnTo>
                  <a:pt x="7441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4136231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5" name="Freeform 3015"/>
          <p:cNvSpPr/>
          <p:nvPr/>
        </p:nvSpPr>
        <p:spPr>
          <a:xfrm>
            <a:off x="8683316" y="46196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6" name="Freeform 3016"/>
          <p:cNvSpPr/>
          <p:nvPr/>
        </p:nvSpPr>
        <p:spPr>
          <a:xfrm>
            <a:off x="6873397" y="4742477"/>
            <a:ext cx="86083" cy="133134"/>
          </a:xfrm>
          <a:custGeom>
            <a:avLst/>
            <a:gdLst/>
            <a:ahLst/>
            <a:cxnLst/>
            <a:rect l="0" t="0" r="0" b="0"/>
            <a:pathLst>
              <a:path w="7825780" h="12103100">
                <a:moveTo>
                  <a:pt x="0" y="6224786"/>
                </a:moveTo>
                <a:cubicBezTo>
                  <a:pt x="0" y="5134174"/>
                  <a:pt x="213916" y="4272823"/>
                  <a:pt x="641747" y="3640733"/>
                </a:cubicBezTo>
                <a:cubicBezTo>
                  <a:pt x="1069711" y="3008511"/>
                  <a:pt x="1661914" y="2692400"/>
                  <a:pt x="2418358" y="2692400"/>
                </a:cubicBezTo>
                <a:cubicBezTo>
                  <a:pt x="2852539" y="2692400"/>
                  <a:pt x="3220509" y="2789569"/>
                  <a:pt x="3522266" y="2983905"/>
                </a:cubicBezTo>
                <a:lnTo>
                  <a:pt x="3522266" y="0"/>
                </a:lnTo>
                <a:lnTo>
                  <a:pt x="4260255" y="0"/>
                </a:lnTo>
                <a:lnTo>
                  <a:pt x="4260255" y="3008710"/>
                </a:lnTo>
                <a:cubicBezTo>
                  <a:pt x="4566113" y="2797837"/>
                  <a:pt x="4946452" y="2692400"/>
                  <a:pt x="5401271" y="2692400"/>
                </a:cubicBezTo>
                <a:cubicBezTo>
                  <a:pt x="6116439" y="2692400"/>
                  <a:pt x="6688997" y="2979540"/>
                  <a:pt x="7118946" y="3553818"/>
                </a:cubicBezTo>
                <a:cubicBezTo>
                  <a:pt x="7548894" y="4128096"/>
                  <a:pt x="7782455" y="4927534"/>
                  <a:pt x="7819628" y="5952133"/>
                </a:cubicBezTo>
                <a:lnTo>
                  <a:pt x="7825780" y="6354961"/>
                </a:lnTo>
                <a:cubicBezTo>
                  <a:pt x="7825780" y="7375459"/>
                  <a:pt x="7610806" y="8180123"/>
                  <a:pt x="7180858" y="8768954"/>
                </a:cubicBezTo>
                <a:cubicBezTo>
                  <a:pt x="6750910" y="9357652"/>
                  <a:pt x="6161816" y="9652000"/>
                  <a:pt x="5413574" y="9652000"/>
                </a:cubicBezTo>
                <a:cubicBezTo>
                  <a:pt x="4967089" y="9652000"/>
                  <a:pt x="4582650" y="9554831"/>
                  <a:pt x="4260255" y="9360496"/>
                </a:cubicBezTo>
                <a:lnTo>
                  <a:pt x="4260255" y="12103100"/>
                </a:lnTo>
                <a:lnTo>
                  <a:pt x="3522266" y="12103100"/>
                </a:lnTo>
                <a:lnTo>
                  <a:pt x="3522266" y="9366846"/>
                </a:lnTo>
                <a:cubicBezTo>
                  <a:pt x="3203972" y="9556948"/>
                  <a:pt x="2831902" y="9652000"/>
                  <a:pt x="2406055" y="9652000"/>
                </a:cubicBezTo>
                <a:cubicBezTo>
                  <a:pt x="1699088" y="9652000"/>
                  <a:pt x="1132681" y="9384507"/>
                  <a:pt x="706835" y="8849519"/>
                </a:cubicBezTo>
                <a:cubicBezTo>
                  <a:pt x="281120" y="8314399"/>
                  <a:pt x="47559" y="7573765"/>
                  <a:pt x="6152" y="6627615"/>
                </a:cubicBezTo>
                <a:close/>
                <a:moveTo>
                  <a:pt x="7087989" y="6224985"/>
                </a:moveTo>
                <a:cubicBezTo>
                  <a:pt x="7087989" y="5324475"/>
                  <a:pt x="6925667" y="4616054"/>
                  <a:pt x="6601024" y="4099719"/>
                </a:cubicBezTo>
                <a:cubicBezTo>
                  <a:pt x="6276512" y="3583253"/>
                  <a:pt x="5822818" y="3325019"/>
                  <a:pt x="5239941" y="3325019"/>
                </a:cubicBezTo>
                <a:cubicBezTo>
                  <a:pt x="4818327" y="3325019"/>
                  <a:pt x="4491765" y="3415904"/>
                  <a:pt x="4260255" y="3597672"/>
                </a:cubicBezTo>
                <a:lnTo>
                  <a:pt x="4260255" y="8784035"/>
                </a:lnTo>
                <a:cubicBezTo>
                  <a:pt x="4520605" y="8945166"/>
                  <a:pt x="4851334" y="9025732"/>
                  <a:pt x="5252442" y="9025732"/>
                </a:cubicBezTo>
                <a:cubicBezTo>
                  <a:pt x="5831219" y="9025732"/>
                  <a:pt x="6281804" y="8793361"/>
                  <a:pt x="6604199" y="8328621"/>
                </a:cubicBezTo>
                <a:cubicBezTo>
                  <a:pt x="6926725" y="7863880"/>
                  <a:pt x="7087989" y="7162668"/>
                  <a:pt x="7087989" y="6224985"/>
                </a:cubicBezTo>
                <a:close/>
                <a:moveTo>
                  <a:pt x="744141" y="6355160"/>
                </a:moveTo>
                <a:cubicBezTo>
                  <a:pt x="744141" y="7197858"/>
                  <a:pt x="899121" y="7853628"/>
                  <a:pt x="1209080" y="8322469"/>
                </a:cubicBezTo>
                <a:cubicBezTo>
                  <a:pt x="1519172" y="8791311"/>
                  <a:pt x="1965722" y="9025732"/>
                  <a:pt x="2548731" y="9025732"/>
                </a:cubicBezTo>
                <a:cubicBezTo>
                  <a:pt x="2937272" y="9025732"/>
                  <a:pt x="3261784" y="8941065"/>
                  <a:pt x="3522266" y="8771732"/>
                </a:cubicBezTo>
                <a:lnTo>
                  <a:pt x="3522266" y="3579019"/>
                </a:lnTo>
                <a:cubicBezTo>
                  <a:pt x="3282421" y="3409686"/>
                  <a:pt x="2962010" y="3325019"/>
                  <a:pt x="2561035" y="3325019"/>
                </a:cubicBezTo>
                <a:cubicBezTo>
                  <a:pt x="1982258" y="3325019"/>
                  <a:pt x="1534716" y="3582194"/>
                  <a:pt x="1218406" y="4096544"/>
                </a:cubicBezTo>
                <a:cubicBezTo>
                  <a:pt x="902229" y="4610762"/>
                  <a:pt x="744141" y="5363634"/>
                  <a:pt x="744141" y="6355160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7" name="Freeform 3017"/>
          <p:cNvSpPr/>
          <p:nvPr/>
        </p:nvSpPr>
        <p:spPr>
          <a:xfrm>
            <a:off x="6973108" y="47720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8" name="Freeform 3018"/>
          <p:cNvSpPr/>
          <p:nvPr/>
        </p:nvSpPr>
        <p:spPr>
          <a:xfrm>
            <a:off x="7055773" y="4772093"/>
            <a:ext cx="59413" cy="103517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19" name="Freeform 3019"/>
          <p:cNvSpPr/>
          <p:nvPr/>
        </p:nvSpPr>
        <p:spPr>
          <a:xfrm>
            <a:off x="7129007" y="4772093"/>
            <a:ext cx="59889" cy="76555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0" name="Freeform 3020"/>
          <p:cNvSpPr/>
          <p:nvPr/>
        </p:nvSpPr>
        <p:spPr>
          <a:xfrm>
            <a:off x="7201360" y="47720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1" name="Freeform 3021"/>
          <p:cNvSpPr/>
          <p:nvPr/>
        </p:nvSpPr>
        <p:spPr>
          <a:xfrm>
            <a:off x="7280465" y="4746947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2" name="Freeform 3022"/>
          <p:cNvSpPr/>
          <p:nvPr/>
        </p:nvSpPr>
        <p:spPr>
          <a:xfrm>
            <a:off x="7350518" y="47734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3" name="Freeform 3023"/>
          <p:cNvSpPr/>
          <p:nvPr/>
        </p:nvSpPr>
        <p:spPr>
          <a:xfrm>
            <a:off x="7419991" y="4772093"/>
            <a:ext cx="59141" cy="76555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4" name="Freeform 3024"/>
          <p:cNvSpPr/>
          <p:nvPr/>
        </p:nvSpPr>
        <p:spPr>
          <a:xfrm>
            <a:off x="7532975" y="4773490"/>
            <a:ext cx="60162" cy="73761"/>
          </a:xfrm>
          <a:custGeom>
            <a:avLst/>
            <a:gdLst/>
            <a:ahLst/>
            <a:cxnLst/>
            <a:rect l="0" t="0" r="0" b="0"/>
            <a:pathLst>
              <a:path w="5469335" h="6705600">
                <a:moveTo>
                  <a:pt x="1779786" y="3629224"/>
                </a:moveTo>
                <a:lnTo>
                  <a:pt x="750292" y="3629224"/>
                </a:lnTo>
                <a:lnTo>
                  <a:pt x="750292" y="6705600"/>
                </a:lnTo>
                <a:lnTo>
                  <a:pt x="0" y="6705600"/>
                </a:lnTo>
                <a:lnTo>
                  <a:pt x="0" y="0"/>
                </a:lnTo>
                <a:lnTo>
                  <a:pt x="750292" y="0"/>
                </a:lnTo>
                <a:lnTo>
                  <a:pt x="750292" y="2971800"/>
                </a:lnTo>
                <a:lnTo>
                  <a:pt x="1767285" y="2971800"/>
                </a:lnTo>
                <a:lnTo>
                  <a:pt x="4229100" y="0"/>
                </a:lnTo>
                <a:lnTo>
                  <a:pt x="5165527" y="0"/>
                </a:lnTo>
                <a:lnTo>
                  <a:pt x="2412206" y="3250804"/>
                </a:lnTo>
                <a:lnTo>
                  <a:pt x="5469335" y="6705600"/>
                </a:lnTo>
                <a:lnTo>
                  <a:pt x="4489649" y="670560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5" name="Freeform 3025"/>
          <p:cNvSpPr/>
          <p:nvPr/>
        </p:nvSpPr>
        <p:spPr>
          <a:xfrm>
            <a:off x="7598964" y="4772093"/>
            <a:ext cx="65892" cy="76555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6" name="Freeform 3026"/>
          <p:cNvSpPr/>
          <p:nvPr/>
        </p:nvSpPr>
        <p:spPr>
          <a:xfrm>
            <a:off x="7682583" y="4773490"/>
            <a:ext cx="79399" cy="73761"/>
          </a:xfrm>
          <a:custGeom>
            <a:avLst/>
            <a:gdLst/>
            <a:ahLst/>
            <a:cxnLst/>
            <a:rect l="0" t="0" r="0" b="0"/>
            <a:pathLst>
              <a:path w="7218164" h="6705600">
                <a:moveTo>
                  <a:pt x="3633986" y="5701705"/>
                </a:moveTo>
                <a:lnTo>
                  <a:pt x="6300391" y="0"/>
                </a:lnTo>
                <a:lnTo>
                  <a:pt x="7218164" y="0"/>
                </a:lnTo>
                <a:lnTo>
                  <a:pt x="7218164" y="6705600"/>
                </a:lnTo>
                <a:lnTo>
                  <a:pt x="6474023" y="6705600"/>
                </a:lnTo>
                <a:lnTo>
                  <a:pt x="6474023" y="1202333"/>
                </a:lnTo>
                <a:lnTo>
                  <a:pt x="3894336" y="6705600"/>
                </a:lnTo>
                <a:lnTo>
                  <a:pt x="3367286" y="6705600"/>
                </a:lnTo>
                <a:lnTo>
                  <a:pt x="737989" y="1078310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97373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7" name="Freeform 3027"/>
          <p:cNvSpPr/>
          <p:nvPr/>
        </p:nvSpPr>
        <p:spPr>
          <a:xfrm>
            <a:off x="7784224" y="4773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8" name="Freeform 3028"/>
          <p:cNvSpPr/>
          <p:nvPr/>
        </p:nvSpPr>
        <p:spPr>
          <a:xfrm>
            <a:off x="7857688" y="47720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29" name="Freeform 3029"/>
          <p:cNvSpPr/>
          <p:nvPr/>
        </p:nvSpPr>
        <p:spPr>
          <a:xfrm>
            <a:off x="7925663" y="4773490"/>
            <a:ext cx="60913" cy="73761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30" name="Freeform 3030"/>
          <p:cNvSpPr/>
          <p:nvPr/>
        </p:nvSpPr>
        <p:spPr>
          <a:xfrm>
            <a:off x="7989984" y="4772093"/>
            <a:ext cx="60776" cy="76555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31" name="Freeform 3031"/>
          <p:cNvSpPr/>
          <p:nvPr/>
        </p:nvSpPr>
        <p:spPr>
          <a:xfrm>
            <a:off x="8067116" y="4773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32" name="Freeform 3032"/>
          <p:cNvSpPr/>
          <p:nvPr/>
        </p:nvSpPr>
        <p:spPr>
          <a:xfrm>
            <a:off x="8145627" y="4773490"/>
            <a:ext cx="63642" cy="95694"/>
          </a:xfrm>
          <a:custGeom>
            <a:avLst/>
            <a:gdLst/>
            <a:ahLst/>
            <a:cxnLst/>
            <a:rect l="0" t="0" r="0" b="0"/>
            <a:pathLst>
              <a:path w="5785643" h="8699500">
                <a:moveTo>
                  <a:pt x="0" y="0"/>
                </a:moveTo>
                <a:lnTo>
                  <a:pt x="744140" y="0"/>
                </a:lnTo>
                <a:lnTo>
                  <a:pt x="744140" y="6079332"/>
                </a:lnTo>
                <a:lnTo>
                  <a:pt x="4359473" y="6079332"/>
                </a:lnTo>
                <a:lnTo>
                  <a:pt x="4359473" y="0"/>
                </a:lnTo>
                <a:lnTo>
                  <a:pt x="5103614" y="0"/>
                </a:lnTo>
                <a:lnTo>
                  <a:pt x="5103614" y="6079332"/>
                </a:lnTo>
                <a:lnTo>
                  <a:pt x="5785643" y="6079332"/>
                </a:lnTo>
                <a:lnTo>
                  <a:pt x="5729883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33" name="Freeform 3033"/>
          <p:cNvSpPr/>
          <p:nvPr/>
        </p:nvSpPr>
        <p:spPr>
          <a:xfrm>
            <a:off x="8225117" y="4773490"/>
            <a:ext cx="56139" cy="73761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34" name="Freeform 3034"/>
          <p:cNvSpPr/>
          <p:nvPr/>
        </p:nvSpPr>
        <p:spPr>
          <a:xfrm>
            <a:off x="8303628" y="4746947"/>
            <a:ext cx="56139" cy="100304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35" name="Freeform 3035"/>
          <p:cNvSpPr/>
          <p:nvPr/>
        </p:nvSpPr>
        <p:spPr>
          <a:xfrm>
            <a:off x="8410902" y="4746528"/>
            <a:ext cx="71214" cy="102120"/>
          </a:xfrm>
          <a:custGeom>
            <a:avLst/>
            <a:gdLst/>
            <a:ahLst/>
            <a:cxnLst/>
            <a:rect l="0" t="0" r="0" b="0"/>
            <a:pathLst>
              <a:path w="6474023" h="9283700">
                <a:moveTo>
                  <a:pt x="5705078" y="6938169"/>
                </a:moveTo>
                <a:cubicBezTo>
                  <a:pt x="5705078" y="6437445"/>
                  <a:pt x="5529394" y="6041232"/>
                  <a:pt x="5178028" y="5749529"/>
                </a:cubicBezTo>
                <a:cubicBezTo>
                  <a:pt x="4826661" y="5457825"/>
                  <a:pt x="4183790" y="5180608"/>
                  <a:pt x="3249414" y="4917877"/>
                </a:cubicBezTo>
                <a:cubicBezTo>
                  <a:pt x="2315170" y="4655146"/>
                  <a:pt x="1633074" y="4368668"/>
                  <a:pt x="1203126" y="4058444"/>
                </a:cubicBezTo>
                <a:cubicBezTo>
                  <a:pt x="591277" y="3619897"/>
                  <a:pt x="285353" y="3044825"/>
                  <a:pt x="285353" y="2333229"/>
                </a:cubicBezTo>
                <a:cubicBezTo>
                  <a:pt x="285353" y="1642402"/>
                  <a:pt x="569515" y="1080824"/>
                  <a:pt x="1137840" y="648494"/>
                </a:cubicBezTo>
                <a:cubicBezTo>
                  <a:pt x="1706298" y="216165"/>
                  <a:pt x="2432909" y="0"/>
                  <a:pt x="3317676" y="0"/>
                </a:cubicBezTo>
                <a:cubicBezTo>
                  <a:pt x="3917090" y="0"/>
                  <a:pt x="4453466" y="115888"/>
                  <a:pt x="4926806" y="347663"/>
                </a:cubicBezTo>
                <a:cubicBezTo>
                  <a:pt x="5400146" y="579305"/>
                  <a:pt x="5767057" y="901965"/>
                  <a:pt x="6027539" y="1315641"/>
                </a:cubicBezTo>
                <a:cubicBezTo>
                  <a:pt x="6288021" y="1729317"/>
                  <a:pt x="6418262" y="2190618"/>
                  <a:pt x="6418262" y="2699544"/>
                </a:cubicBezTo>
                <a:lnTo>
                  <a:pt x="5649317" y="2699544"/>
                </a:lnTo>
                <a:cubicBezTo>
                  <a:pt x="5649317" y="2082933"/>
                  <a:pt x="5438444" y="1587368"/>
                  <a:pt x="5016698" y="1212850"/>
                </a:cubicBezTo>
                <a:cubicBezTo>
                  <a:pt x="4595085" y="838333"/>
                  <a:pt x="4028744" y="651074"/>
                  <a:pt x="3317676" y="651074"/>
                </a:cubicBezTo>
                <a:cubicBezTo>
                  <a:pt x="2627246" y="651074"/>
                  <a:pt x="2077376" y="805260"/>
                  <a:pt x="1668065" y="1113632"/>
                </a:cubicBezTo>
                <a:cubicBezTo>
                  <a:pt x="1258887" y="1421871"/>
                  <a:pt x="1054298" y="1824302"/>
                  <a:pt x="1054298" y="2320925"/>
                </a:cubicBezTo>
                <a:cubicBezTo>
                  <a:pt x="1054298" y="2780242"/>
                  <a:pt x="1238250" y="3154760"/>
                  <a:pt x="1606153" y="3444479"/>
                </a:cubicBezTo>
                <a:cubicBezTo>
                  <a:pt x="1974056" y="3734065"/>
                  <a:pt x="2563151" y="3989586"/>
                  <a:pt x="3373437" y="4211043"/>
                </a:cubicBezTo>
                <a:cubicBezTo>
                  <a:pt x="4183724" y="4432367"/>
                  <a:pt x="4797623" y="4661959"/>
                  <a:pt x="5215136" y="4899819"/>
                </a:cubicBezTo>
                <a:cubicBezTo>
                  <a:pt x="5632780" y="5137680"/>
                  <a:pt x="5946973" y="5422107"/>
                  <a:pt x="6157714" y="5753100"/>
                </a:cubicBezTo>
                <a:cubicBezTo>
                  <a:pt x="6368587" y="6083962"/>
                  <a:pt x="6474023" y="6474884"/>
                  <a:pt x="6474023" y="6925866"/>
                </a:cubicBezTo>
                <a:cubicBezTo>
                  <a:pt x="6474023" y="7637331"/>
                  <a:pt x="6189795" y="8208169"/>
                  <a:pt x="5621337" y="8638382"/>
                </a:cubicBezTo>
                <a:cubicBezTo>
                  <a:pt x="5052880" y="9068594"/>
                  <a:pt x="4303580" y="9283700"/>
                  <a:pt x="3373437" y="9283700"/>
                </a:cubicBezTo>
                <a:cubicBezTo>
                  <a:pt x="2736850" y="9283700"/>
                  <a:pt x="2152914" y="9169929"/>
                  <a:pt x="1621631" y="8942388"/>
                </a:cubicBezTo>
                <a:cubicBezTo>
                  <a:pt x="1090348" y="8714846"/>
                  <a:pt x="687255" y="8396288"/>
                  <a:pt x="412353" y="7986713"/>
                </a:cubicBezTo>
                <a:cubicBezTo>
                  <a:pt x="137451" y="7577138"/>
                  <a:pt x="0" y="7107569"/>
                  <a:pt x="0" y="6578005"/>
                </a:cubicBezTo>
                <a:lnTo>
                  <a:pt x="762793" y="6578005"/>
                </a:lnTo>
                <a:cubicBezTo>
                  <a:pt x="762793" y="7215254"/>
                  <a:pt x="1000455" y="7718029"/>
                  <a:pt x="1475779" y="8086329"/>
                </a:cubicBezTo>
                <a:cubicBezTo>
                  <a:pt x="1951236" y="8454629"/>
                  <a:pt x="2583788" y="8638779"/>
                  <a:pt x="3373437" y="8638779"/>
                </a:cubicBezTo>
                <a:cubicBezTo>
                  <a:pt x="4076303" y="8638779"/>
                  <a:pt x="4640593" y="8483600"/>
                  <a:pt x="5066307" y="8173244"/>
                </a:cubicBezTo>
                <a:cubicBezTo>
                  <a:pt x="5492154" y="7862888"/>
                  <a:pt x="5705078" y="7451196"/>
                  <a:pt x="5705078" y="6938169"/>
                </a:cubicBez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36" name="Freeform 3036"/>
          <p:cNvSpPr/>
          <p:nvPr/>
        </p:nvSpPr>
        <p:spPr>
          <a:xfrm>
            <a:off x="8491149" y="4747925"/>
            <a:ext cx="76398" cy="99326"/>
          </a:xfrm>
          <a:custGeom>
            <a:avLst/>
            <a:gdLst/>
            <a:ahLst/>
            <a:cxnLst/>
            <a:rect l="0" t="0" r="0" b="0"/>
            <a:pathLst>
              <a:path w="6945313" h="9029700">
                <a:moveTo>
                  <a:pt x="6945313" y="651074"/>
                </a:moveTo>
                <a:lnTo>
                  <a:pt x="3850879" y="651074"/>
                </a:lnTo>
                <a:lnTo>
                  <a:pt x="3850879" y="9029700"/>
                </a:lnTo>
                <a:lnTo>
                  <a:pt x="3088283" y="9029700"/>
                </a:lnTo>
                <a:lnTo>
                  <a:pt x="3088283" y="651074"/>
                </a:lnTo>
                <a:lnTo>
                  <a:pt x="0" y="651074"/>
                </a:lnTo>
                <a:lnTo>
                  <a:pt x="0" y="0"/>
                </a:lnTo>
                <a:lnTo>
                  <a:pt x="6945313" y="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37" name="Freeform 3037"/>
          <p:cNvSpPr/>
          <p:nvPr/>
        </p:nvSpPr>
        <p:spPr>
          <a:xfrm>
            <a:off x="8583554" y="4747925"/>
            <a:ext cx="61529" cy="99326"/>
          </a:xfrm>
          <a:custGeom>
            <a:avLst/>
            <a:gdLst/>
            <a:ahLst/>
            <a:cxnLst/>
            <a:rect l="0" t="0" r="0" b="0"/>
            <a:pathLst>
              <a:path w="5593556" h="9029700">
                <a:moveTo>
                  <a:pt x="4973439" y="4803974"/>
                </a:moveTo>
                <a:lnTo>
                  <a:pt x="762794" y="4803974"/>
                </a:lnTo>
                <a:lnTo>
                  <a:pt x="762794" y="9029700"/>
                </a:lnTo>
                <a:lnTo>
                  <a:pt x="0" y="9029700"/>
                </a:lnTo>
                <a:lnTo>
                  <a:pt x="0" y="0"/>
                </a:lnTo>
                <a:lnTo>
                  <a:pt x="5593556" y="0"/>
                </a:lnTo>
                <a:lnTo>
                  <a:pt x="5593556" y="651074"/>
                </a:lnTo>
                <a:lnTo>
                  <a:pt x="762794" y="651074"/>
                </a:lnTo>
                <a:lnTo>
                  <a:pt x="762794" y="4152900"/>
                </a:lnTo>
                <a:lnTo>
                  <a:pt x="4973439" y="4152900"/>
                </a:lnTo>
                <a:close/>
              </a:path>
            </a:pathLst>
          </a:custGeom>
          <a:solidFill>
            <a:srgbClr val="0D226F">
              <a:alpha val="100000"/>
            </a:srgbClr>
          </a:solidFill>
          <a:ln w="139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38" name="Rectangle 3038"/>
          <p:cNvSpPr/>
          <p:nvPr/>
        </p:nvSpPr>
        <p:spPr>
          <a:xfrm>
            <a:off x="3925450" y="4306176"/>
            <a:ext cx="133273" cy="2573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latin typeface="Arial"/>
              </a:rPr>
              <a:t>+</a:t>
            </a:r>
          </a:p>
        </p:txBody>
      </p:sp>
      <p:sp>
        <p:nvSpPr>
          <p:cNvPr id="3039" name="Rectangle 3039"/>
          <p:cNvSpPr/>
          <p:nvPr/>
        </p:nvSpPr>
        <p:spPr>
          <a:xfrm>
            <a:off x="1307313" y="2545926"/>
            <a:ext cx="133273" cy="2573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1800" b="0" i="0" spc="0" baseline="0" dirty="0">
                <a:latin typeface="Arial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6989034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1" name="Freeform 3041"/>
          <p:cNvSpPr/>
          <p:nvPr/>
        </p:nvSpPr>
        <p:spPr>
          <a:xfrm flipV="1">
            <a:off x="0" y="237369"/>
            <a:ext cx="333299" cy="0"/>
          </a:xfrm>
          <a:custGeom>
            <a:avLst/>
            <a:gdLst/>
            <a:ahLst/>
            <a:cxnLst/>
            <a:rect l="0" t="0" r="0" b="0"/>
            <a:pathLst>
              <a:path w="169316400">
                <a:moveTo>
                  <a:pt x="0" y="0"/>
                </a:moveTo>
                <a:lnTo>
                  <a:pt x="1693164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042" name="Picture 304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99269"/>
            <a:ext cx="371400" cy="76200"/>
          </a:xfrm>
          <a:prstGeom prst="rect">
            <a:avLst/>
          </a:prstGeom>
          <a:noFill/>
        </p:spPr>
      </p:pic>
      <p:sp>
        <p:nvSpPr>
          <p:cNvPr id="3043" name="Freeform 3043"/>
          <p:cNvSpPr/>
          <p:nvPr/>
        </p:nvSpPr>
        <p:spPr>
          <a:xfrm flipV="1">
            <a:off x="8810624" y="237369"/>
            <a:ext cx="333299" cy="0"/>
          </a:xfrm>
          <a:custGeom>
            <a:avLst/>
            <a:gdLst/>
            <a:ahLst/>
            <a:cxnLst/>
            <a:rect l="0" t="0" r="0" b="0"/>
            <a:pathLst>
              <a:path w="169316400">
                <a:moveTo>
                  <a:pt x="0" y="0"/>
                </a:moveTo>
                <a:lnTo>
                  <a:pt x="169316400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044" name="Picture 304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72525" y="199269"/>
            <a:ext cx="371475" cy="76200"/>
          </a:xfrm>
          <a:prstGeom prst="rect">
            <a:avLst/>
          </a:prstGeom>
          <a:noFill/>
        </p:spPr>
      </p:pic>
      <p:sp>
        <p:nvSpPr>
          <p:cNvPr id="3045" name="Freeform 3045"/>
          <p:cNvSpPr/>
          <p:nvPr/>
        </p:nvSpPr>
        <p:spPr>
          <a:xfrm flipV="1">
            <a:off x="3023630" y="2938879"/>
            <a:ext cx="1639747" cy="0"/>
          </a:xfrm>
          <a:custGeom>
            <a:avLst/>
            <a:gdLst/>
            <a:ahLst/>
            <a:cxnLst/>
            <a:rect l="0" t="0" r="0" b="0"/>
            <a:pathLst>
              <a:path w="832991809">
                <a:moveTo>
                  <a:pt x="0" y="0"/>
                </a:moveTo>
                <a:lnTo>
                  <a:pt x="832991809" y="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46" name="Freeform 3046"/>
          <p:cNvSpPr/>
          <p:nvPr/>
        </p:nvSpPr>
        <p:spPr>
          <a:xfrm flipV="1">
            <a:off x="3023630" y="2938879"/>
            <a:ext cx="1639747" cy="0"/>
          </a:xfrm>
          <a:custGeom>
            <a:avLst/>
            <a:gdLst/>
            <a:ahLst/>
            <a:cxnLst/>
            <a:rect l="0" t="0" r="0" b="0"/>
            <a:pathLst>
              <a:path w="832991809">
                <a:moveTo>
                  <a:pt x="0" y="0"/>
                </a:moveTo>
                <a:lnTo>
                  <a:pt x="832991809" y="0"/>
                </a:ln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47" name="Freeform 3047"/>
          <p:cNvSpPr/>
          <p:nvPr/>
        </p:nvSpPr>
        <p:spPr>
          <a:xfrm flipV="1">
            <a:off x="3012745" y="1176671"/>
            <a:ext cx="1655615" cy="1597310"/>
          </a:xfrm>
          <a:custGeom>
            <a:avLst/>
            <a:gdLst/>
            <a:ahLst/>
            <a:cxnLst/>
            <a:rect l="0" t="0" r="0" b="0"/>
            <a:pathLst>
              <a:path w="841052837" h="811433758">
                <a:moveTo>
                  <a:pt x="0" y="2883099"/>
                </a:moveTo>
                <a:cubicBezTo>
                  <a:pt x="471133388" y="0"/>
                  <a:pt x="480090063" y="809992556"/>
                  <a:pt x="841052837" y="811433758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48" name="Freeform 3048"/>
          <p:cNvSpPr/>
          <p:nvPr/>
        </p:nvSpPr>
        <p:spPr>
          <a:xfrm flipV="1">
            <a:off x="3012745" y="1176671"/>
            <a:ext cx="1655615" cy="1597310"/>
          </a:xfrm>
          <a:custGeom>
            <a:avLst/>
            <a:gdLst/>
            <a:ahLst/>
            <a:cxnLst/>
            <a:rect l="0" t="0" r="0" b="0"/>
            <a:pathLst>
              <a:path w="841052837" h="811433758">
                <a:moveTo>
                  <a:pt x="0" y="2883099"/>
                </a:moveTo>
                <a:cubicBezTo>
                  <a:pt x="471133388" y="0"/>
                  <a:pt x="480090063" y="809992556"/>
                  <a:pt x="841052837" y="811433758"/>
                </a:cubicBez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49" name="Freeform 3049"/>
          <p:cNvSpPr/>
          <p:nvPr/>
        </p:nvSpPr>
        <p:spPr>
          <a:xfrm flipV="1">
            <a:off x="3012745" y="2075380"/>
            <a:ext cx="1655615" cy="794143"/>
          </a:xfrm>
          <a:custGeom>
            <a:avLst/>
            <a:gdLst/>
            <a:ahLst/>
            <a:cxnLst/>
            <a:rect l="0" t="0" r="0" b="0"/>
            <a:pathLst>
              <a:path w="841052837" h="403424728">
                <a:moveTo>
                  <a:pt x="0" y="1433414"/>
                </a:moveTo>
                <a:cubicBezTo>
                  <a:pt x="471133388" y="0"/>
                  <a:pt x="480090063" y="402708170"/>
                  <a:pt x="841052837" y="403424728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50" name="Freeform 3050"/>
          <p:cNvSpPr/>
          <p:nvPr/>
        </p:nvSpPr>
        <p:spPr>
          <a:xfrm flipV="1">
            <a:off x="3012745" y="2075380"/>
            <a:ext cx="1655615" cy="794143"/>
          </a:xfrm>
          <a:custGeom>
            <a:avLst/>
            <a:gdLst/>
            <a:ahLst/>
            <a:cxnLst/>
            <a:rect l="0" t="0" r="0" b="0"/>
            <a:pathLst>
              <a:path w="841052837" h="403424728">
                <a:moveTo>
                  <a:pt x="0" y="1433414"/>
                </a:moveTo>
                <a:cubicBezTo>
                  <a:pt x="471133388" y="0"/>
                  <a:pt x="480090063" y="402708170"/>
                  <a:pt x="841052837" y="403424728"/>
                </a:cubicBez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51" name="Freeform 3051"/>
          <p:cNvSpPr/>
          <p:nvPr/>
        </p:nvSpPr>
        <p:spPr>
          <a:xfrm flipV="1">
            <a:off x="3012745" y="3134346"/>
            <a:ext cx="1655615" cy="1579261"/>
          </a:xfrm>
          <a:custGeom>
            <a:avLst/>
            <a:gdLst/>
            <a:ahLst/>
            <a:cxnLst/>
            <a:rect l="0" t="0" r="0" b="0"/>
            <a:pathLst>
              <a:path w="841052837" h="802264953">
                <a:moveTo>
                  <a:pt x="0" y="799414498"/>
                </a:moveTo>
                <a:cubicBezTo>
                  <a:pt x="471133388" y="802264953"/>
                  <a:pt x="480090063" y="1424781"/>
                  <a:pt x="841052837" y="0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52" name="Freeform 3052"/>
          <p:cNvSpPr/>
          <p:nvPr/>
        </p:nvSpPr>
        <p:spPr>
          <a:xfrm flipV="1">
            <a:off x="3012745" y="3134346"/>
            <a:ext cx="1655615" cy="1579261"/>
          </a:xfrm>
          <a:custGeom>
            <a:avLst/>
            <a:gdLst/>
            <a:ahLst/>
            <a:cxnLst/>
            <a:rect l="0" t="0" r="0" b="0"/>
            <a:pathLst>
              <a:path w="841052837" h="802264953">
                <a:moveTo>
                  <a:pt x="0" y="799414498"/>
                </a:moveTo>
                <a:cubicBezTo>
                  <a:pt x="471133388" y="802264953"/>
                  <a:pt x="480090063" y="1424781"/>
                  <a:pt x="841052837" y="0"/>
                </a:cubicBez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53" name="Freeform 3053"/>
          <p:cNvSpPr/>
          <p:nvPr/>
        </p:nvSpPr>
        <p:spPr>
          <a:xfrm flipV="1">
            <a:off x="3012745" y="3040777"/>
            <a:ext cx="1655615" cy="780606"/>
          </a:xfrm>
          <a:custGeom>
            <a:avLst/>
            <a:gdLst/>
            <a:ahLst/>
            <a:cxnLst/>
            <a:rect l="0" t="0" r="0" b="0"/>
            <a:pathLst>
              <a:path w="841052837" h="396548173">
                <a:moveTo>
                  <a:pt x="0" y="395139267"/>
                </a:moveTo>
                <a:cubicBezTo>
                  <a:pt x="471133388" y="396548173"/>
                  <a:pt x="480090063" y="704453"/>
                  <a:pt x="841052837" y="0"/>
                </a:cubicBezTo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54" name="Freeform 3054"/>
          <p:cNvSpPr/>
          <p:nvPr/>
        </p:nvSpPr>
        <p:spPr>
          <a:xfrm flipV="1">
            <a:off x="3012745" y="3040777"/>
            <a:ext cx="1655615" cy="780606"/>
          </a:xfrm>
          <a:custGeom>
            <a:avLst/>
            <a:gdLst/>
            <a:ahLst/>
            <a:cxnLst/>
            <a:rect l="0" t="0" r="0" b="0"/>
            <a:pathLst>
              <a:path w="841052837" h="396548173">
                <a:moveTo>
                  <a:pt x="0" y="395139267"/>
                </a:moveTo>
                <a:cubicBezTo>
                  <a:pt x="471133388" y="396548173"/>
                  <a:pt x="480090063" y="704453"/>
                  <a:pt x="841052837" y="0"/>
                </a:cubicBezTo>
              </a:path>
            </a:pathLst>
          </a:custGeom>
          <a:noFill/>
          <a:ln w="25399" cap="flat" cmpd="sng">
            <a:solidFill>
              <a:srgbClr val="1C45DF">
                <a:alpha val="13729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55" name="Freeform 3055"/>
          <p:cNvSpPr/>
          <p:nvPr/>
        </p:nvSpPr>
        <p:spPr>
          <a:xfrm flipV="1">
            <a:off x="911849" y="1627655"/>
            <a:ext cx="2081399" cy="2828700"/>
          </a:xfrm>
          <a:custGeom>
            <a:avLst/>
            <a:gdLst/>
            <a:ahLst/>
            <a:cxnLst/>
            <a:rect l="0" t="0" r="0" b="0"/>
            <a:pathLst>
              <a:path w="1057351200" h="1436979649">
                <a:moveTo>
                  <a:pt x="0" y="1436979649"/>
                </a:moveTo>
                <a:lnTo>
                  <a:pt x="1057351200" y="1436979649"/>
                </a:lnTo>
                <a:lnTo>
                  <a:pt x="10573512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56" name="Freeform 3056"/>
          <p:cNvSpPr/>
          <p:nvPr/>
        </p:nvSpPr>
        <p:spPr>
          <a:xfrm flipV="1">
            <a:off x="911849" y="1627655"/>
            <a:ext cx="2081399" cy="2828700"/>
          </a:xfrm>
          <a:custGeom>
            <a:avLst/>
            <a:gdLst/>
            <a:ahLst/>
            <a:cxnLst/>
            <a:rect l="0" t="0" r="0" b="0"/>
            <a:pathLst>
              <a:path w="1057351200" h="1436979649">
                <a:moveTo>
                  <a:pt x="0" y="1436979649"/>
                </a:moveTo>
                <a:lnTo>
                  <a:pt x="1057351200" y="1436979649"/>
                </a:lnTo>
                <a:lnTo>
                  <a:pt x="1057351200" y="0"/>
                </a:lnTo>
                <a:lnTo>
                  <a:pt x="0" y="0"/>
                </a:lnTo>
                <a:close/>
              </a:path>
            </a:pathLst>
          </a:custGeom>
          <a:noFill/>
          <a:ln w="9524" cap="flat" cmpd="sng">
            <a:solidFill>
              <a:srgbClr val="0035BE">
                <a:alpha val="100000"/>
              </a:srgbClr>
            </a:solidFill>
            <a:custDash>
              <a:ds d="400000" sp="300000"/>
            </a:custDash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57" name="Freeform 3057"/>
          <p:cNvSpPr/>
          <p:nvPr/>
        </p:nvSpPr>
        <p:spPr>
          <a:xfrm flipV="1">
            <a:off x="431799" y="129647"/>
            <a:ext cx="7769099" cy="215399"/>
          </a:xfrm>
          <a:custGeom>
            <a:avLst/>
            <a:gdLst/>
            <a:ahLst/>
            <a:cxnLst/>
            <a:rect l="0" t="0" r="0" b="0"/>
            <a:pathLst>
              <a:path w="7769099" h="215399">
                <a:moveTo>
                  <a:pt x="0" y="215399"/>
                </a:moveTo>
                <a:lnTo>
                  <a:pt x="7769099" y="215399"/>
                </a:lnTo>
                <a:lnTo>
                  <a:pt x="77690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058" name="Picture 3058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54937" y="1884364"/>
            <a:ext cx="2010224" cy="506625"/>
          </a:xfrm>
          <a:prstGeom prst="rect">
            <a:avLst/>
          </a:prstGeom>
          <a:noFill/>
        </p:spPr>
      </p:pic>
      <p:sp>
        <p:nvSpPr>
          <p:cNvPr id="3059" name="Freeform 3059"/>
          <p:cNvSpPr/>
          <p:nvPr/>
        </p:nvSpPr>
        <p:spPr>
          <a:xfrm flipV="1">
            <a:off x="1016849" y="1927226"/>
            <a:ext cx="1886399" cy="382799"/>
          </a:xfrm>
          <a:custGeom>
            <a:avLst/>
            <a:gdLst/>
            <a:ahLst/>
            <a:cxnLst/>
            <a:rect l="0" t="0" r="0" b="0"/>
            <a:pathLst>
              <a:path w="958291200" h="194462400">
                <a:moveTo>
                  <a:pt x="0" y="162051404"/>
                </a:moveTo>
                <a:lnTo>
                  <a:pt x="0" y="162051404"/>
                </a:lnTo>
                <a:cubicBezTo>
                  <a:pt x="0" y="179951558"/>
                  <a:pt x="14510940" y="194462400"/>
                  <a:pt x="32411044" y="194462400"/>
                </a:cubicBezTo>
                <a:lnTo>
                  <a:pt x="925880105" y="194462400"/>
                </a:lnTo>
                <a:cubicBezTo>
                  <a:pt x="934476120" y="194462400"/>
                  <a:pt x="942720007" y="191047687"/>
                  <a:pt x="948798247" y="184969447"/>
                </a:cubicBezTo>
                <a:cubicBezTo>
                  <a:pt x="954876487" y="178891207"/>
                  <a:pt x="958291200" y="170647320"/>
                  <a:pt x="958291200" y="162051404"/>
                </a:cubicBezTo>
                <a:lnTo>
                  <a:pt x="958291200" y="32411094"/>
                </a:lnTo>
                <a:cubicBezTo>
                  <a:pt x="958291200" y="14510940"/>
                  <a:pt x="943780259" y="0"/>
                  <a:pt x="925880105" y="0"/>
                </a:cubicBezTo>
                <a:lnTo>
                  <a:pt x="32411044" y="0"/>
                </a:lnTo>
                <a:cubicBezTo>
                  <a:pt x="14510940" y="0"/>
                  <a:pt x="0" y="14510940"/>
                  <a:pt x="0" y="3241109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60" name="Freeform 3060"/>
          <p:cNvSpPr/>
          <p:nvPr/>
        </p:nvSpPr>
        <p:spPr>
          <a:xfrm flipV="1">
            <a:off x="1016849" y="1927226"/>
            <a:ext cx="1886399" cy="382799"/>
          </a:xfrm>
          <a:custGeom>
            <a:avLst/>
            <a:gdLst/>
            <a:ahLst/>
            <a:cxnLst/>
            <a:rect l="0" t="0" r="0" b="0"/>
            <a:pathLst>
              <a:path w="958291200" h="194462400">
                <a:moveTo>
                  <a:pt x="0" y="162051404"/>
                </a:moveTo>
                <a:lnTo>
                  <a:pt x="0" y="162051404"/>
                </a:lnTo>
                <a:cubicBezTo>
                  <a:pt x="0" y="179951558"/>
                  <a:pt x="14510940" y="194462400"/>
                  <a:pt x="32411044" y="194462400"/>
                </a:cubicBezTo>
                <a:lnTo>
                  <a:pt x="925880105" y="194462400"/>
                </a:lnTo>
                <a:cubicBezTo>
                  <a:pt x="934476120" y="194462400"/>
                  <a:pt x="942720007" y="191047687"/>
                  <a:pt x="948798247" y="184969447"/>
                </a:cubicBezTo>
                <a:cubicBezTo>
                  <a:pt x="954876487" y="178891207"/>
                  <a:pt x="958291200" y="170647320"/>
                  <a:pt x="958291200" y="162051404"/>
                </a:cubicBezTo>
                <a:lnTo>
                  <a:pt x="958291200" y="32411094"/>
                </a:lnTo>
                <a:cubicBezTo>
                  <a:pt x="958291200" y="14510940"/>
                  <a:pt x="943780259" y="0"/>
                  <a:pt x="925880105" y="0"/>
                </a:cubicBezTo>
                <a:lnTo>
                  <a:pt x="32411044" y="0"/>
                </a:lnTo>
                <a:cubicBezTo>
                  <a:pt x="14510940" y="0"/>
                  <a:pt x="0" y="14510940"/>
                  <a:pt x="0" y="32411094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62" name="Freeform 3062"/>
          <p:cNvSpPr/>
          <p:nvPr/>
        </p:nvSpPr>
        <p:spPr>
          <a:xfrm flipV="1">
            <a:off x="1123524" y="1551454"/>
            <a:ext cx="1673099" cy="337800"/>
          </a:xfrm>
          <a:custGeom>
            <a:avLst/>
            <a:gdLst/>
            <a:ahLst/>
            <a:cxnLst/>
            <a:rect l="0" t="0" r="0" b="0"/>
            <a:pathLst>
              <a:path w="849934800" h="171602450">
                <a:moveTo>
                  <a:pt x="0" y="171602450"/>
                </a:moveTo>
                <a:lnTo>
                  <a:pt x="849934800" y="171602450"/>
                </a:lnTo>
                <a:lnTo>
                  <a:pt x="8499348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063" name="Picture 3063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54937" y="2341564"/>
            <a:ext cx="2010224" cy="506625"/>
          </a:xfrm>
          <a:prstGeom prst="rect">
            <a:avLst/>
          </a:prstGeom>
          <a:noFill/>
        </p:spPr>
      </p:pic>
      <p:sp>
        <p:nvSpPr>
          <p:cNvPr id="3064" name="Freeform 3064"/>
          <p:cNvSpPr/>
          <p:nvPr/>
        </p:nvSpPr>
        <p:spPr>
          <a:xfrm flipV="1">
            <a:off x="1016849" y="2384426"/>
            <a:ext cx="1886399" cy="382799"/>
          </a:xfrm>
          <a:custGeom>
            <a:avLst/>
            <a:gdLst/>
            <a:ahLst/>
            <a:cxnLst/>
            <a:rect l="0" t="0" r="0" b="0"/>
            <a:pathLst>
              <a:path w="958291200" h="194462400">
                <a:moveTo>
                  <a:pt x="0" y="162051404"/>
                </a:moveTo>
                <a:lnTo>
                  <a:pt x="0" y="162051404"/>
                </a:lnTo>
                <a:cubicBezTo>
                  <a:pt x="0" y="179951558"/>
                  <a:pt x="14510940" y="194462400"/>
                  <a:pt x="32411044" y="194462400"/>
                </a:cubicBezTo>
                <a:lnTo>
                  <a:pt x="925880105" y="194462400"/>
                </a:lnTo>
                <a:cubicBezTo>
                  <a:pt x="934476120" y="194462400"/>
                  <a:pt x="942720007" y="191047687"/>
                  <a:pt x="948798247" y="184969447"/>
                </a:cubicBezTo>
                <a:cubicBezTo>
                  <a:pt x="954876487" y="178891207"/>
                  <a:pt x="958291200" y="170647320"/>
                  <a:pt x="958291200" y="162051404"/>
                </a:cubicBezTo>
                <a:lnTo>
                  <a:pt x="958291200" y="32411094"/>
                </a:lnTo>
                <a:cubicBezTo>
                  <a:pt x="958291200" y="14510940"/>
                  <a:pt x="943780259" y="0"/>
                  <a:pt x="925880105" y="0"/>
                </a:cubicBezTo>
                <a:lnTo>
                  <a:pt x="32411044" y="0"/>
                </a:lnTo>
                <a:cubicBezTo>
                  <a:pt x="14510940" y="0"/>
                  <a:pt x="0" y="14510940"/>
                  <a:pt x="0" y="32411094"/>
                </a:cubicBezTo>
                <a:close/>
              </a:path>
            </a:pathLst>
          </a:custGeom>
          <a:solidFill>
            <a:srgbClr val="666666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65" name="Freeform 3065"/>
          <p:cNvSpPr/>
          <p:nvPr/>
        </p:nvSpPr>
        <p:spPr>
          <a:xfrm flipV="1">
            <a:off x="1016849" y="2384426"/>
            <a:ext cx="1886399" cy="382799"/>
          </a:xfrm>
          <a:custGeom>
            <a:avLst/>
            <a:gdLst/>
            <a:ahLst/>
            <a:cxnLst/>
            <a:rect l="0" t="0" r="0" b="0"/>
            <a:pathLst>
              <a:path w="958291200" h="194462400">
                <a:moveTo>
                  <a:pt x="0" y="162051404"/>
                </a:moveTo>
                <a:lnTo>
                  <a:pt x="0" y="162051404"/>
                </a:lnTo>
                <a:cubicBezTo>
                  <a:pt x="0" y="179951558"/>
                  <a:pt x="14510940" y="194462400"/>
                  <a:pt x="32411044" y="194462400"/>
                </a:cubicBezTo>
                <a:lnTo>
                  <a:pt x="925880105" y="194462400"/>
                </a:lnTo>
                <a:cubicBezTo>
                  <a:pt x="934476120" y="194462400"/>
                  <a:pt x="942720007" y="191047687"/>
                  <a:pt x="948798247" y="184969447"/>
                </a:cubicBezTo>
                <a:cubicBezTo>
                  <a:pt x="954876487" y="178891207"/>
                  <a:pt x="958291200" y="170647320"/>
                  <a:pt x="958291200" y="162051404"/>
                </a:cubicBezTo>
                <a:lnTo>
                  <a:pt x="958291200" y="32411094"/>
                </a:lnTo>
                <a:cubicBezTo>
                  <a:pt x="958291200" y="14510940"/>
                  <a:pt x="943780259" y="0"/>
                  <a:pt x="925880105" y="0"/>
                </a:cubicBezTo>
                <a:lnTo>
                  <a:pt x="32411044" y="0"/>
                </a:lnTo>
                <a:cubicBezTo>
                  <a:pt x="14510940" y="0"/>
                  <a:pt x="0" y="14510940"/>
                  <a:pt x="0" y="32411094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066" name="Picture 3066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54937" y="2610063"/>
            <a:ext cx="2010224" cy="962025"/>
          </a:xfrm>
          <a:prstGeom prst="rect">
            <a:avLst/>
          </a:prstGeom>
          <a:noFill/>
        </p:spPr>
      </p:pic>
      <p:sp>
        <p:nvSpPr>
          <p:cNvPr id="3067" name="Freeform 3067"/>
          <p:cNvSpPr/>
          <p:nvPr/>
        </p:nvSpPr>
        <p:spPr>
          <a:xfrm flipV="1">
            <a:off x="1016849" y="2841625"/>
            <a:ext cx="1886399" cy="460800"/>
          </a:xfrm>
          <a:custGeom>
            <a:avLst/>
            <a:gdLst/>
            <a:ahLst/>
            <a:cxnLst/>
            <a:rect l="0" t="0" r="0" b="0"/>
            <a:pathLst>
              <a:path w="958291200" h="234086500">
                <a:moveTo>
                  <a:pt x="0" y="195071306"/>
                </a:moveTo>
                <a:lnTo>
                  <a:pt x="0" y="195071306"/>
                </a:lnTo>
                <a:cubicBezTo>
                  <a:pt x="0" y="216618741"/>
                  <a:pt x="17467708" y="234086500"/>
                  <a:pt x="39015193" y="234086500"/>
                </a:cubicBezTo>
                <a:lnTo>
                  <a:pt x="919276006" y="234086500"/>
                </a:lnTo>
                <a:cubicBezTo>
                  <a:pt x="929623529" y="234086500"/>
                  <a:pt x="939547190" y="229975966"/>
                  <a:pt x="946863878" y="222659179"/>
                </a:cubicBezTo>
                <a:cubicBezTo>
                  <a:pt x="954180666" y="215342391"/>
                  <a:pt x="958291200" y="205418730"/>
                  <a:pt x="958291200" y="195071306"/>
                </a:cubicBezTo>
                <a:lnTo>
                  <a:pt x="958291200" y="39015293"/>
                </a:lnTo>
                <a:cubicBezTo>
                  <a:pt x="958291200" y="17467759"/>
                  <a:pt x="940823540" y="0"/>
                  <a:pt x="919276006" y="0"/>
                </a:cubicBezTo>
                <a:lnTo>
                  <a:pt x="39015193" y="0"/>
                </a:lnTo>
                <a:cubicBezTo>
                  <a:pt x="17467708" y="0"/>
                  <a:pt x="0" y="17467759"/>
                  <a:pt x="0" y="39015293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68" name="Freeform 3068"/>
          <p:cNvSpPr/>
          <p:nvPr/>
        </p:nvSpPr>
        <p:spPr>
          <a:xfrm flipV="1">
            <a:off x="1016849" y="2841625"/>
            <a:ext cx="1886399" cy="460800"/>
          </a:xfrm>
          <a:custGeom>
            <a:avLst/>
            <a:gdLst/>
            <a:ahLst/>
            <a:cxnLst/>
            <a:rect l="0" t="0" r="0" b="0"/>
            <a:pathLst>
              <a:path w="958291200" h="234086500">
                <a:moveTo>
                  <a:pt x="0" y="195071306"/>
                </a:moveTo>
                <a:lnTo>
                  <a:pt x="0" y="195071306"/>
                </a:lnTo>
                <a:cubicBezTo>
                  <a:pt x="0" y="216618741"/>
                  <a:pt x="17467708" y="234086500"/>
                  <a:pt x="39015193" y="234086500"/>
                </a:cubicBezTo>
                <a:lnTo>
                  <a:pt x="919276006" y="234086500"/>
                </a:lnTo>
                <a:cubicBezTo>
                  <a:pt x="929623529" y="234086500"/>
                  <a:pt x="939547190" y="229975966"/>
                  <a:pt x="946863878" y="222659179"/>
                </a:cubicBezTo>
                <a:cubicBezTo>
                  <a:pt x="954180666" y="215342391"/>
                  <a:pt x="958291200" y="205418730"/>
                  <a:pt x="958291200" y="195071306"/>
                </a:cubicBezTo>
                <a:lnTo>
                  <a:pt x="958291200" y="39015293"/>
                </a:lnTo>
                <a:cubicBezTo>
                  <a:pt x="958291200" y="17467759"/>
                  <a:pt x="940823540" y="0"/>
                  <a:pt x="919276006" y="0"/>
                </a:cubicBezTo>
                <a:lnTo>
                  <a:pt x="39015193" y="0"/>
                </a:lnTo>
                <a:cubicBezTo>
                  <a:pt x="17467708" y="0"/>
                  <a:pt x="0" y="17467759"/>
                  <a:pt x="0" y="39015293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069" name="Picture 3069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54937" y="3166376"/>
            <a:ext cx="2010224" cy="838200"/>
          </a:xfrm>
          <a:prstGeom prst="rect">
            <a:avLst/>
          </a:prstGeom>
          <a:noFill/>
        </p:spPr>
      </p:pic>
      <p:sp>
        <p:nvSpPr>
          <p:cNvPr id="3070" name="Freeform 3070"/>
          <p:cNvSpPr/>
          <p:nvPr/>
        </p:nvSpPr>
        <p:spPr>
          <a:xfrm flipV="1">
            <a:off x="1016849" y="3375026"/>
            <a:ext cx="1886399" cy="382799"/>
          </a:xfrm>
          <a:custGeom>
            <a:avLst/>
            <a:gdLst/>
            <a:ahLst/>
            <a:cxnLst/>
            <a:rect l="0" t="0" r="0" b="0"/>
            <a:pathLst>
              <a:path w="958291200" h="194462400">
                <a:moveTo>
                  <a:pt x="0" y="162051404"/>
                </a:moveTo>
                <a:lnTo>
                  <a:pt x="0" y="162051404"/>
                </a:lnTo>
                <a:cubicBezTo>
                  <a:pt x="0" y="179951459"/>
                  <a:pt x="14510940" y="194462400"/>
                  <a:pt x="32411044" y="194462400"/>
                </a:cubicBezTo>
                <a:lnTo>
                  <a:pt x="925880105" y="194462400"/>
                </a:lnTo>
                <a:cubicBezTo>
                  <a:pt x="934476120" y="194462400"/>
                  <a:pt x="942720007" y="191047687"/>
                  <a:pt x="948798247" y="184969546"/>
                </a:cubicBezTo>
                <a:cubicBezTo>
                  <a:pt x="954876487" y="178891207"/>
                  <a:pt x="958291200" y="170647320"/>
                  <a:pt x="958291200" y="162051404"/>
                </a:cubicBezTo>
                <a:lnTo>
                  <a:pt x="958291200" y="32410995"/>
                </a:lnTo>
                <a:cubicBezTo>
                  <a:pt x="958291200" y="14510940"/>
                  <a:pt x="943780259" y="0"/>
                  <a:pt x="925880105" y="0"/>
                </a:cubicBezTo>
                <a:lnTo>
                  <a:pt x="32411044" y="0"/>
                </a:lnTo>
                <a:cubicBezTo>
                  <a:pt x="14510940" y="0"/>
                  <a:pt x="0" y="14510940"/>
                  <a:pt x="0" y="32410995"/>
                </a:cubicBezTo>
                <a:close/>
              </a:path>
            </a:pathLst>
          </a:custGeom>
          <a:solidFill>
            <a:srgbClr val="666666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71" name="Freeform 3071"/>
          <p:cNvSpPr/>
          <p:nvPr/>
        </p:nvSpPr>
        <p:spPr>
          <a:xfrm flipV="1">
            <a:off x="1016849" y="3375026"/>
            <a:ext cx="1886399" cy="382799"/>
          </a:xfrm>
          <a:custGeom>
            <a:avLst/>
            <a:gdLst/>
            <a:ahLst/>
            <a:cxnLst/>
            <a:rect l="0" t="0" r="0" b="0"/>
            <a:pathLst>
              <a:path w="958291200" h="194462400">
                <a:moveTo>
                  <a:pt x="0" y="162051404"/>
                </a:moveTo>
                <a:lnTo>
                  <a:pt x="0" y="162051404"/>
                </a:lnTo>
                <a:cubicBezTo>
                  <a:pt x="0" y="179951459"/>
                  <a:pt x="14510940" y="194462400"/>
                  <a:pt x="32411044" y="194462400"/>
                </a:cubicBezTo>
                <a:lnTo>
                  <a:pt x="925880105" y="194462400"/>
                </a:lnTo>
                <a:cubicBezTo>
                  <a:pt x="934476120" y="194462400"/>
                  <a:pt x="942720007" y="191047687"/>
                  <a:pt x="948798247" y="184969546"/>
                </a:cubicBezTo>
                <a:cubicBezTo>
                  <a:pt x="954876487" y="178891207"/>
                  <a:pt x="958291200" y="170647320"/>
                  <a:pt x="958291200" y="162051404"/>
                </a:cubicBezTo>
                <a:lnTo>
                  <a:pt x="958291200" y="32410995"/>
                </a:lnTo>
                <a:cubicBezTo>
                  <a:pt x="958291200" y="14510940"/>
                  <a:pt x="943780259" y="0"/>
                  <a:pt x="925880105" y="0"/>
                </a:cubicBezTo>
                <a:lnTo>
                  <a:pt x="32411044" y="0"/>
                </a:lnTo>
                <a:cubicBezTo>
                  <a:pt x="14510940" y="0"/>
                  <a:pt x="0" y="14510940"/>
                  <a:pt x="0" y="32410995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072" name="Picture 3072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54937" y="3497826"/>
            <a:ext cx="2010224" cy="1238250"/>
          </a:xfrm>
          <a:prstGeom prst="rect">
            <a:avLst/>
          </a:prstGeom>
          <a:noFill/>
        </p:spPr>
      </p:pic>
      <p:sp>
        <p:nvSpPr>
          <p:cNvPr id="3073" name="Freeform 3073"/>
          <p:cNvSpPr/>
          <p:nvPr/>
        </p:nvSpPr>
        <p:spPr>
          <a:xfrm flipV="1">
            <a:off x="1016849" y="3906500"/>
            <a:ext cx="1886399" cy="382799"/>
          </a:xfrm>
          <a:custGeom>
            <a:avLst/>
            <a:gdLst/>
            <a:ahLst/>
            <a:cxnLst/>
            <a:rect l="0" t="0" r="0" b="0"/>
            <a:pathLst>
              <a:path w="958291200" h="194462400">
                <a:moveTo>
                  <a:pt x="0" y="162051405"/>
                </a:moveTo>
                <a:lnTo>
                  <a:pt x="0" y="162051405"/>
                </a:lnTo>
                <a:cubicBezTo>
                  <a:pt x="0" y="179951460"/>
                  <a:pt x="14510940" y="194462400"/>
                  <a:pt x="32411044" y="194462400"/>
                </a:cubicBezTo>
                <a:lnTo>
                  <a:pt x="925880105" y="194462400"/>
                </a:lnTo>
                <a:cubicBezTo>
                  <a:pt x="934476120" y="194462400"/>
                  <a:pt x="942720007" y="191047688"/>
                  <a:pt x="948798247" y="184969349"/>
                </a:cubicBezTo>
                <a:cubicBezTo>
                  <a:pt x="954876487" y="178891208"/>
                  <a:pt x="958291200" y="170647321"/>
                  <a:pt x="958291200" y="162051405"/>
                </a:cubicBezTo>
                <a:lnTo>
                  <a:pt x="958291200" y="32410996"/>
                </a:lnTo>
                <a:cubicBezTo>
                  <a:pt x="958291200" y="14510941"/>
                  <a:pt x="943780259" y="0"/>
                  <a:pt x="925880105" y="0"/>
                </a:cubicBezTo>
                <a:lnTo>
                  <a:pt x="32411044" y="0"/>
                </a:lnTo>
                <a:cubicBezTo>
                  <a:pt x="14510940" y="0"/>
                  <a:pt x="0" y="14510941"/>
                  <a:pt x="0" y="32410996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74" name="Freeform 3074"/>
          <p:cNvSpPr/>
          <p:nvPr/>
        </p:nvSpPr>
        <p:spPr>
          <a:xfrm flipV="1">
            <a:off x="1016849" y="3906500"/>
            <a:ext cx="1886399" cy="382799"/>
          </a:xfrm>
          <a:custGeom>
            <a:avLst/>
            <a:gdLst/>
            <a:ahLst/>
            <a:cxnLst/>
            <a:rect l="0" t="0" r="0" b="0"/>
            <a:pathLst>
              <a:path w="958291200" h="194462400">
                <a:moveTo>
                  <a:pt x="0" y="162051405"/>
                </a:moveTo>
                <a:lnTo>
                  <a:pt x="0" y="162051405"/>
                </a:lnTo>
                <a:cubicBezTo>
                  <a:pt x="0" y="179951460"/>
                  <a:pt x="14510940" y="194462400"/>
                  <a:pt x="32411044" y="194462400"/>
                </a:cubicBezTo>
                <a:lnTo>
                  <a:pt x="925880105" y="194462400"/>
                </a:lnTo>
                <a:cubicBezTo>
                  <a:pt x="934476120" y="194462400"/>
                  <a:pt x="942720007" y="191047688"/>
                  <a:pt x="948798247" y="184969349"/>
                </a:cubicBezTo>
                <a:cubicBezTo>
                  <a:pt x="954876487" y="178891208"/>
                  <a:pt x="958291200" y="170647321"/>
                  <a:pt x="958291200" y="162051405"/>
                </a:cubicBezTo>
                <a:lnTo>
                  <a:pt x="958291200" y="32410996"/>
                </a:lnTo>
                <a:cubicBezTo>
                  <a:pt x="958291200" y="14510941"/>
                  <a:pt x="943780259" y="0"/>
                  <a:pt x="925880105" y="0"/>
                </a:cubicBezTo>
                <a:lnTo>
                  <a:pt x="32411044" y="0"/>
                </a:lnTo>
                <a:cubicBezTo>
                  <a:pt x="14510940" y="0"/>
                  <a:pt x="0" y="14510941"/>
                  <a:pt x="0" y="32410996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075" name="Picture 3075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39907" y="2145947"/>
            <a:ext cx="1642575" cy="1642599"/>
          </a:xfrm>
          <a:prstGeom prst="rect">
            <a:avLst/>
          </a:prstGeom>
          <a:noFill/>
        </p:spPr>
      </p:pic>
      <p:sp>
        <p:nvSpPr>
          <p:cNvPr id="3076" name="Freeform 3076"/>
          <p:cNvSpPr/>
          <p:nvPr/>
        </p:nvSpPr>
        <p:spPr>
          <a:xfrm flipV="1">
            <a:off x="5633224" y="2339264"/>
            <a:ext cx="1058374" cy="1058399"/>
          </a:xfrm>
          <a:custGeom>
            <a:avLst/>
            <a:gdLst/>
            <a:ahLst/>
            <a:cxnLst/>
            <a:rect l="0" t="0" r="0" b="0"/>
            <a:pathLst>
              <a:path w="537654302" h="537666902">
                <a:moveTo>
                  <a:pt x="0" y="537666902"/>
                </a:moveTo>
                <a:lnTo>
                  <a:pt x="537654302" y="537666902"/>
                </a:lnTo>
                <a:lnTo>
                  <a:pt x="53765430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077" name="Picture 3077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33224" y="2339264"/>
            <a:ext cx="1058375" cy="1058399"/>
          </a:xfrm>
          <a:prstGeom prst="rect">
            <a:avLst/>
          </a:prstGeom>
          <a:noFill/>
        </p:spPr>
      </p:pic>
      <p:sp>
        <p:nvSpPr>
          <p:cNvPr id="3078" name="Freeform 3078"/>
          <p:cNvSpPr/>
          <p:nvPr/>
        </p:nvSpPr>
        <p:spPr>
          <a:xfrm flipV="1">
            <a:off x="4637340" y="3324231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946" h="751399271">
                <a:moveTo>
                  <a:pt x="0" y="563547618"/>
                </a:moveTo>
                <a:lnTo>
                  <a:pt x="368747477" y="751399271"/>
                </a:lnTo>
                <a:lnTo>
                  <a:pt x="737495946" y="563547618"/>
                </a:lnTo>
                <a:lnTo>
                  <a:pt x="737495946" y="187852050"/>
                </a:lnTo>
                <a:lnTo>
                  <a:pt x="368747477" y="0"/>
                </a:lnTo>
                <a:lnTo>
                  <a:pt x="0" y="187852050"/>
                </a:lnTo>
                <a:lnTo>
                  <a:pt x="0" y="563547618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79" name="Freeform 3079"/>
          <p:cNvSpPr/>
          <p:nvPr/>
        </p:nvSpPr>
        <p:spPr>
          <a:xfrm flipV="1">
            <a:off x="4637340" y="3324231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946" h="751399271">
                <a:moveTo>
                  <a:pt x="0" y="563547618"/>
                </a:moveTo>
                <a:lnTo>
                  <a:pt x="368747477" y="751399271"/>
                </a:lnTo>
                <a:lnTo>
                  <a:pt x="737495946" y="563547618"/>
                </a:lnTo>
                <a:lnTo>
                  <a:pt x="737495946" y="187852050"/>
                </a:lnTo>
                <a:lnTo>
                  <a:pt x="368747477" y="0"/>
                </a:lnTo>
                <a:lnTo>
                  <a:pt x="0" y="187852050"/>
                </a:lnTo>
                <a:lnTo>
                  <a:pt x="0" y="563547618"/>
                </a:lnTo>
                <a:close/>
              </a:path>
            </a:pathLst>
          </a:custGeom>
          <a:noFill/>
          <a:ln w="12099" cap="flat" cmpd="sng">
            <a:solidFill>
              <a:srgbClr val="95C9D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0" name="Freeform 3080"/>
          <p:cNvSpPr/>
          <p:nvPr/>
        </p:nvSpPr>
        <p:spPr>
          <a:xfrm flipV="1">
            <a:off x="6165357" y="3324231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271">
                <a:moveTo>
                  <a:pt x="0" y="563547618"/>
                </a:moveTo>
                <a:lnTo>
                  <a:pt x="368747278" y="751399271"/>
                </a:lnTo>
                <a:lnTo>
                  <a:pt x="737495747" y="563547618"/>
                </a:lnTo>
                <a:lnTo>
                  <a:pt x="737495747" y="187852050"/>
                </a:lnTo>
                <a:lnTo>
                  <a:pt x="368747278" y="0"/>
                </a:lnTo>
                <a:lnTo>
                  <a:pt x="0" y="187852050"/>
                </a:lnTo>
                <a:lnTo>
                  <a:pt x="0" y="563547618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1" name="Freeform 3081"/>
          <p:cNvSpPr/>
          <p:nvPr/>
        </p:nvSpPr>
        <p:spPr>
          <a:xfrm flipV="1">
            <a:off x="6165357" y="3324231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271">
                <a:moveTo>
                  <a:pt x="0" y="563547618"/>
                </a:moveTo>
                <a:lnTo>
                  <a:pt x="368747278" y="751399271"/>
                </a:lnTo>
                <a:lnTo>
                  <a:pt x="737495747" y="563547618"/>
                </a:lnTo>
                <a:lnTo>
                  <a:pt x="737495747" y="187852050"/>
                </a:lnTo>
                <a:lnTo>
                  <a:pt x="368747278" y="0"/>
                </a:lnTo>
                <a:lnTo>
                  <a:pt x="0" y="187852050"/>
                </a:lnTo>
                <a:lnTo>
                  <a:pt x="0" y="563547618"/>
                </a:lnTo>
                <a:close/>
              </a:path>
            </a:pathLst>
          </a:custGeom>
          <a:noFill/>
          <a:ln w="12099" cap="flat" cmpd="sng">
            <a:solidFill>
              <a:srgbClr val="95C9D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2" name="Freeform 3082"/>
          <p:cNvSpPr/>
          <p:nvPr/>
        </p:nvSpPr>
        <p:spPr>
          <a:xfrm flipV="1">
            <a:off x="4812357" y="230817"/>
            <a:ext cx="626494" cy="704024"/>
          </a:xfrm>
          <a:custGeom>
            <a:avLst/>
            <a:gdLst/>
            <a:ahLst/>
            <a:cxnLst/>
            <a:rect l="0" t="0" r="0" b="0"/>
            <a:pathLst>
              <a:path w="318259222" h="357644676">
                <a:moveTo>
                  <a:pt x="0" y="357644676"/>
                </a:moveTo>
                <a:lnTo>
                  <a:pt x="318259222" y="357644676"/>
                </a:lnTo>
                <a:lnTo>
                  <a:pt x="31825922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3" name="Freeform 3083"/>
          <p:cNvSpPr/>
          <p:nvPr/>
        </p:nvSpPr>
        <p:spPr>
          <a:xfrm flipV="1">
            <a:off x="5059119" y="429604"/>
            <a:ext cx="145670" cy="297539"/>
          </a:xfrm>
          <a:custGeom>
            <a:avLst/>
            <a:gdLst/>
            <a:ahLst/>
            <a:cxnLst/>
            <a:rect l="0" t="0" r="0" b="0"/>
            <a:pathLst>
              <a:path w="194227" h="396719">
                <a:moveTo>
                  <a:pt x="0" y="396719"/>
                </a:moveTo>
                <a:lnTo>
                  <a:pt x="194227" y="396719"/>
                </a:lnTo>
                <a:lnTo>
                  <a:pt x="194227" y="0"/>
                </a:lnTo>
                <a:lnTo>
                  <a:pt x="0" y="0"/>
                </a:lnTo>
                <a:lnTo>
                  <a:pt x="0" y="396719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4" name="Freeform 3084"/>
          <p:cNvSpPr/>
          <p:nvPr/>
        </p:nvSpPr>
        <p:spPr>
          <a:xfrm flipV="1">
            <a:off x="5204790" y="429604"/>
            <a:ext cx="126454" cy="297539"/>
          </a:xfrm>
          <a:custGeom>
            <a:avLst/>
            <a:gdLst/>
            <a:ahLst/>
            <a:cxnLst/>
            <a:rect l="0" t="0" r="0" b="0"/>
            <a:pathLst>
              <a:path w="168606" h="396719">
                <a:moveTo>
                  <a:pt x="0" y="396719"/>
                </a:moveTo>
                <a:lnTo>
                  <a:pt x="168606" y="396719"/>
                </a:lnTo>
                <a:lnTo>
                  <a:pt x="168606" y="0"/>
                </a:lnTo>
                <a:lnTo>
                  <a:pt x="0" y="0"/>
                </a:lnTo>
                <a:lnTo>
                  <a:pt x="0" y="396719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5" name="Freeform 3085"/>
          <p:cNvSpPr/>
          <p:nvPr/>
        </p:nvSpPr>
        <p:spPr>
          <a:xfrm flipV="1">
            <a:off x="5700314" y="222890"/>
            <a:ext cx="1975730" cy="704024"/>
          </a:xfrm>
          <a:custGeom>
            <a:avLst/>
            <a:gdLst/>
            <a:ahLst/>
            <a:cxnLst/>
            <a:rect l="0" t="0" r="0" b="0"/>
            <a:pathLst>
              <a:path w="1003671276" h="357644700">
                <a:moveTo>
                  <a:pt x="0" y="357644700"/>
                </a:moveTo>
                <a:lnTo>
                  <a:pt x="1003671276" y="357644700"/>
                </a:lnTo>
                <a:lnTo>
                  <a:pt x="1003671276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6" name="Freeform 3086"/>
          <p:cNvSpPr/>
          <p:nvPr/>
        </p:nvSpPr>
        <p:spPr>
          <a:xfrm flipV="1">
            <a:off x="5713014" y="421677"/>
            <a:ext cx="582682" cy="297539"/>
          </a:xfrm>
          <a:custGeom>
            <a:avLst/>
            <a:gdLst/>
            <a:ahLst/>
            <a:cxnLst/>
            <a:rect l="0" t="0" r="0" b="0"/>
            <a:pathLst>
              <a:path w="776910" h="396719">
                <a:moveTo>
                  <a:pt x="0" y="396719"/>
                </a:moveTo>
                <a:lnTo>
                  <a:pt x="776910" y="396719"/>
                </a:lnTo>
                <a:lnTo>
                  <a:pt x="776910" y="0"/>
                </a:lnTo>
                <a:lnTo>
                  <a:pt x="0" y="0"/>
                </a:lnTo>
                <a:lnTo>
                  <a:pt x="0" y="396719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7" name="Freeform 3087"/>
          <p:cNvSpPr/>
          <p:nvPr/>
        </p:nvSpPr>
        <p:spPr>
          <a:xfrm flipV="1">
            <a:off x="6867623" y="421677"/>
            <a:ext cx="575616" cy="297539"/>
          </a:xfrm>
          <a:custGeom>
            <a:avLst/>
            <a:gdLst/>
            <a:ahLst/>
            <a:cxnLst/>
            <a:rect l="0" t="0" r="0" b="0"/>
            <a:pathLst>
              <a:path w="767488" h="396719">
                <a:moveTo>
                  <a:pt x="0" y="396719"/>
                </a:moveTo>
                <a:lnTo>
                  <a:pt x="767488" y="396719"/>
                </a:lnTo>
                <a:lnTo>
                  <a:pt x="767488" y="0"/>
                </a:lnTo>
                <a:lnTo>
                  <a:pt x="0" y="0"/>
                </a:lnTo>
                <a:lnTo>
                  <a:pt x="0" y="396719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8" name="Freeform 3088"/>
          <p:cNvSpPr/>
          <p:nvPr/>
        </p:nvSpPr>
        <p:spPr>
          <a:xfrm flipV="1">
            <a:off x="3922834" y="2099627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468">
                <a:moveTo>
                  <a:pt x="0" y="563547815"/>
                </a:moveTo>
                <a:lnTo>
                  <a:pt x="368747278" y="751399468"/>
                </a:lnTo>
                <a:lnTo>
                  <a:pt x="737495747" y="563547815"/>
                </a:lnTo>
                <a:lnTo>
                  <a:pt x="737495747" y="187853240"/>
                </a:lnTo>
                <a:lnTo>
                  <a:pt x="368747278" y="0"/>
                </a:lnTo>
                <a:lnTo>
                  <a:pt x="0" y="187853240"/>
                </a:lnTo>
                <a:lnTo>
                  <a:pt x="0" y="563547815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89" name="Freeform 3089"/>
          <p:cNvSpPr/>
          <p:nvPr/>
        </p:nvSpPr>
        <p:spPr>
          <a:xfrm flipV="1">
            <a:off x="3922834" y="2099627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468">
                <a:moveTo>
                  <a:pt x="0" y="563547815"/>
                </a:moveTo>
                <a:lnTo>
                  <a:pt x="368747278" y="751399468"/>
                </a:lnTo>
                <a:lnTo>
                  <a:pt x="737495747" y="563547815"/>
                </a:lnTo>
                <a:lnTo>
                  <a:pt x="737495747" y="187853240"/>
                </a:lnTo>
                <a:lnTo>
                  <a:pt x="368747278" y="0"/>
                </a:lnTo>
                <a:lnTo>
                  <a:pt x="0" y="187853240"/>
                </a:lnTo>
                <a:lnTo>
                  <a:pt x="0" y="563547815"/>
                </a:lnTo>
                <a:close/>
              </a:path>
            </a:pathLst>
          </a:custGeom>
          <a:noFill/>
          <a:ln w="12099" cap="flat" cmpd="sng">
            <a:solidFill>
              <a:srgbClr val="95C9D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0" name="Freeform 3090"/>
          <p:cNvSpPr/>
          <p:nvPr/>
        </p:nvSpPr>
        <p:spPr>
          <a:xfrm flipV="1">
            <a:off x="6950127" y="2099627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468">
                <a:moveTo>
                  <a:pt x="0" y="563547815"/>
                </a:moveTo>
                <a:lnTo>
                  <a:pt x="368747278" y="751399468"/>
                </a:lnTo>
                <a:lnTo>
                  <a:pt x="737495747" y="563547815"/>
                </a:lnTo>
                <a:lnTo>
                  <a:pt x="737495747" y="187853240"/>
                </a:lnTo>
                <a:lnTo>
                  <a:pt x="368747278" y="0"/>
                </a:lnTo>
                <a:lnTo>
                  <a:pt x="0" y="187853240"/>
                </a:lnTo>
                <a:lnTo>
                  <a:pt x="0" y="563547815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1" name="Freeform 3091"/>
          <p:cNvSpPr/>
          <p:nvPr/>
        </p:nvSpPr>
        <p:spPr>
          <a:xfrm flipV="1">
            <a:off x="6950127" y="2099627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468">
                <a:moveTo>
                  <a:pt x="0" y="563547815"/>
                </a:moveTo>
                <a:lnTo>
                  <a:pt x="368747278" y="751399468"/>
                </a:lnTo>
                <a:lnTo>
                  <a:pt x="737495747" y="563547815"/>
                </a:lnTo>
                <a:lnTo>
                  <a:pt x="737495747" y="187853240"/>
                </a:lnTo>
                <a:lnTo>
                  <a:pt x="368747278" y="0"/>
                </a:lnTo>
                <a:lnTo>
                  <a:pt x="0" y="187853240"/>
                </a:lnTo>
                <a:lnTo>
                  <a:pt x="0" y="563547815"/>
                </a:lnTo>
                <a:close/>
              </a:path>
            </a:pathLst>
          </a:custGeom>
          <a:noFill/>
          <a:ln w="12099" cap="flat" cmpd="sng">
            <a:solidFill>
              <a:srgbClr val="95C9D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2" name="Freeform 3092"/>
          <p:cNvSpPr/>
          <p:nvPr/>
        </p:nvSpPr>
        <p:spPr>
          <a:xfrm flipV="1">
            <a:off x="6197836" y="942275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419">
                <a:moveTo>
                  <a:pt x="0" y="563547766"/>
                </a:moveTo>
                <a:lnTo>
                  <a:pt x="368747278" y="751399419"/>
                </a:lnTo>
                <a:lnTo>
                  <a:pt x="737495747" y="563547766"/>
                </a:lnTo>
                <a:lnTo>
                  <a:pt x="737495747" y="187853240"/>
                </a:lnTo>
                <a:lnTo>
                  <a:pt x="368747278" y="0"/>
                </a:lnTo>
                <a:lnTo>
                  <a:pt x="0" y="187853240"/>
                </a:lnTo>
                <a:lnTo>
                  <a:pt x="0" y="563547766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3" name="Freeform 3093"/>
          <p:cNvSpPr/>
          <p:nvPr/>
        </p:nvSpPr>
        <p:spPr>
          <a:xfrm flipV="1">
            <a:off x="6197836" y="942275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419">
                <a:moveTo>
                  <a:pt x="0" y="563547766"/>
                </a:moveTo>
                <a:lnTo>
                  <a:pt x="368747278" y="751399419"/>
                </a:lnTo>
                <a:lnTo>
                  <a:pt x="737495747" y="563547766"/>
                </a:lnTo>
                <a:lnTo>
                  <a:pt x="737495747" y="187853240"/>
                </a:lnTo>
                <a:lnTo>
                  <a:pt x="368747278" y="0"/>
                </a:lnTo>
                <a:lnTo>
                  <a:pt x="0" y="187853240"/>
                </a:lnTo>
                <a:lnTo>
                  <a:pt x="0" y="563547766"/>
                </a:lnTo>
                <a:close/>
              </a:path>
            </a:pathLst>
          </a:custGeom>
          <a:noFill/>
          <a:ln w="12099" cap="flat" cmpd="sng">
            <a:solidFill>
              <a:srgbClr val="95C9D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4" name="Freeform 3094"/>
          <p:cNvSpPr/>
          <p:nvPr/>
        </p:nvSpPr>
        <p:spPr>
          <a:xfrm flipV="1">
            <a:off x="4686567" y="945528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419">
                <a:moveTo>
                  <a:pt x="0" y="563547766"/>
                </a:moveTo>
                <a:lnTo>
                  <a:pt x="368747278" y="751399419"/>
                </a:lnTo>
                <a:lnTo>
                  <a:pt x="737495747" y="563547766"/>
                </a:lnTo>
                <a:lnTo>
                  <a:pt x="737495747" y="187852050"/>
                </a:lnTo>
                <a:lnTo>
                  <a:pt x="368747278" y="0"/>
                </a:lnTo>
                <a:lnTo>
                  <a:pt x="0" y="187852050"/>
                </a:lnTo>
                <a:lnTo>
                  <a:pt x="0" y="563547766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5" name="Freeform 3095"/>
          <p:cNvSpPr/>
          <p:nvPr/>
        </p:nvSpPr>
        <p:spPr>
          <a:xfrm flipV="1">
            <a:off x="4686567" y="945528"/>
            <a:ext cx="1451763" cy="1479132"/>
          </a:xfrm>
          <a:custGeom>
            <a:avLst/>
            <a:gdLst/>
            <a:ahLst/>
            <a:cxnLst/>
            <a:rect l="0" t="0" r="0" b="0"/>
            <a:pathLst>
              <a:path w="737495747" h="751399419">
                <a:moveTo>
                  <a:pt x="0" y="563547766"/>
                </a:moveTo>
                <a:lnTo>
                  <a:pt x="368747278" y="751399419"/>
                </a:lnTo>
                <a:lnTo>
                  <a:pt x="737495747" y="563547766"/>
                </a:lnTo>
                <a:lnTo>
                  <a:pt x="737495747" y="187852050"/>
                </a:lnTo>
                <a:lnTo>
                  <a:pt x="368747278" y="0"/>
                </a:lnTo>
                <a:lnTo>
                  <a:pt x="0" y="187852050"/>
                </a:lnTo>
                <a:lnTo>
                  <a:pt x="0" y="563547766"/>
                </a:lnTo>
                <a:close/>
              </a:path>
            </a:pathLst>
          </a:custGeom>
          <a:noFill/>
          <a:ln w="12099" cap="flat" cmpd="sng">
            <a:solidFill>
              <a:srgbClr val="95C9D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6" name="Freeform 3096"/>
          <p:cNvSpPr/>
          <p:nvPr/>
        </p:nvSpPr>
        <p:spPr>
          <a:xfrm flipV="1">
            <a:off x="4087481" y="2498054"/>
            <a:ext cx="1287272" cy="148499"/>
          </a:xfrm>
          <a:custGeom>
            <a:avLst/>
            <a:gdLst/>
            <a:ahLst/>
            <a:cxnLst/>
            <a:rect l="0" t="0" r="0" b="0"/>
            <a:pathLst>
              <a:path w="653934310" h="75438000">
                <a:moveTo>
                  <a:pt x="0" y="75438000"/>
                </a:moveTo>
                <a:lnTo>
                  <a:pt x="653934310" y="75438000"/>
                </a:lnTo>
                <a:lnTo>
                  <a:pt x="65393431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7" name="Freeform 3097"/>
          <p:cNvSpPr/>
          <p:nvPr/>
        </p:nvSpPr>
        <p:spPr>
          <a:xfrm flipV="1">
            <a:off x="6458006" y="1281364"/>
            <a:ext cx="1368790" cy="780974"/>
          </a:xfrm>
          <a:custGeom>
            <a:avLst/>
            <a:gdLst/>
            <a:ahLst/>
            <a:cxnLst/>
            <a:rect l="0" t="0" r="0" b="0"/>
            <a:pathLst>
              <a:path w="695345637" h="396735300">
                <a:moveTo>
                  <a:pt x="0" y="396735300"/>
                </a:moveTo>
                <a:lnTo>
                  <a:pt x="695345637" y="396735300"/>
                </a:lnTo>
                <a:lnTo>
                  <a:pt x="695345637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8" name="Freeform 3098"/>
          <p:cNvSpPr/>
          <p:nvPr/>
        </p:nvSpPr>
        <p:spPr>
          <a:xfrm flipV="1">
            <a:off x="4835072" y="1329978"/>
            <a:ext cx="1160805" cy="742499"/>
          </a:xfrm>
          <a:custGeom>
            <a:avLst/>
            <a:gdLst/>
            <a:ahLst/>
            <a:cxnLst/>
            <a:rect l="0" t="0" r="0" b="0"/>
            <a:pathLst>
              <a:path w="589689178" h="377190000">
                <a:moveTo>
                  <a:pt x="0" y="377190000"/>
                </a:moveTo>
                <a:lnTo>
                  <a:pt x="589689178" y="377190000"/>
                </a:lnTo>
                <a:lnTo>
                  <a:pt x="58968917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99" name="Freeform 3099"/>
          <p:cNvSpPr/>
          <p:nvPr/>
        </p:nvSpPr>
        <p:spPr>
          <a:xfrm flipV="1">
            <a:off x="4895437" y="3634052"/>
            <a:ext cx="1243085" cy="566774"/>
          </a:xfrm>
          <a:custGeom>
            <a:avLst/>
            <a:gdLst/>
            <a:ahLst/>
            <a:cxnLst/>
            <a:rect l="0" t="0" r="0" b="0"/>
            <a:pathLst>
              <a:path w="631487458" h="287921700">
                <a:moveTo>
                  <a:pt x="0" y="287921700"/>
                </a:moveTo>
                <a:lnTo>
                  <a:pt x="631487458" y="287921700"/>
                </a:lnTo>
                <a:lnTo>
                  <a:pt x="631487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00" name="Freeform 3100"/>
          <p:cNvSpPr/>
          <p:nvPr/>
        </p:nvSpPr>
        <p:spPr>
          <a:xfrm flipV="1">
            <a:off x="6414627" y="3634052"/>
            <a:ext cx="1089191" cy="851174"/>
          </a:xfrm>
          <a:custGeom>
            <a:avLst/>
            <a:gdLst/>
            <a:ahLst/>
            <a:cxnLst/>
            <a:rect l="0" t="0" r="0" b="0"/>
            <a:pathLst>
              <a:path w="553309235" h="432396900">
                <a:moveTo>
                  <a:pt x="0" y="432396900"/>
                </a:moveTo>
                <a:lnTo>
                  <a:pt x="553309235" y="432396900"/>
                </a:lnTo>
                <a:lnTo>
                  <a:pt x="553309235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01" name="Freeform 3101"/>
          <p:cNvSpPr/>
          <p:nvPr/>
        </p:nvSpPr>
        <p:spPr>
          <a:xfrm flipV="1">
            <a:off x="4099912" y="2738495"/>
            <a:ext cx="1171471" cy="405449"/>
          </a:xfrm>
          <a:custGeom>
            <a:avLst/>
            <a:gdLst/>
            <a:ahLst/>
            <a:cxnLst/>
            <a:rect l="0" t="0" r="0" b="0"/>
            <a:pathLst>
              <a:path w="595107316" h="205968600">
                <a:moveTo>
                  <a:pt x="0" y="205968600"/>
                </a:moveTo>
                <a:lnTo>
                  <a:pt x="595107316" y="205968600"/>
                </a:lnTo>
                <a:lnTo>
                  <a:pt x="595107316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02" name="Freeform 3102"/>
          <p:cNvSpPr/>
          <p:nvPr/>
        </p:nvSpPr>
        <p:spPr>
          <a:xfrm flipV="1">
            <a:off x="7139066" y="2424760"/>
            <a:ext cx="1168932" cy="831149"/>
          </a:xfrm>
          <a:custGeom>
            <a:avLst/>
            <a:gdLst/>
            <a:ahLst/>
            <a:cxnLst/>
            <a:rect l="0" t="0" r="0" b="0"/>
            <a:pathLst>
              <a:path w="593817472" h="422224200">
                <a:moveTo>
                  <a:pt x="0" y="422224200"/>
                </a:moveTo>
                <a:lnTo>
                  <a:pt x="593817472" y="422224200"/>
                </a:lnTo>
                <a:lnTo>
                  <a:pt x="59381747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103" name="Picture 3103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9737" y="415313"/>
            <a:ext cx="2699025" cy="1061325"/>
          </a:xfrm>
          <a:prstGeom prst="rect">
            <a:avLst/>
          </a:prstGeom>
          <a:noFill/>
        </p:spPr>
      </p:pic>
      <p:sp>
        <p:nvSpPr>
          <p:cNvPr id="3104" name="Freeform 3104"/>
          <p:cNvSpPr/>
          <p:nvPr/>
        </p:nvSpPr>
        <p:spPr>
          <a:xfrm flipV="1">
            <a:off x="751649" y="458175"/>
            <a:ext cx="2575199" cy="937499"/>
          </a:xfrm>
          <a:custGeom>
            <a:avLst/>
            <a:gdLst/>
            <a:ahLst/>
            <a:cxnLst/>
            <a:rect l="0" t="0" r="0" b="0"/>
            <a:pathLst>
              <a:path w="1308201600" h="476250000">
                <a:moveTo>
                  <a:pt x="0" y="396873413"/>
                </a:moveTo>
                <a:lnTo>
                  <a:pt x="0" y="396873413"/>
                </a:lnTo>
                <a:cubicBezTo>
                  <a:pt x="0" y="440711903"/>
                  <a:pt x="35538122" y="476250000"/>
                  <a:pt x="79376587" y="476250000"/>
                </a:cubicBezTo>
                <a:lnTo>
                  <a:pt x="1228825012" y="476250000"/>
                </a:lnTo>
                <a:cubicBezTo>
                  <a:pt x="1249876949" y="476250000"/>
                  <a:pt x="1270066774" y="467887125"/>
                  <a:pt x="1284952662" y="453001137"/>
                </a:cubicBezTo>
                <a:cubicBezTo>
                  <a:pt x="1299838650" y="438115150"/>
                  <a:pt x="1308201600" y="417925399"/>
                  <a:pt x="1308201600" y="396873413"/>
                </a:cubicBezTo>
                <a:lnTo>
                  <a:pt x="1308201600" y="79376588"/>
                </a:lnTo>
                <a:cubicBezTo>
                  <a:pt x="1308201600" y="35538123"/>
                  <a:pt x="1272663527" y="0"/>
                  <a:pt x="1228825012" y="0"/>
                </a:cubicBezTo>
                <a:lnTo>
                  <a:pt x="79376587" y="0"/>
                </a:lnTo>
                <a:cubicBezTo>
                  <a:pt x="35538122" y="0"/>
                  <a:pt x="0" y="35538123"/>
                  <a:pt x="0" y="79376588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05" name="Freeform 3105"/>
          <p:cNvSpPr/>
          <p:nvPr/>
        </p:nvSpPr>
        <p:spPr>
          <a:xfrm flipV="1">
            <a:off x="751649" y="458175"/>
            <a:ext cx="2575199" cy="937499"/>
          </a:xfrm>
          <a:custGeom>
            <a:avLst/>
            <a:gdLst/>
            <a:ahLst/>
            <a:cxnLst/>
            <a:rect l="0" t="0" r="0" b="0"/>
            <a:pathLst>
              <a:path w="1308201600" h="476250000">
                <a:moveTo>
                  <a:pt x="0" y="396873413"/>
                </a:moveTo>
                <a:lnTo>
                  <a:pt x="0" y="396873413"/>
                </a:lnTo>
                <a:cubicBezTo>
                  <a:pt x="0" y="440711903"/>
                  <a:pt x="35538122" y="476250000"/>
                  <a:pt x="79376587" y="476250000"/>
                </a:cubicBezTo>
                <a:lnTo>
                  <a:pt x="1228825012" y="476250000"/>
                </a:lnTo>
                <a:cubicBezTo>
                  <a:pt x="1249876949" y="476250000"/>
                  <a:pt x="1270066774" y="467887125"/>
                  <a:pt x="1284952662" y="453001137"/>
                </a:cubicBezTo>
                <a:cubicBezTo>
                  <a:pt x="1299838650" y="438115150"/>
                  <a:pt x="1308201600" y="417925399"/>
                  <a:pt x="1308201600" y="396873413"/>
                </a:cubicBezTo>
                <a:lnTo>
                  <a:pt x="1308201600" y="79376588"/>
                </a:lnTo>
                <a:cubicBezTo>
                  <a:pt x="1308201600" y="35538123"/>
                  <a:pt x="1272663527" y="0"/>
                  <a:pt x="1228825012" y="0"/>
                </a:cubicBezTo>
                <a:lnTo>
                  <a:pt x="79376587" y="0"/>
                </a:lnTo>
                <a:cubicBezTo>
                  <a:pt x="35538122" y="0"/>
                  <a:pt x="0" y="35538123"/>
                  <a:pt x="0" y="79376588"/>
                </a:cubicBezTo>
                <a:close/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06" name="Freeform 3106"/>
          <p:cNvSpPr/>
          <p:nvPr/>
        </p:nvSpPr>
        <p:spPr>
          <a:xfrm flipV="1">
            <a:off x="827849" y="458175"/>
            <a:ext cx="2464799" cy="605399"/>
          </a:xfrm>
          <a:custGeom>
            <a:avLst/>
            <a:gdLst/>
            <a:ahLst/>
            <a:cxnLst/>
            <a:rect l="0" t="0" r="0" b="0"/>
            <a:pathLst>
              <a:path w="1252118400" h="307543200">
                <a:moveTo>
                  <a:pt x="0" y="307543200"/>
                </a:moveTo>
                <a:lnTo>
                  <a:pt x="1252118400" y="307543200"/>
                </a:lnTo>
                <a:lnTo>
                  <a:pt x="1252118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07" name="Freeform 3107"/>
          <p:cNvSpPr/>
          <p:nvPr/>
        </p:nvSpPr>
        <p:spPr>
          <a:xfrm flipV="1">
            <a:off x="751640" y="983175"/>
            <a:ext cx="2568900" cy="4199"/>
          </a:xfrm>
          <a:custGeom>
            <a:avLst/>
            <a:gdLst/>
            <a:ahLst/>
            <a:cxnLst/>
            <a:rect l="0" t="0" r="0" b="0"/>
            <a:pathLst>
              <a:path w="1305001300" h="2133600">
                <a:moveTo>
                  <a:pt x="0" y="0"/>
                </a:moveTo>
                <a:lnTo>
                  <a:pt x="1305001300" y="2133600"/>
                </a:lnTo>
              </a:path>
            </a:pathLst>
          </a:custGeom>
          <a:noFill/>
          <a:ln w="24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08" name="Freeform 3108"/>
          <p:cNvSpPr/>
          <p:nvPr/>
        </p:nvSpPr>
        <p:spPr>
          <a:xfrm flipV="1">
            <a:off x="751640" y="983175"/>
            <a:ext cx="2568900" cy="4199"/>
          </a:xfrm>
          <a:custGeom>
            <a:avLst/>
            <a:gdLst/>
            <a:ahLst/>
            <a:cxnLst/>
            <a:rect l="0" t="0" r="0" b="0"/>
            <a:pathLst>
              <a:path w="1305001300" h="2133600">
                <a:moveTo>
                  <a:pt x="0" y="0"/>
                </a:moveTo>
                <a:lnTo>
                  <a:pt x="1305001300" y="2133600"/>
                </a:lnTo>
              </a:path>
            </a:pathLst>
          </a:custGeom>
          <a:noFill/>
          <a:ln w="952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09" name="Freeform 3109"/>
          <p:cNvSpPr/>
          <p:nvPr/>
        </p:nvSpPr>
        <p:spPr>
          <a:xfrm flipV="1">
            <a:off x="827849" y="991575"/>
            <a:ext cx="2464799" cy="337799"/>
          </a:xfrm>
          <a:custGeom>
            <a:avLst/>
            <a:gdLst/>
            <a:ahLst/>
            <a:cxnLst/>
            <a:rect l="0" t="0" r="0" b="0"/>
            <a:pathLst>
              <a:path w="1252118400" h="171602400">
                <a:moveTo>
                  <a:pt x="0" y="171602400"/>
                </a:moveTo>
                <a:lnTo>
                  <a:pt x="1252118400" y="171602400"/>
                </a:lnTo>
                <a:lnTo>
                  <a:pt x="1252118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2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10" name="Rectangle 3110"/>
          <p:cNvSpPr/>
          <p:nvPr/>
        </p:nvSpPr>
        <p:spPr>
          <a:xfrm>
            <a:off x="431800" y="131426"/>
            <a:ext cx="1976958" cy="213360"/>
          </a:xfrm>
          <a:prstGeom prst="rect">
            <a:avLst/>
          </a:prstGeom>
        </p:spPr>
      </p:sp>
      <p:sp>
        <p:nvSpPr>
          <p:cNvPr id="3111" name="Freeform 3111"/>
          <p:cNvSpPr/>
          <p:nvPr/>
        </p:nvSpPr>
        <p:spPr>
          <a:xfrm>
            <a:off x="434405" y="173920"/>
            <a:ext cx="105827" cy="126415"/>
          </a:xfrm>
          <a:custGeom>
            <a:avLst/>
            <a:gdLst/>
            <a:ahLst/>
            <a:cxnLst/>
            <a:rect l="0" t="0" r="0" b="0"/>
            <a:pathLst>
              <a:path w="7559080" h="9029700">
                <a:moveTo>
                  <a:pt x="5829101" y="6493074"/>
                </a:moveTo>
                <a:lnTo>
                  <a:pt x="1729978" y="6493074"/>
                </a:lnTo>
                <a:lnTo>
                  <a:pt x="799901" y="9029700"/>
                </a:lnTo>
                <a:lnTo>
                  <a:pt x="0" y="9029700"/>
                </a:lnTo>
                <a:lnTo>
                  <a:pt x="3416697" y="0"/>
                </a:lnTo>
                <a:lnTo>
                  <a:pt x="4142383" y="0"/>
                </a:lnTo>
                <a:lnTo>
                  <a:pt x="7559080" y="9029700"/>
                </a:lnTo>
                <a:lnTo>
                  <a:pt x="6765330" y="9029700"/>
                </a:lnTo>
                <a:close/>
                <a:moveTo>
                  <a:pt x="1965722" y="5842000"/>
                </a:moveTo>
                <a:lnTo>
                  <a:pt x="5587206" y="5842000"/>
                </a:lnTo>
                <a:lnTo>
                  <a:pt x="3776464" y="930275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12" name="Freeform 3112"/>
          <p:cNvSpPr/>
          <p:nvPr/>
        </p:nvSpPr>
        <p:spPr>
          <a:xfrm>
            <a:off x="541597" y="206457"/>
            <a:ext cx="77526" cy="93878"/>
          </a:xfrm>
          <a:custGeom>
            <a:avLst/>
            <a:gdLst/>
            <a:ahLst/>
            <a:cxnLst/>
            <a:rect l="0" t="0" r="0" b="0"/>
            <a:pathLst>
              <a:path w="5537597" h="6705600">
                <a:moveTo>
                  <a:pt x="5537597" y="632619"/>
                </a:moveTo>
                <a:lnTo>
                  <a:pt x="3094435" y="632619"/>
                </a:lnTo>
                <a:lnTo>
                  <a:pt x="3094435" y="6705600"/>
                </a:lnTo>
                <a:lnTo>
                  <a:pt x="2350294" y="6705600"/>
                </a:lnTo>
                <a:lnTo>
                  <a:pt x="2350294" y="632619"/>
                </a:lnTo>
                <a:lnTo>
                  <a:pt x="0" y="632619"/>
                </a:lnTo>
                <a:lnTo>
                  <a:pt x="0" y="0"/>
                </a:lnTo>
                <a:lnTo>
                  <a:pt x="55375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13" name="Freeform 3113"/>
          <p:cNvSpPr/>
          <p:nvPr/>
        </p:nvSpPr>
        <p:spPr>
          <a:xfrm>
            <a:off x="619465" y="206457"/>
            <a:ext cx="81954" cy="93878"/>
          </a:xfrm>
          <a:custGeom>
            <a:avLst/>
            <a:gdLst/>
            <a:ahLst/>
            <a:cxnLst/>
            <a:rect l="0" t="0" r="0" b="0"/>
            <a:pathLst>
              <a:path w="5853906" h="6705600">
                <a:moveTo>
                  <a:pt x="5853906" y="0"/>
                </a:moveTo>
                <a:lnTo>
                  <a:pt x="5853906" y="6705600"/>
                </a:lnTo>
                <a:lnTo>
                  <a:pt x="5109766" y="6705600"/>
                </a:lnTo>
                <a:lnTo>
                  <a:pt x="5109766" y="638771"/>
                </a:lnTo>
                <a:lnTo>
                  <a:pt x="2362597" y="638771"/>
                </a:lnTo>
                <a:lnTo>
                  <a:pt x="2244924" y="3148608"/>
                </a:lnTo>
                <a:cubicBezTo>
                  <a:pt x="2195314" y="4078090"/>
                  <a:pt x="2102247" y="4787636"/>
                  <a:pt x="1965722" y="5277247"/>
                </a:cubicBezTo>
                <a:cubicBezTo>
                  <a:pt x="1829329" y="5766727"/>
                  <a:pt x="1626791" y="6127155"/>
                  <a:pt x="1358106" y="6358533"/>
                </a:cubicBezTo>
                <a:cubicBezTo>
                  <a:pt x="1089422" y="6589911"/>
                  <a:pt x="731838" y="6705600"/>
                  <a:pt x="285353" y="6705600"/>
                </a:cubicBezTo>
                <a:lnTo>
                  <a:pt x="0" y="6705600"/>
                </a:lnTo>
                <a:lnTo>
                  <a:pt x="0" y="6048177"/>
                </a:lnTo>
                <a:lnTo>
                  <a:pt x="229394" y="6035874"/>
                </a:lnTo>
                <a:cubicBezTo>
                  <a:pt x="655241" y="6027672"/>
                  <a:pt x="961165" y="5821165"/>
                  <a:pt x="1147167" y="5416352"/>
                </a:cubicBezTo>
                <a:cubicBezTo>
                  <a:pt x="1333302" y="5011407"/>
                  <a:pt x="1455275" y="4288367"/>
                  <a:pt x="1513086" y="3247232"/>
                </a:cubicBezTo>
                <a:lnTo>
                  <a:pt x="1649611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14" name="Freeform 3114"/>
          <p:cNvSpPr/>
          <p:nvPr/>
        </p:nvSpPr>
        <p:spPr>
          <a:xfrm>
            <a:off x="724250" y="204679"/>
            <a:ext cx="75270" cy="97434"/>
          </a:xfrm>
          <a:custGeom>
            <a:avLst/>
            <a:gdLst/>
            <a:ahLst/>
            <a:cxnLst/>
            <a:rect l="0" t="0" r="0" b="0"/>
            <a:pathLst>
              <a:path w="5376465" h="6959600">
                <a:moveTo>
                  <a:pt x="4582715" y="6832600"/>
                </a:moveTo>
                <a:cubicBezTo>
                  <a:pt x="4508235" y="6621860"/>
                  <a:pt x="4460676" y="6309784"/>
                  <a:pt x="4440039" y="5896372"/>
                </a:cubicBezTo>
                <a:cubicBezTo>
                  <a:pt x="4179557" y="6236230"/>
                  <a:pt x="3847769" y="6498432"/>
                  <a:pt x="3444676" y="6682979"/>
                </a:cubicBezTo>
                <a:cubicBezTo>
                  <a:pt x="3041716" y="6867392"/>
                  <a:pt x="2614877" y="6959600"/>
                  <a:pt x="2164159" y="6959600"/>
                </a:cubicBezTo>
                <a:cubicBezTo>
                  <a:pt x="1519237" y="6959600"/>
                  <a:pt x="997280" y="6779750"/>
                  <a:pt x="598289" y="6420049"/>
                </a:cubicBezTo>
                <a:cubicBezTo>
                  <a:pt x="199429" y="6060216"/>
                  <a:pt x="0" y="5605265"/>
                  <a:pt x="0" y="5055196"/>
                </a:cubicBezTo>
                <a:cubicBezTo>
                  <a:pt x="0" y="4401807"/>
                  <a:pt x="271793" y="3884878"/>
                  <a:pt x="815379" y="3504407"/>
                </a:cubicBezTo>
                <a:cubicBezTo>
                  <a:pt x="1359098" y="3123936"/>
                  <a:pt x="2116733" y="2933700"/>
                  <a:pt x="3088283" y="2933700"/>
                </a:cubicBezTo>
                <a:lnTo>
                  <a:pt x="4433887" y="2933700"/>
                </a:lnTo>
                <a:lnTo>
                  <a:pt x="4433887" y="2170708"/>
                </a:lnTo>
                <a:cubicBezTo>
                  <a:pt x="4433887" y="1691019"/>
                  <a:pt x="4286051" y="1313723"/>
                  <a:pt x="3990379" y="1038821"/>
                </a:cubicBezTo>
                <a:cubicBezTo>
                  <a:pt x="3694840" y="763786"/>
                  <a:pt x="3263900" y="626269"/>
                  <a:pt x="2697559" y="626269"/>
                </a:cubicBezTo>
                <a:cubicBezTo>
                  <a:pt x="2180828" y="626269"/>
                  <a:pt x="1752930" y="757635"/>
                  <a:pt x="1413867" y="1020366"/>
                </a:cubicBezTo>
                <a:cubicBezTo>
                  <a:pt x="1074936" y="1283097"/>
                  <a:pt x="905470" y="1599142"/>
                  <a:pt x="905470" y="1968500"/>
                </a:cubicBezTo>
                <a:lnTo>
                  <a:pt x="161329" y="1962349"/>
                </a:lnTo>
                <a:cubicBezTo>
                  <a:pt x="161329" y="1431595"/>
                  <a:pt x="409376" y="971881"/>
                  <a:pt x="905470" y="583208"/>
                </a:cubicBezTo>
                <a:cubicBezTo>
                  <a:pt x="1401564" y="194403"/>
                  <a:pt x="2011296" y="0"/>
                  <a:pt x="2734667" y="0"/>
                </a:cubicBezTo>
                <a:cubicBezTo>
                  <a:pt x="3483041" y="0"/>
                  <a:pt x="4073194" y="187061"/>
                  <a:pt x="4505126" y="561182"/>
                </a:cubicBezTo>
                <a:cubicBezTo>
                  <a:pt x="4937191" y="935170"/>
                  <a:pt x="5159441" y="1456995"/>
                  <a:pt x="5171876" y="2126655"/>
                </a:cubicBezTo>
                <a:lnTo>
                  <a:pt x="5171876" y="5301060"/>
                </a:lnTo>
                <a:cubicBezTo>
                  <a:pt x="5171876" y="5950083"/>
                  <a:pt x="5240072" y="6435792"/>
                  <a:pt x="5376465" y="6758186"/>
                </a:cubicBezTo>
                <a:lnTo>
                  <a:pt x="5376465" y="6832600"/>
                </a:lnTo>
                <a:close/>
                <a:moveTo>
                  <a:pt x="2251075" y="6302177"/>
                </a:moveTo>
                <a:cubicBezTo>
                  <a:pt x="2747168" y="6302177"/>
                  <a:pt x="3190544" y="6182255"/>
                  <a:pt x="3581201" y="5942410"/>
                </a:cubicBezTo>
                <a:cubicBezTo>
                  <a:pt x="3971858" y="5702433"/>
                  <a:pt x="4256087" y="5381890"/>
                  <a:pt x="4433887" y="4980782"/>
                </a:cubicBezTo>
                <a:lnTo>
                  <a:pt x="4433887" y="3504208"/>
                </a:lnTo>
                <a:lnTo>
                  <a:pt x="3106737" y="3504208"/>
                </a:lnTo>
                <a:cubicBezTo>
                  <a:pt x="2366830" y="3512543"/>
                  <a:pt x="1788054" y="3648009"/>
                  <a:pt x="1370409" y="3910608"/>
                </a:cubicBezTo>
                <a:cubicBezTo>
                  <a:pt x="952897" y="4173207"/>
                  <a:pt x="744140" y="4534033"/>
                  <a:pt x="744140" y="4993085"/>
                </a:cubicBezTo>
                <a:cubicBezTo>
                  <a:pt x="744140" y="5369455"/>
                  <a:pt x="883642" y="5681729"/>
                  <a:pt x="1162645" y="5929908"/>
                </a:cubicBezTo>
                <a:cubicBezTo>
                  <a:pt x="1441780" y="6178087"/>
                  <a:pt x="1804590" y="6302177"/>
                  <a:pt x="2251075" y="6302177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15" name="Freeform 3115"/>
          <p:cNvSpPr/>
          <p:nvPr/>
        </p:nvSpPr>
        <p:spPr>
          <a:xfrm>
            <a:off x="818853" y="204679"/>
            <a:ext cx="76223" cy="9743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16" name="Freeform 3116"/>
          <p:cNvSpPr/>
          <p:nvPr/>
        </p:nvSpPr>
        <p:spPr>
          <a:xfrm>
            <a:off x="959702" y="206457"/>
            <a:ext cx="71450" cy="93878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3636169"/>
                </a:lnTo>
                <a:lnTo>
                  <a:pt x="744140" y="3636169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744140" y="0"/>
                </a:lnTo>
                <a:lnTo>
                  <a:pt x="744140" y="3009900"/>
                </a:lnTo>
                <a:lnTo>
                  <a:pt x="4359473" y="3009900"/>
                </a:lnTo>
                <a:lnTo>
                  <a:pt x="4359473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17" name="Freeform 3117"/>
          <p:cNvSpPr/>
          <p:nvPr/>
        </p:nvSpPr>
        <p:spPr>
          <a:xfrm>
            <a:off x="1053202" y="204679"/>
            <a:ext cx="83863" cy="97434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18" name="Freeform 3118"/>
          <p:cNvSpPr/>
          <p:nvPr/>
        </p:nvSpPr>
        <p:spPr>
          <a:xfrm>
            <a:off x="1159626" y="206457"/>
            <a:ext cx="75184" cy="93878"/>
          </a:xfrm>
          <a:custGeom>
            <a:avLst/>
            <a:gdLst/>
            <a:ahLst/>
            <a:cxnLst/>
            <a:rect l="0" t="0" r="0" b="0"/>
            <a:pathLst>
              <a:path w="5370314" h="6705600">
                <a:moveTo>
                  <a:pt x="0" y="6705600"/>
                </a:moveTo>
                <a:lnTo>
                  <a:pt x="0" y="0"/>
                </a:lnTo>
                <a:lnTo>
                  <a:pt x="2462014" y="0"/>
                </a:lnTo>
                <a:cubicBezTo>
                  <a:pt x="3313576" y="0"/>
                  <a:pt x="3966699" y="151739"/>
                  <a:pt x="4421386" y="455216"/>
                </a:cubicBezTo>
                <a:cubicBezTo>
                  <a:pt x="4876205" y="758693"/>
                  <a:pt x="5103614" y="1203590"/>
                  <a:pt x="5103614" y="1789907"/>
                </a:cubicBezTo>
                <a:cubicBezTo>
                  <a:pt x="5103614" y="2124340"/>
                  <a:pt x="5002345" y="2422658"/>
                  <a:pt x="4799806" y="2684860"/>
                </a:cubicBezTo>
                <a:cubicBezTo>
                  <a:pt x="4597268" y="2947062"/>
                  <a:pt x="4301662" y="3138025"/>
                  <a:pt x="3912989" y="3257749"/>
                </a:cubicBezTo>
                <a:cubicBezTo>
                  <a:pt x="4351271" y="3340431"/>
                  <a:pt x="4703696" y="3528550"/>
                  <a:pt x="4970264" y="3822105"/>
                </a:cubicBezTo>
                <a:cubicBezTo>
                  <a:pt x="5236964" y="4115528"/>
                  <a:pt x="5370314" y="4456576"/>
                  <a:pt x="5370314" y="4845249"/>
                </a:cubicBezTo>
                <a:cubicBezTo>
                  <a:pt x="5370314" y="5436460"/>
                  <a:pt x="5152231" y="5894322"/>
                  <a:pt x="4716066" y="6218833"/>
                </a:cubicBezTo>
                <a:cubicBezTo>
                  <a:pt x="4279900" y="6543345"/>
                  <a:pt x="3662891" y="6705600"/>
                  <a:pt x="2865041" y="6705600"/>
                </a:cubicBezTo>
                <a:close/>
                <a:moveTo>
                  <a:pt x="737989" y="3617318"/>
                </a:moveTo>
                <a:lnTo>
                  <a:pt x="737989" y="6085483"/>
                </a:lnTo>
                <a:lnTo>
                  <a:pt x="2889845" y="6085483"/>
                </a:lnTo>
                <a:cubicBezTo>
                  <a:pt x="3447984" y="6085483"/>
                  <a:pt x="3877932" y="5977996"/>
                  <a:pt x="4179689" y="5763022"/>
                </a:cubicBezTo>
                <a:cubicBezTo>
                  <a:pt x="4481446" y="5548048"/>
                  <a:pt x="4632325" y="5237957"/>
                  <a:pt x="4632325" y="4832747"/>
                </a:cubicBezTo>
                <a:cubicBezTo>
                  <a:pt x="4632325" y="4460743"/>
                  <a:pt x="4481446" y="4165204"/>
                  <a:pt x="4179689" y="3946129"/>
                </a:cubicBezTo>
                <a:cubicBezTo>
                  <a:pt x="3877932" y="3726921"/>
                  <a:pt x="3447984" y="3617318"/>
                  <a:pt x="2889845" y="3617318"/>
                </a:cubicBezTo>
                <a:close/>
                <a:moveTo>
                  <a:pt x="737989" y="2997200"/>
                </a:moveTo>
                <a:lnTo>
                  <a:pt x="2616994" y="2997200"/>
                </a:lnTo>
                <a:cubicBezTo>
                  <a:pt x="3782748" y="2980664"/>
                  <a:pt x="4365625" y="2584517"/>
                  <a:pt x="4365625" y="1808758"/>
                </a:cubicBezTo>
                <a:cubicBezTo>
                  <a:pt x="4365625" y="1400242"/>
                  <a:pt x="4205420" y="1102122"/>
                  <a:pt x="3885009" y="914400"/>
                </a:cubicBezTo>
                <a:cubicBezTo>
                  <a:pt x="3564731" y="726546"/>
                  <a:pt x="3090399" y="632619"/>
                  <a:pt x="2462014" y="632619"/>
                </a:cubicBezTo>
                <a:lnTo>
                  <a:pt x="737989" y="63261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19" name="Freeform 3119"/>
          <p:cNvSpPr/>
          <p:nvPr/>
        </p:nvSpPr>
        <p:spPr>
          <a:xfrm>
            <a:off x="1259017" y="206457"/>
            <a:ext cx="103485" cy="93878"/>
          </a:xfrm>
          <a:custGeom>
            <a:avLst/>
            <a:gdLst/>
            <a:ahLst/>
            <a:cxnLst/>
            <a:rect l="0" t="0" r="0" b="0"/>
            <a:pathLst>
              <a:path w="7391797" h="6705600">
                <a:moveTo>
                  <a:pt x="737989" y="2438400"/>
                </a:moveTo>
                <a:lnTo>
                  <a:pt x="2672755" y="2438400"/>
                </a:lnTo>
                <a:cubicBezTo>
                  <a:pt x="3168848" y="2438400"/>
                  <a:pt x="3603956" y="2528226"/>
                  <a:pt x="3978077" y="2707879"/>
                </a:cubicBezTo>
                <a:cubicBezTo>
                  <a:pt x="4352197" y="2887398"/>
                  <a:pt x="4635368" y="3136173"/>
                  <a:pt x="4827587" y="3454202"/>
                </a:cubicBezTo>
                <a:cubicBezTo>
                  <a:pt x="5019940" y="3772099"/>
                  <a:pt x="5116116" y="4141590"/>
                  <a:pt x="5116116" y="4562674"/>
                </a:cubicBezTo>
                <a:cubicBezTo>
                  <a:pt x="5116116" y="5210903"/>
                  <a:pt x="4893866" y="5730148"/>
                  <a:pt x="4449366" y="6120408"/>
                </a:cubicBezTo>
                <a:cubicBezTo>
                  <a:pt x="4004998" y="6510536"/>
                  <a:pt x="3404526" y="6705600"/>
                  <a:pt x="2647950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close/>
                <a:moveTo>
                  <a:pt x="737989" y="3071019"/>
                </a:moveTo>
                <a:lnTo>
                  <a:pt x="737989" y="6079332"/>
                </a:lnTo>
                <a:lnTo>
                  <a:pt x="2660452" y="6079332"/>
                </a:lnTo>
                <a:cubicBezTo>
                  <a:pt x="3193719" y="6079332"/>
                  <a:pt x="3612290" y="5945254"/>
                  <a:pt x="3916164" y="5677099"/>
                </a:cubicBezTo>
                <a:cubicBezTo>
                  <a:pt x="4220038" y="5408811"/>
                  <a:pt x="4371975" y="5041504"/>
                  <a:pt x="4371975" y="4575175"/>
                </a:cubicBezTo>
                <a:cubicBezTo>
                  <a:pt x="4371975" y="4129485"/>
                  <a:pt x="4224139" y="3769453"/>
                  <a:pt x="3928467" y="3495080"/>
                </a:cubicBezTo>
                <a:cubicBezTo>
                  <a:pt x="3632927" y="3220575"/>
                  <a:pt x="3228843" y="3079221"/>
                  <a:pt x="2716212" y="3071019"/>
                </a:cubicBezTo>
                <a:close/>
                <a:moveTo>
                  <a:pt x="7391797" y="6705600"/>
                </a:moveTo>
                <a:lnTo>
                  <a:pt x="6647656" y="6705600"/>
                </a:lnTo>
                <a:lnTo>
                  <a:pt x="6647656" y="0"/>
                </a:lnTo>
                <a:lnTo>
                  <a:pt x="7391797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0" name="Freeform 3120"/>
          <p:cNvSpPr/>
          <p:nvPr/>
        </p:nvSpPr>
        <p:spPr>
          <a:xfrm>
            <a:off x="1381863" y="206457"/>
            <a:ext cx="77962" cy="93878"/>
          </a:xfrm>
          <a:custGeom>
            <a:avLst/>
            <a:gdLst/>
            <a:ahLst/>
            <a:cxnLst/>
            <a:rect l="0" t="0" r="0" b="0"/>
            <a:pathLst>
              <a:path w="5568751" h="6705600">
                <a:moveTo>
                  <a:pt x="2778125" y="2720579"/>
                </a:moveTo>
                <a:lnTo>
                  <a:pt x="4588867" y="0"/>
                </a:lnTo>
                <a:lnTo>
                  <a:pt x="5469533" y="0"/>
                </a:lnTo>
                <a:lnTo>
                  <a:pt x="3193653" y="3290690"/>
                </a:lnTo>
                <a:lnTo>
                  <a:pt x="5568751" y="6705600"/>
                </a:lnTo>
                <a:lnTo>
                  <a:pt x="4694237" y="6705600"/>
                </a:lnTo>
                <a:lnTo>
                  <a:pt x="2784276" y="3867150"/>
                </a:lnTo>
                <a:lnTo>
                  <a:pt x="874315" y="6705600"/>
                </a:lnTo>
                <a:lnTo>
                  <a:pt x="0" y="6705600"/>
                </a:lnTo>
                <a:lnTo>
                  <a:pt x="2368947" y="3290690"/>
                </a:lnTo>
                <a:lnTo>
                  <a:pt x="93067" y="0"/>
                </a:lnTo>
                <a:lnTo>
                  <a:pt x="967383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1" name="Freeform 3121"/>
          <p:cNvSpPr/>
          <p:nvPr/>
        </p:nvSpPr>
        <p:spPr>
          <a:xfrm>
            <a:off x="1521550" y="206457"/>
            <a:ext cx="71450" cy="93878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5103614" y="6705600"/>
                </a:moveTo>
                <a:lnTo>
                  <a:pt x="4359473" y="6705600"/>
                </a:lnTo>
                <a:lnTo>
                  <a:pt x="4359473" y="638771"/>
                </a:lnTo>
                <a:lnTo>
                  <a:pt x="744140" y="638771"/>
                </a:lnTo>
                <a:lnTo>
                  <a:pt x="744140" y="6705600"/>
                </a:lnTo>
                <a:lnTo>
                  <a:pt x="0" y="6705600"/>
                </a:lnTo>
                <a:lnTo>
                  <a:pt x="0" y="0"/>
                </a:lnTo>
                <a:lnTo>
                  <a:pt x="5103614" y="0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2" name="Freeform 3122"/>
          <p:cNvSpPr/>
          <p:nvPr/>
        </p:nvSpPr>
        <p:spPr>
          <a:xfrm>
            <a:off x="1620692" y="204679"/>
            <a:ext cx="75617" cy="131749"/>
          </a:xfrm>
          <a:custGeom>
            <a:avLst/>
            <a:gdLst/>
            <a:ahLst/>
            <a:cxnLst/>
            <a:rect l="0" t="0" r="0" b="0"/>
            <a:pathLst>
              <a:path w="5401270" h="9410700">
                <a:moveTo>
                  <a:pt x="5401270" y="3548063"/>
                </a:moveTo>
                <a:cubicBezTo>
                  <a:pt x="5401270" y="4594225"/>
                  <a:pt x="5169760" y="5424356"/>
                  <a:pt x="4706739" y="6038454"/>
                </a:cubicBezTo>
                <a:cubicBezTo>
                  <a:pt x="4243718" y="6652552"/>
                  <a:pt x="3623601" y="6959600"/>
                  <a:pt x="2846387" y="6959600"/>
                </a:cubicBezTo>
                <a:cubicBezTo>
                  <a:pt x="1928548" y="6959600"/>
                  <a:pt x="1225748" y="6637073"/>
                  <a:pt x="737989" y="5992019"/>
                </a:cubicBezTo>
                <a:lnTo>
                  <a:pt x="7379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688379" y="127000"/>
                </a:lnTo>
                <a:lnTo>
                  <a:pt x="725487" y="1073150"/>
                </a:lnTo>
                <a:cubicBezTo>
                  <a:pt x="1209146" y="357717"/>
                  <a:pt x="1909895" y="0"/>
                  <a:pt x="2827734" y="0"/>
                </a:cubicBezTo>
                <a:cubicBezTo>
                  <a:pt x="3629686" y="0"/>
                  <a:pt x="4259064" y="303941"/>
                  <a:pt x="4715867" y="911821"/>
                </a:cubicBezTo>
                <a:cubicBezTo>
                  <a:pt x="5172802" y="1519701"/>
                  <a:pt x="5401270" y="2363259"/>
                  <a:pt x="5401270" y="3442494"/>
                </a:cubicBezTo>
                <a:close/>
                <a:moveTo>
                  <a:pt x="4657129" y="3417888"/>
                </a:moveTo>
                <a:cubicBezTo>
                  <a:pt x="4657129" y="2561829"/>
                  <a:pt x="4481380" y="1885686"/>
                  <a:pt x="4129881" y="1389460"/>
                </a:cubicBezTo>
                <a:cubicBezTo>
                  <a:pt x="3778514" y="893101"/>
                  <a:pt x="3288638" y="644922"/>
                  <a:pt x="2660253" y="644922"/>
                </a:cubicBezTo>
                <a:cubicBezTo>
                  <a:pt x="2205566" y="644922"/>
                  <a:pt x="1814909" y="754526"/>
                  <a:pt x="1488281" y="973733"/>
                </a:cubicBezTo>
                <a:cubicBezTo>
                  <a:pt x="1161653" y="1192940"/>
                  <a:pt x="911556" y="1511367"/>
                  <a:pt x="737989" y="1929011"/>
                </a:cubicBezTo>
                <a:lnTo>
                  <a:pt x="737989" y="5148461"/>
                </a:lnTo>
                <a:cubicBezTo>
                  <a:pt x="915656" y="5533033"/>
                  <a:pt x="1169855" y="5826655"/>
                  <a:pt x="1500584" y="6029325"/>
                </a:cubicBezTo>
                <a:cubicBezTo>
                  <a:pt x="1831313" y="6231996"/>
                  <a:pt x="2222037" y="6333332"/>
                  <a:pt x="2672754" y="6333332"/>
                </a:cubicBezTo>
                <a:cubicBezTo>
                  <a:pt x="3296907" y="6333332"/>
                  <a:pt x="3783674" y="6084160"/>
                  <a:pt x="4133056" y="5585818"/>
                </a:cubicBezTo>
                <a:cubicBezTo>
                  <a:pt x="4482438" y="5087475"/>
                  <a:pt x="4657129" y="4364832"/>
                  <a:pt x="4657129" y="3417888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3" name="Freeform 3123"/>
          <p:cNvSpPr/>
          <p:nvPr/>
        </p:nvSpPr>
        <p:spPr>
          <a:xfrm>
            <a:off x="1713551" y="204679"/>
            <a:ext cx="83863" cy="97434"/>
          </a:xfrm>
          <a:custGeom>
            <a:avLst/>
            <a:gdLst/>
            <a:ahLst/>
            <a:cxnLst/>
            <a:rect l="0" t="0" r="0" b="0"/>
            <a:pathLst>
              <a:path w="5990233" h="6959600">
                <a:moveTo>
                  <a:pt x="0" y="3380582"/>
                </a:moveTo>
                <a:cubicBezTo>
                  <a:pt x="0" y="2735528"/>
                  <a:pt x="125016" y="2154569"/>
                  <a:pt x="375047" y="1637705"/>
                </a:cubicBezTo>
                <a:cubicBezTo>
                  <a:pt x="625211" y="1120709"/>
                  <a:pt x="978694" y="718543"/>
                  <a:pt x="1435497" y="431205"/>
                </a:cubicBezTo>
                <a:cubicBezTo>
                  <a:pt x="1892300" y="143735"/>
                  <a:pt x="2410090" y="0"/>
                  <a:pt x="2988866" y="0"/>
                </a:cubicBezTo>
                <a:cubicBezTo>
                  <a:pt x="3881835" y="0"/>
                  <a:pt x="4605271" y="313267"/>
                  <a:pt x="5159177" y="939800"/>
                </a:cubicBezTo>
                <a:cubicBezTo>
                  <a:pt x="5713214" y="1566201"/>
                  <a:pt x="5990233" y="2396332"/>
                  <a:pt x="5990233" y="3430191"/>
                </a:cubicBezTo>
                <a:lnTo>
                  <a:pt x="5990233" y="3585171"/>
                </a:lnTo>
                <a:cubicBezTo>
                  <a:pt x="5990233" y="4234458"/>
                  <a:pt x="5865151" y="4818592"/>
                  <a:pt x="5614988" y="5337572"/>
                </a:cubicBezTo>
                <a:cubicBezTo>
                  <a:pt x="5364956" y="5856553"/>
                  <a:pt x="5012531" y="6256669"/>
                  <a:pt x="4557713" y="6537921"/>
                </a:cubicBezTo>
                <a:cubicBezTo>
                  <a:pt x="4103026" y="6819041"/>
                  <a:pt x="3584245" y="6959600"/>
                  <a:pt x="3001367" y="6959600"/>
                </a:cubicBezTo>
                <a:cubicBezTo>
                  <a:pt x="2112500" y="6959600"/>
                  <a:pt x="1390055" y="6646400"/>
                  <a:pt x="834033" y="6019999"/>
                </a:cubicBezTo>
                <a:cubicBezTo>
                  <a:pt x="278011" y="5393466"/>
                  <a:pt x="0" y="4563269"/>
                  <a:pt x="0" y="3529410"/>
                </a:cubicBezTo>
                <a:close/>
                <a:moveTo>
                  <a:pt x="744141" y="3585369"/>
                </a:moveTo>
                <a:cubicBezTo>
                  <a:pt x="744141" y="4387586"/>
                  <a:pt x="951839" y="5046134"/>
                  <a:pt x="1367235" y="5561013"/>
                </a:cubicBezTo>
                <a:cubicBezTo>
                  <a:pt x="1782763" y="6075892"/>
                  <a:pt x="2327474" y="6333332"/>
                  <a:pt x="3001367" y="6333332"/>
                </a:cubicBezTo>
                <a:cubicBezTo>
                  <a:pt x="3671028" y="6333332"/>
                  <a:pt x="4213556" y="6075892"/>
                  <a:pt x="4628952" y="5561013"/>
                </a:cubicBezTo>
                <a:cubicBezTo>
                  <a:pt x="5044480" y="5046134"/>
                  <a:pt x="5252244" y="4366882"/>
                  <a:pt x="5252244" y="3523258"/>
                </a:cubicBezTo>
                <a:lnTo>
                  <a:pt x="5252244" y="3380582"/>
                </a:lnTo>
                <a:cubicBezTo>
                  <a:pt x="5252244" y="2867819"/>
                  <a:pt x="5157126" y="2398448"/>
                  <a:pt x="4966891" y="1972469"/>
                </a:cubicBezTo>
                <a:cubicBezTo>
                  <a:pt x="4776788" y="1546490"/>
                  <a:pt x="4510154" y="1216687"/>
                  <a:pt x="4166989" y="983060"/>
                </a:cubicBezTo>
                <a:cubicBezTo>
                  <a:pt x="3823957" y="749433"/>
                  <a:pt x="3431249" y="632619"/>
                  <a:pt x="2988866" y="632619"/>
                </a:cubicBezTo>
                <a:cubicBezTo>
                  <a:pt x="2327408" y="632619"/>
                  <a:pt x="1787922" y="892109"/>
                  <a:pt x="1370410" y="1411090"/>
                </a:cubicBezTo>
                <a:cubicBezTo>
                  <a:pt x="952897" y="1930070"/>
                  <a:pt x="744141" y="2609321"/>
                  <a:pt x="744141" y="3448844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4" name="Freeform 3124"/>
          <p:cNvSpPr/>
          <p:nvPr/>
        </p:nvSpPr>
        <p:spPr>
          <a:xfrm>
            <a:off x="1814942" y="166986"/>
            <a:ext cx="109560" cy="169443"/>
          </a:xfrm>
          <a:custGeom>
            <a:avLst/>
            <a:gdLst/>
            <a:ahLst/>
            <a:cxnLst/>
            <a:rect l="0" t="0" r="0" b="0"/>
            <a:pathLst>
              <a:path w="7825780" h="12103100">
                <a:moveTo>
                  <a:pt x="0" y="6224786"/>
                </a:moveTo>
                <a:cubicBezTo>
                  <a:pt x="0" y="5134174"/>
                  <a:pt x="213916" y="4272823"/>
                  <a:pt x="641747" y="3640733"/>
                </a:cubicBezTo>
                <a:cubicBezTo>
                  <a:pt x="1069711" y="3008511"/>
                  <a:pt x="1661914" y="2692400"/>
                  <a:pt x="2418358" y="2692400"/>
                </a:cubicBezTo>
                <a:cubicBezTo>
                  <a:pt x="2852539" y="2692400"/>
                  <a:pt x="3220509" y="2789569"/>
                  <a:pt x="3522266" y="2983905"/>
                </a:cubicBezTo>
                <a:lnTo>
                  <a:pt x="3522266" y="0"/>
                </a:lnTo>
                <a:lnTo>
                  <a:pt x="4260255" y="0"/>
                </a:lnTo>
                <a:lnTo>
                  <a:pt x="4260255" y="3008710"/>
                </a:lnTo>
                <a:cubicBezTo>
                  <a:pt x="4566113" y="2797837"/>
                  <a:pt x="4946452" y="2692400"/>
                  <a:pt x="5401271" y="2692400"/>
                </a:cubicBezTo>
                <a:cubicBezTo>
                  <a:pt x="6116439" y="2692400"/>
                  <a:pt x="6688997" y="2979540"/>
                  <a:pt x="7118946" y="3553818"/>
                </a:cubicBezTo>
                <a:cubicBezTo>
                  <a:pt x="7548894" y="4128096"/>
                  <a:pt x="7782455" y="4927534"/>
                  <a:pt x="7819628" y="5952133"/>
                </a:cubicBezTo>
                <a:lnTo>
                  <a:pt x="7825780" y="6354961"/>
                </a:lnTo>
                <a:cubicBezTo>
                  <a:pt x="7825780" y="7375459"/>
                  <a:pt x="7610806" y="8180123"/>
                  <a:pt x="7180858" y="8768954"/>
                </a:cubicBezTo>
                <a:cubicBezTo>
                  <a:pt x="6750910" y="9357652"/>
                  <a:pt x="6161816" y="9652000"/>
                  <a:pt x="5413574" y="9652000"/>
                </a:cubicBezTo>
                <a:cubicBezTo>
                  <a:pt x="4967089" y="9652000"/>
                  <a:pt x="4582650" y="9554831"/>
                  <a:pt x="4260255" y="9360496"/>
                </a:cubicBezTo>
                <a:lnTo>
                  <a:pt x="4260255" y="12103100"/>
                </a:lnTo>
                <a:lnTo>
                  <a:pt x="3522266" y="12103100"/>
                </a:lnTo>
                <a:lnTo>
                  <a:pt x="3522266" y="9366846"/>
                </a:lnTo>
                <a:cubicBezTo>
                  <a:pt x="3203972" y="9556948"/>
                  <a:pt x="2831902" y="9652000"/>
                  <a:pt x="2406055" y="9652000"/>
                </a:cubicBezTo>
                <a:cubicBezTo>
                  <a:pt x="1699088" y="9652000"/>
                  <a:pt x="1132681" y="9384507"/>
                  <a:pt x="706835" y="8849519"/>
                </a:cubicBezTo>
                <a:cubicBezTo>
                  <a:pt x="281120" y="8314399"/>
                  <a:pt x="47559" y="7573765"/>
                  <a:pt x="6152" y="6627615"/>
                </a:cubicBezTo>
                <a:close/>
                <a:moveTo>
                  <a:pt x="7087989" y="6224985"/>
                </a:moveTo>
                <a:cubicBezTo>
                  <a:pt x="7087989" y="5324475"/>
                  <a:pt x="6925667" y="4616054"/>
                  <a:pt x="6601024" y="4099719"/>
                </a:cubicBezTo>
                <a:cubicBezTo>
                  <a:pt x="6276512" y="3583253"/>
                  <a:pt x="5822818" y="3325019"/>
                  <a:pt x="5239941" y="3325019"/>
                </a:cubicBezTo>
                <a:cubicBezTo>
                  <a:pt x="4818327" y="3325019"/>
                  <a:pt x="4491765" y="3415904"/>
                  <a:pt x="4260255" y="3597672"/>
                </a:cubicBezTo>
                <a:lnTo>
                  <a:pt x="4260255" y="8784035"/>
                </a:lnTo>
                <a:cubicBezTo>
                  <a:pt x="4520605" y="8945166"/>
                  <a:pt x="4851334" y="9025732"/>
                  <a:pt x="5252442" y="9025732"/>
                </a:cubicBezTo>
                <a:cubicBezTo>
                  <a:pt x="5831219" y="9025732"/>
                  <a:pt x="6281804" y="8793361"/>
                  <a:pt x="6604199" y="8328621"/>
                </a:cubicBezTo>
                <a:cubicBezTo>
                  <a:pt x="6926725" y="7863880"/>
                  <a:pt x="7087989" y="7162668"/>
                  <a:pt x="7087989" y="6224985"/>
                </a:cubicBezTo>
                <a:close/>
                <a:moveTo>
                  <a:pt x="744141" y="6355160"/>
                </a:moveTo>
                <a:cubicBezTo>
                  <a:pt x="744141" y="7197858"/>
                  <a:pt x="899121" y="7853628"/>
                  <a:pt x="1209080" y="8322469"/>
                </a:cubicBezTo>
                <a:cubicBezTo>
                  <a:pt x="1519172" y="8791311"/>
                  <a:pt x="1965722" y="9025732"/>
                  <a:pt x="2548731" y="9025732"/>
                </a:cubicBezTo>
                <a:cubicBezTo>
                  <a:pt x="2937272" y="9025732"/>
                  <a:pt x="3261784" y="8941065"/>
                  <a:pt x="3522266" y="8771732"/>
                </a:cubicBezTo>
                <a:lnTo>
                  <a:pt x="3522266" y="3579019"/>
                </a:lnTo>
                <a:cubicBezTo>
                  <a:pt x="3282421" y="3409686"/>
                  <a:pt x="2962010" y="3325019"/>
                  <a:pt x="2561035" y="3325019"/>
                </a:cubicBezTo>
                <a:cubicBezTo>
                  <a:pt x="1982258" y="3325019"/>
                  <a:pt x="1534716" y="3582194"/>
                  <a:pt x="1218406" y="4096544"/>
                </a:cubicBezTo>
                <a:cubicBezTo>
                  <a:pt x="902229" y="4610762"/>
                  <a:pt x="744141" y="5363634"/>
                  <a:pt x="744141" y="635516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5" name="Freeform 3125"/>
          <p:cNvSpPr/>
          <p:nvPr/>
        </p:nvSpPr>
        <p:spPr>
          <a:xfrm>
            <a:off x="1941847" y="204679"/>
            <a:ext cx="77351" cy="97434"/>
          </a:xfrm>
          <a:custGeom>
            <a:avLst/>
            <a:gdLst/>
            <a:ahLst/>
            <a:cxnLst/>
            <a:rect l="0" t="0" r="0" b="0"/>
            <a:pathLst>
              <a:path w="5525096" h="6959600">
                <a:moveTo>
                  <a:pt x="3007519" y="6959600"/>
                </a:moveTo>
                <a:cubicBezTo>
                  <a:pt x="2436945" y="6959600"/>
                  <a:pt x="1921206" y="6819041"/>
                  <a:pt x="1460302" y="6537921"/>
                </a:cubicBezTo>
                <a:cubicBezTo>
                  <a:pt x="999398" y="6256669"/>
                  <a:pt x="640755" y="5864821"/>
                  <a:pt x="384374" y="5362377"/>
                </a:cubicBezTo>
                <a:cubicBezTo>
                  <a:pt x="128125" y="4859933"/>
                  <a:pt x="0" y="4296503"/>
                  <a:pt x="0" y="3672086"/>
                </a:cubicBezTo>
                <a:lnTo>
                  <a:pt x="0" y="3405386"/>
                </a:lnTo>
                <a:cubicBezTo>
                  <a:pt x="0" y="2760332"/>
                  <a:pt x="125016" y="2179373"/>
                  <a:pt x="375047" y="1662510"/>
                </a:cubicBezTo>
                <a:cubicBezTo>
                  <a:pt x="625211" y="1145514"/>
                  <a:pt x="973535" y="739180"/>
                  <a:pt x="1420019" y="443508"/>
                </a:cubicBezTo>
                <a:cubicBezTo>
                  <a:pt x="1866503" y="147836"/>
                  <a:pt x="2350162" y="0"/>
                  <a:pt x="2870994" y="0"/>
                </a:cubicBezTo>
                <a:cubicBezTo>
                  <a:pt x="3685514" y="0"/>
                  <a:pt x="4331494" y="278011"/>
                  <a:pt x="4808935" y="834033"/>
                </a:cubicBezTo>
                <a:cubicBezTo>
                  <a:pt x="5286375" y="1390055"/>
                  <a:pt x="5525096" y="2149608"/>
                  <a:pt x="5525096" y="3112691"/>
                </a:cubicBezTo>
                <a:lnTo>
                  <a:pt x="5525096" y="3528219"/>
                </a:lnTo>
                <a:lnTo>
                  <a:pt x="737791" y="3528219"/>
                </a:lnTo>
                <a:lnTo>
                  <a:pt x="737791" y="3670896"/>
                </a:lnTo>
                <a:cubicBezTo>
                  <a:pt x="737791" y="4432234"/>
                  <a:pt x="955874" y="5066308"/>
                  <a:pt x="1392039" y="5573118"/>
                </a:cubicBezTo>
                <a:cubicBezTo>
                  <a:pt x="1828205" y="6079927"/>
                  <a:pt x="2377017" y="6333332"/>
                  <a:pt x="3038475" y="6333332"/>
                </a:cubicBezTo>
                <a:cubicBezTo>
                  <a:pt x="3435350" y="6333332"/>
                  <a:pt x="3785725" y="6260968"/>
                  <a:pt x="4089599" y="6116241"/>
                </a:cubicBezTo>
                <a:cubicBezTo>
                  <a:pt x="4393473" y="5971382"/>
                  <a:pt x="4669433" y="5739739"/>
                  <a:pt x="4917480" y="5421313"/>
                </a:cubicBezTo>
                <a:lnTo>
                  <a:pt x="5382617" y="5774929"/>
                </a:lnTo>
                <a:cubicBezTo>
                  <a:pt x="4836914" y="6564710"/>
                  <a:pt x="4045215" y="6959600"/>
                  <a:pt x="3007519" y="6959600"/>
                </a:cubicBezTo>
                <a:close/>
                <a:moveTo>
                  <a:pt x="2870994" y="632619"/>
                </a:moveTo>
                <a:cubicBezTo>
                  <a:pt x="2312988" y="632619"/>
                  <a:pt x="1842757" y="837208"/>
                  <a:pt x="1460302" y="1246386"/>
                </a:cubicBezTo>
                <a:cubicBezTo>
                  <a:pt x="1077847" y="1655565"/>
                  <a:pt x="845278" y="2205303"/>
                  <a:pt x="762596" y="2895600"/>
                </a:cubicBezTo>
                <a:lnTo>
                  <a:pt x="4787305" y="2895600"/>
                </a:lnTo>
                <a:lnTo>
                  <a:pt x="4787305" y="2815035"/>
                </a:lnTo>
                <a:cubicBezTo>
                  <a:pt x="4766535" y="2170245"/>
                  <a:pt x="4582517" y="1645312"/>
                  <a:pt x="4235252" y="1240235"/>
                </a:cubicBezTo>
                <a:cubicBezTo>
                  <a:pt x="3887986" y="835158"/>
                  <a:pt x="3433234" y="632619"/>
                  <a:pt x="2870994" y="632619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6" name="Freeform 3126"/>
          <p:cNvSpPr/>
          <p:nvPr/>
        </p:nvSpPr>
        <p:spPr>
          <a:xfrm>
            <a:off x="2033939" y="204679"/>
            <a:ext cx="76223" cy="9743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7" name="Freeform 3127"/>
          <p:cNvSpPr/>
          <p:nvPr/>
        </p:nvSpPr>
        <p:spPr>
          <a:xfrm>
            <a:off x="2125506" y="204679"/>
            <a:ext cx="76223" cy="97434"/>
          </a:xfrm>
          <a:custGeom>
            <a:avLst/>
            <a:gdLst/>
            <a:ahLst/>
            <a:cxnLst/>
            <a:rect l="0" t="0" r="0" b="0"/>
            <a:pathLst>
              <a:path w="5444530" h="6959600">
                <a:moveTo>
                  <a:pt x="2864842" y="6333332"/>
                </a:moveTo>
                <a:cubicBezTo>
                  <a:pt x="3381573" y="6333332"/>
                  <a:pt x="3814630" y="6187546"/>
                  <a:pt x="4164012" y="5895975"/>
                </a:cubicBezTo>
                <a:cubicBezTo>
                  <a:pt x="4513395" y="5604405"/>
                  <a:pt x="4702505" y="5227043"/>
                  <a:pt x="4731345" y="4763890"/>
                </a:cubicBezTo>
                <a:lnTo>
                  <a:pt x="5444530" y="4763890"/>
                </a:lnTo>
                <a:cubicBezTo>
                  <a:pt x="5423892" y="5173200"/>
                  <a:pt x="5295701" y="5546395"/>
                  <a:pt x="5059958" y="5883474"/>
                </a:cubicBezTo>
                <a:cubicBezTo>
                  <a:pt x="4824346" y="6220421"/>
                  <a:pt x="4511212" y="6484012"/>
                  <a:pt x="4120555" y="6674247"/>
                </a:cubicBezTo>
                <a:cubicBezTo>
                  <a:pt x="3729897" y="6864482"/>
                  <a:pt x="3311326" y="6959600"/>
                  <a:pt x="2864842" y="6959600"/>
                </a:cubicBezTo>
                <a:cubicBezTo>
                  <a:pt x="1984309" y="6959600"/>
                  <a:pt x="1286669" y="6653610"/>
                  <a:pt x="771922" y="6041629"/>
                </a:cubicBezTo>
                <a:cubicBezTo>
                  <a:pt x="257307" y="5429515"/>
                  <a:pt x="0" y="4606595"/>
                  <a:pt x="0" y="3572868"/>
                </a:cubicBezTo>
                <a:lnTo>
                  <a:pt x="0" y="3349625"/>
                </a:lnTo>
                <a:cubicBezTo>
                  <a:pt x="0" y="2687903"/>
                  <a:pt x="115755" y="2102776"/>
                  <a:pt x="347266" y="1594247"/>
                </a:cubicBezTo>
                <a:cubicBezTo>
                  <a:pt x="578776" y="1085586"/>
                  <a:pt x="910497" y="692746"/>
                  <a:pt x="1342430" y="415727"/>
                </a:cubicBezTo>
                <a:cubicBezTo>
                  <a:pt x="1774494" y="138576"/>
                  <a:pt x="2279914" y="0"/>
                  <a:pt x="2858691" y="0"/>
                </a:cubicBezTo>
                <a:cubicBezTo>
                  <a:pt x="3594497" y="0"/>
                  <a:pt x="4201120" y="219208"/>
                  <a:pt x="4678561" y="657622"/>
                </a:cubicBezTo>
                <a:cubicBezTo>
                  <a:pt x="5156134" y="1095905"/>
                  <a:pt x="5411457" y="1672762"/>
                  <a:pt x="5444530" y="2388196"/>
                </a:cubicBezTo>
                <a:lnTo>
                  <a:pt x="4731345" y="2388196"/>
                </a:lnTo>
                <a:cubicBezTo>
                  <a:pt x="4698272" y="1862998"/>
                  <a:pt x="4509161" y="1439136"/>
                  <a:pt x="4164012" y="1116608"/>
                </a:cubicBezTo>
                <a:cubicBezTo>
                  <a:pt x="3818863" y="793949"/>
                  <a:pt x="3383756" y="632619"/>
                  <a:pt x="2858691" y="632619"/>
                </a:cubicBezTo>
                <a:cubicBezTo>
                  <a:pt x="2188898" y="632619"/>
                  <a:pt x="1668992" y="874581"/>
                  <a:pt x="1298972" y="1358504"/>
                </a:cubicBezTo>
                <a:cubicBezTo>
                  <a:pt x="929084" y="1842294"/>
                  <a:pt x="744141" y="2520487"/>
                  <a:pt x="744141" y="3393083"/>
                </a:cubicBezTo>
                <a:lnTo>
                  <a:pt x="744141" y="3610174"/>
                </a:lnTo>
                <a:cubicBezTo>
                  <a:pt x="744141" y="4466233"/>
                  <a:pt x="929084" y="5134108"/>
                  <a:pt x="1298972" y="5613797"/>
                </a:cubicBezTo>
                <a:cubicBezTo>
                  <a:pt x="1668992" y="6093487"/>
                  <a:pt x="2190948" y="6333332"/>
                  <a:pt x="2864842" y="6333332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8" name="Freeform 3128"/>
          <p:cNvSpPr/>
          <p:nvPr/>
        </p:nvSpPr>
        <p:spPr>
          <a:xfrm>
            <a:off x="2223148" y="206457"/>
            <a:ext cx="71450" cy="93878"/>
          </a:xfrm>
          <a:custGeom>
            <a:avLst/>
            <a:gdLst/>
            <a:ahLst/>
            <a:cxnLst/>
            <a:rect l="0" t="0" r="0" b="0"/>
            <a:pathLst>
              <a:path w="5103614" h="6705600">
                <a:moveTo>
                  <a:pt x="4359473" y="0"/>
                </a:moveTo>
                <a:lnTo>
                  <a:pt x="5103614" y="0"/>
                </a:lnTo>
                <a:lnTo>
                  <a:pt x="5103614" y="6705600"/>
                </a:lnTo>
                <a:lnTo>
                  <a:pt x="4359473" y="6705600"/>
                </a:lnTo>
                <a:lnTo>
                  <a:pt x="4359473" y="1196182"/>
                </a:lnTo>
                <a:lnTo>
                  <a:pt x="7379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737989" y="0"/>
                </a:lnTo>
                <a:lnTo>
                  <a:pt x="737989" y="5515769"/>
                </a:ln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29" name="Freeform 3129"/>
          <p:cNvSpPr/>
          <p:nvPr/>
        </p:nvSpPr>
        <p:spPr>
          <a:xfrm>
            <a:off x="2323072" y="172675"/>
            <a:ext cx="71450" cy="127660"/>
          </a:xfrm>
          <a:custGeom>
            <a:avLst/>
            <a:gdLst/>
            <a:ahLst/>
            <a:cxnLst/>
            <a:rect l="0" t="0" r="0" b="0"/>
            <a:pathLst>
              <a:path w="5103614" h="9118600">
                <a:moveTo>
                  <a:pt x="4359473" y="2413000"/>
                </a:moveTo>
                <a:lnTo>
                  <a:pt x="5103614" y="2413000"/>
                </a:lnTo>
                <a:lnTo>
                  <a:pt x="5103614" y="9118600"/>
                </a:lnTo>
                <a:lnTo>
                  <a:pt x="4359473" y="9118600"/>
                </a:lnTo>
                <a:lnTo>
                  <a:pt x="4359473" y="3609182"/>
                </a:lnTo>
                <a:lnTo>
                  <a:pt x="737989" y="9118600"/>
                </a:lnTo>
                <a:lnTo>
                  <a:pt x="0" y="9118600"/>
                </a:lnTo>
                <a:lnTo>
                  <a:pt x="0" y="2413000"/>
                </a:lnTo>
                <a:lnTo>
                  <a:pt x="737989" y="2413000"/>
                </a:lnTo>
                <a:lnTo>
                  <a:pt x="737989" y="7928769"/>
                </a:lnTo>
                <a:close/>
                <a:moveTo>
                  <a:pt x="4322167" y="0"/>
                </a:moveTo>
                <a:cubicBezTo>
                  <a:pt x="4322167" y="473605"/>
                  <a:pt x="4159911" y="856589"/>
                  <a:pt x="3835400" y="1148954"/>
                </a:cubicBezTo>
                <a:cubicBezTo>
                  <a:pt x="3510888" y="1441318"/>
                  <a:pt x="3075781" y="1587500"/>
                  <a:pt x="2530078" y="1587500"/>
                </a:cubicBezTo>
                <a:cubicBezTo>
                  <a:pt x="1992577" y="1587500"/>
                  <a:pt x="1559520" y="1442377"/>
                  <a:pt x="1230908" y="1152129"/>
                </a:cubicBezTo>
                <a:cubicBezTo>
                  <a:pt x="902295" y="861749"/>
                  <a:pt x="737989" y="477705"/>
                  <a:pt x="737989" y="0"/>
                </a:cubicBezTo>
                <a:lnTo>
                  <a:pt x="1370409" y="0"/>
                </a:lnTo>
                <a:cubicBezTo>
                  <a:pt x="1370409" y="341049"/>
                  <a:pt x="1472737" y="601994"/>
                  <a:pt x="1677392" y="782836"/>
                </a:cubicBezTo>
                <a:cubicBezTo>
                  <a:pt x="1882047" y="963679"/>
                  <a:pt x="2166276" y="1054100"/>
                  <a:pt x="2530078" y="1054100"/>
                </a:cubicBezTo>
                <a:cubicBezTo>
                  <a:pt x="2893880" y="1054100"/>
                  <a:pt x="3178108" y="959578"/>
                  <a:pt x="3382764" y="770533"/>
                </a:cubicBezTo>
                <a:cubicBezTo>
                  <a:pt x="3587419" y="581488"/>
                  <a:pt x="3689747" y="324644"/>
                  <a:pt x="3689747" y="0"/>
                </a:cubicBezTo>
                <a:close/>
              </a:path>
            </a:pathLst>
          </a:custGeom>
          <a:solidFill>
            <a:srgbClr val="0035BE">
              <a:alpha val="100000"/>
            </a:srgbClr>
          </a:solidFill>
          <a:ln w="17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30" name="Rectangle 3130"/>
          <p:cNvSpPr/>
          <p:nvPr/>
        </p:nvSpPr>
        <p:spPr>
          <a:xfrm>
            <a:off x="1176273" y="2033917"/>
            <a:ext cx="1592596" cy="245744"/>
          </a:xfrm>
          <a:prstGeom prst="rect">
            <a:avLst/>
          </a:prstGeom>
        </p:spPr>
      </p:sp>
      <p:sp>
        <p:nvSpPr>
          <p:cNvPr id="3131" name="Freeform 3131"/>
          <p:cNvSpPr/>
          <p:nvPr/>
        </p:nvSpPr>
        <p:spPr>
          <a:xfrm>
            <a:off x="1180540" y="2057184"/>
            <a:ext cx="61515" cy="74269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32" name="Freeform 3132"/>
          <p:cNvSpPr/>
          <p:nvPr/>
        </p:nvSpPr>
        <p:spPr>
          <a:xfrm>
            <a:off x="1250544" y="2053120"/>
            <a:ext cx="50601" cy="78333"/>
          </a:xfrm>
          <a:custGeom>
            <a:avLst/>
            <a:gdLst/>
            <a:ahLst/>
            <a:cxnLst/>
            <a:rect l="0" t="0" r="0" b="0"/>
            <a:pathLst>
              <a:path w="6325195" h="9791700">
                <a:moveTo>
                  <a:pt x="3497461" y="3327400"/>
                </a:moveTo>
                <a:cubicBezTo>
                  <a:pt x="4357357" y="3327400"/>
                  <a:pt x="5043620" y="3612489"/>
                  <a:pt x="5556250" y="4182666"/>
                </a:cubicBezTo>
                <a:cubicBezTo>
                  <a:pt x="6068880" y="4752843"/>
                  <a:pt x="6325195" y="5527609"/>
                  <a:pt x="6325195" y="6506965"/>
                </a:cubicBezTo>
                <a:lnTo>
                  <a:pt x="6325195" y="6593682"/>
                </a:lnTo>
                <a:cubicBezTo>
                  <a:pt x="6325195" y="7560469"/>
                  <a:pt x="6039908" y="8335169"/>
                  <a:pt x="5469334" y="8917782"/>
                </a:cubicBezTo>
                <a:cubicBezTo>
                  <a:pt x="4898893" y="9500394"/>
                  <a:pt x="4132064" y="9791700"/>
                  <a:pt x="3168848" y="9791700"/>
                </a:cubicBezTo>
                <a:cubicBezTo>
                  <a:pt x="2201399" y="9791700"/>
                  <a:pt x="1431396" y="9476516"/>
                  <a:pt x="858837" y="8846146"/>
                </a:cubicBezTo>
                <a:cubicBezTo>
                  <a:pt x="286279" y="8215644"/>
                  <a:pt x="0" y="7358791"/>
                  <a:pt x="0" y="6275586"/>
                </a:cubicBezTo>
                <a:lnTo>
                  <a:pt x="0" y="5977930"/>
                </a:lnTo>
                <a:cubicBezTo>
                  <a:pt x="8334" y="4469011"/>
                  <a:pt x="263591" y="3287713"/>
                  <a:pt x="765770" y="2434035"/>
                </a:cubicBezTo>
                <a:cubicBezTo>
                  <a:pt x="1268082" y="1580357"/>
                  <a:pt x="2023599" y="1041863"/>
                  <a:pt x="3032323" y="818555"/>
                </a:cubicBezTo>
                <a:cubicBezTo>
                  <a:pt x="3561490" y="702800"/>
                  <a:pt x="3902538" y="588103"/>
                  <a:pt x="4055467" y="474465"/>
                </a:cubicBezTo>
                <a:cubicBezTo>
                  <a:pt x="4208529" y="360694"/>
                  <a:pt x="4285059" y="202539"/>
                  <a:pt x="4285059" y="0"/>
                </a:cubicBezTo>
                <a:lnTo>
                  <a:pt x="5736034" y="0"/>
                </a:lnTo>
                <a:cubicBezTo>
                  <a:pt x="5736034" y="649552"/>
                  <a:pt x="5561343" y="1137775"/>
                  <a:pt x="5211961" y="1464668"/>
                </a:cubicBezTo>
                <a:cubicBezTo>
                  <a:pt x="4862711" y="1791428"/>
                  <a:pt x="4241602" y="2043774"/>
                  <a:pt x="3348633" y="2221707"/>
                </a:cubicBezTo>
                <a:cubicBezTo>
                  <a:pt x="2819466" y="2329260"/>
                  <a:pt x="2401887" y="2538215"/>
                  <a:pt x="2095897" y="2848571"/>
                </a:cubicBezTo>
                <a:cubicBezTo>
                  <a:pt x="1790039" y="3158795"/>
                  <a:pt x="1583399" y="3595225"/>
                  <a:pt x="1475978" y="4157861"/>
                </a:cubicBezTo>
                <a:cubicBezTo>
                  <a:pt x="2046420" y="3604221"/>
                  <a:pt x="2720247" y="3327400"/>
                  <a:pt x="3497461" y="3327400"/>
                </a:cubicBezTo>
                <a:close/>
                <a:moveTo>
                  <a:pt x="3156347" y="4778574"/>
                </a:moveTo>
                <a:cubicBezTo>
                  <a:pt x="2730632" y="4778574"/>
                  <a:pt x="2396794" y="4921052"/>
                  <a:pt x="2154833" y="5206008"/>
                </a:cubicBezTo>
                <a:cubicBezTo>
                  <a:pt x="1913004" y="5490965"/>
                  <a:pt x="1792089" y="5953522"/>
                  <a:pt x="1792089" y="6593682"/>
                </a:cubicBezTo>
                <a:cubicBezTo>
                  <a:pt x="1792089" y="7163594"/>
                  <a:pt x="1909895" y="7598305"/>
                  <a:pt x="2145506" y="7897813"/>
                </a:cubicBezTo>
                <a:cubicBezTo>
                  <a:pt x="2381250" y="8197189"/>
                  <a:pt x="2722364" y="8346877"/>
                  <a:pt x="3168848" y="8346877"/>
                </a:cubicBezTo>
                <a:cubicBezTo>
                  <a:pt x="3602897" y="8346877"/>
                  <a:pt x="3937727" y="8200298"/>
                  <a:pt x="4173339" y="7907140"/>
                </a:cubicBezTo>
                <a:cubicBezTo>
                  <a:pt x="4409083" y="7613849"/>
                  <a:pt x="4529005" y="7182247"/>
                  <a:pt x="4533106" y="6612335"/>
                </a:cubicBezTo>
                <a:lnTo>
                  <a:pt x="4533106" y="6463507"/>
                </a:lnTo>
                <a:cubicBezTo>
                  <a:pt x="4533106" y="5914232"/>
                  <a:pt x="4412191" y="5496124"/>
                  <a:pt x="4170362" y="5209183"/>
                </a:cubicBezTo>
                <a:cubicBezTo>
                  <a:pt x="3928533" y="4922111"/>
                  <a:pt x="3590528" y="4778574"/>
                  <a:pt x="3156347" y="47785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33" name="Freeform 3133"/>
          <p:cNvSpPr/>
          <p:nvPr/>
        </p:nvSpPr>
        <p:spPr>
          <a:xfrm>
            <a:off x="1308882" y="2075776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34" name="Freeform 3134"/>
          <p:cNvSpPr/>
          <p:nvPr/>
        </p:nvSpPr>
        <p:spPr>
          <a:xfrm>
            <a:off x="1363847" y="2075776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35" name="Freeform 3135"/>
          <p:cNvSpPr/>
          <p:nvPr/>
        </p:nvSpPr>
        <p:spPr>
          <a:xfrm>
            <a:off x="1418354" y="2075776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782814" y="2091730"/>
                </a:moveTo>
                <a:cubicBezTo>
                  <a:pt x="3782814" y="1857442"/>
                  <a:pt x="3705291" y="1675607"/>
                  <a:pt x="3550245" y="1546225"/>
                </a:cubicBezTo>
                <a:cubicBezTo>
                  <a:pt x="3395199" y="1416712"/>
                  <a:pt x="3175066" y="1351955"/>
                  <a:pt x="2889845" y="1351955"/>
                </a:cubicBezTo>
                <a:cubicBezTo>
                  <a:pt x="2596290" y="1351955"/>
                  <a:pt x="2357503" y="1413140"/>
                  <a:pt x="2173486" y="1535510"/>
                </a:cubicBezTo>
                <a:cubicBezTo>
                  <a:pt x="1989600" y="1657880"/>
                  <a:pt x="1897658" y="1831050"/>
                  <a:pt x="1897658" y="2055019"/>
                </a:cubicBezTo>
                <a:lnTo>
                  <a:pt x="105569" y="2055019"/>
                </a:lnTo>
                <a:cubicBezTo>
                  <a:pt x="105569" y="1446610"/>
                  <a:pt x="357716" y="952037"/>
                  <a:pt x="862012" y="571302"/>
                </a:cubicBezTo>
                <a:cubicBezTo>
                  <a:pt x="1366440" y="190435"/>
                  <a:pt x="2011362" y="0"/>
                  <a:pt x="2796778" y="0"/>
                </a:cubicBezTo>
                <a:cubicBezTo>
                  <a:pt x="3660775" y="0"/>
                  <a:pt x="4339762" y="169069"/>
                  <a:pt x="4833739" y="507207"/>
                </a:cubicBezTo>
                <a:cubicBezTo>
                  <a:pt x="5327848" y="845344"/>
                  <a:pt x="5574903" y="1325761"/>
                  <a:pt x="5574903" y="1948458"/>
                </a:cubicBezTo>
                <a:cubicBezTo>
                  <a:pt x="5574903" y="2245321"/>
                  <a:pt x="5484944" y="2518503"/>
                  <a:pt x="5305028" y="2768005"/>
                </a:cubicBezTo>
                <a:cubicBezTo>
                  <a:pt x="5125244" y="3017507"/>
                  <a:pt x="4872104" y="3216474"/>
                  <a:pt x="4545608" y="3364905"/>
                </a:cubicBezTo>
                <a:cubicBezTo>
                  <a:pt x="5310386" y="3634913"/>
                  <a:pt x="5692775" y="4156142"/>
                  <a:pt x="5692775" y="4928593"/>
                </a:cubicBezTo>
                <a:cubicBezTo>
                  <a:pt x="5692775" y="5547453"/>
                  <a:pt x="5429183" y="6040703"/>
                  <a:pt x="4902001" y="6408341"/>
                </a:cubicBezTo>
                <a:cubicBezTo>
                  <a:pt x="4374951" y="6775847"/>
                  <a:pt x="3673210" y="6959600"/>
                  <a:pt x="2796778" y="6959600"/>
                </a:cubicBezTo>
                <a:cubicBezTo>
                  <a:pt x="1982390" y="6959600"/>
                  <a:pt x="1312664" y="6769233"/>
                  <a:pt x="787598" y="6388497"/>
                </a:cubicBezTo>
                <a:cubicBezTo>
                  <a:pt x="262533" y="6007762"/>
                  <a:pt x="0" y="5494536"/>
                  <a:pt x="0" y="4848821"/>
                </a:cubicBezTo>
                <a:lnTo>
                  <a:pt x="1792287" y="4848821"/>
                </a:lnTo>
                <a:cubicBezTo>
                  <a:pt x="1792287" y="5076892"/>
                  <a:pt x="1893556" y="5261439"/>
                  <a:pt x="2096095" y="5402461"/>
                </a:cubicBezTo>
                <a:cubicBezTo>
                  <a:pt x="2298634" y="5543484"/>
                  <a:pt x="2563217" y="5613996"/>
                  <a:pt x="2889845" y="5613996"/>
                </a:cubicBezTo>
                <a:cubicBezTo>
                  <a:pt x="3208139" y="5613996"/>
                  <a:pt x="3456186" y="5538854"/>
                  <a:pt x="3633986" y="5388571"/>
                </a:cubicBezTo>
                <a:cubicBezTo>
                  <a:pt x="3811786" y="5238155"/>
                  <a:pt x="3900686" y="5041834"/>
                  <a:pt x="3900686" y="4799608"/>
                </a:cubicBezTo>
                <a:cubicBezTo>
                  <a:pt x="3900686" y="4503010"/>
                  <a:pt x="3815887" y="4291013"/>
                  <a:pt x="3646289" y="4163616"/>
                </a:cubicBezTo>
                <a:cubicBezTo>
                  <a:pt x="3476823" y="4036219"/>
                  <a:pt x="3222625" y="3972521"/>
                  <a:pt x="2883694" y="3972521"/>
                </a:cubicBezTo>
                <a:lnTo>
                  <a:pt x="1909961" y="3972521"/>
                </a:lnTo>
                <a:lnTo>
                  <a:pt x="1909961" y="2806700"/>
                </a:lnTo>
                <a:lnTo>
                  <a:pt x="2945606" y="2806700"/>
                </a:lnTo>
                <a:cubicBezTo>
                  <a:pt x="3503744" y="2790296"/>
                  <a:pt x="3782814" y="2551973"/>
                  <a:pt x="3782814" y="209173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36" name="Freeform 3136"/>
          <p:cNvSpPr/>
          <p:nvPr/>
        </p:nvSpPr>
        <p:spPr>
          <a:xfrm>
            <a:off x="1496518" y="2053120"/>
            <a:ext cx="50601" cy="78333"/>
          </a:xfrm>
          <a:custGeom>
            <a:avLst/>
            <a:gdLst/>
            <a:ahLst/>
            <a:cxnLst/>
            <a:rect l="0" t="0" r="0" b="0"/>
            <a:pathLst>
              <a:path w="6325195" h="9791700">
                <a:moveTo>
                  <a:pt x="3497461" y="3327400"/>
                </a:moveTo>
                <a:cubicBezTo>
                  <a:pt x="4357357" y="3327400"/>
                  <a:pt x="5043620" y="3612489"/>
                  <a:pt x="5556250" y="4182666"/>
                </a:cubicBezTo>
                <a:cubicBezTo>
                  <a:pt x="6068880" y="4752843"/>
                  <a:pt x="6325195" y="5527609"/>
                  <a:pt x="6325195" y="6506965"/>
                </a:cubicBezTo>
                <a:lnTo>
                  <a:pt x="6325195" y="6593682"/>
                </a:lnTo>
                <a:cubicBezTo>
                  <a:pt x="6325195" y="7560469"/>
                  <a:pt x="6039908" y="8335169"/>
                  <a:pt x="5469334" y="8917782"/>
                </a:cubicBezTo>
                <a:cubicBezTo>
                  <a:pt x="4898893" y="9500394"/>
                  <a:pt x="4132064" y="9791700"/>
                  <a:pt x="3168848" y="9791700"/>
                </a:cubicBezTo>
                <a:cubicBezTo>
                  <a:pt x="2201399" y="9791700"/>
                  <a:pt x="1431396" y="9476516"/>
                  <a:pt x="858837" y="8846146"/>
                </a:cubicBezTo>
                <a:cubicBezTo>
                  <a:pt x="286279" y="8215644"/>
                  <a:pt x="0" y="7358791"/>
                  <a:pt x="0" y="6275586"/>
                </a:cubicBezTo>
                <a:lnTo>
                  <a:pt x="0" y="5977930"/>
                </a:lnTo>
                <a:cubicBezTo>
                  <a:pt x="8334" y="4469011"/>
                  <a:pt x="263591" y="3287713"/>
                  <a:pt x="765770" y="2434035"/>
                </a:cubicBezTo>
                <a:cubicBezTo>
                  <a:pt x="1268082" y="1580357"/>
                  <a:pt x="2023599" y="1041863"/>
                  <a:pt x="3032323" y="818555"/>
                </a:cubicBezTo>
                <a:cubicBezTo>
                  <a:pt x="3561490" y="702800"/>
                  <a:pt x="3902538" y="588103"/>
                  <a:pt x="4055467" y="474465"/>
                </a:cubicBezTo>
                <a:cubicBezTo>
                  <a:pt x="4208529" y="360694"/>
                  <a:pt x="4285059" y="202539"/>
                  <a:pt x="4285059" y="0"/>
                </a:cubicBezTo>
                <a:lnTo>
                  <a:pt x="5736034" y="0"/>
                </a:lnTo>
                <a:cubicBezTo>
                  <a:pt x="5736034" y="649552"/>
                  <a:pt x="5561343" y="1137775"/>
                  <a:pt x="5211961" y="1464668"/>
                </a:cubicBezTo>
                <a:cubicBezTo>
                  <a:pt x="4862711" y="1791428"/>
                  <a:pt x="4241602" y="2043774"/>
                  <a:pt x="3348633" y="2221707"/>
                </a:cubicBezTo>
                <a:cubicBezTo>
                  <a:pt x="2819466" y="2329260"/>
                  <a:pt x="2401887" y="2538215"/>
                  <a:pt x="2095897" y="2848571"/>
                </a:cubicBezTo>
                <a:cubicBezTo>
                  <a:pt x="1790039" y="3158795"/>
                  <a:pt x="1583399" y="3595225"/>
                  <a:pt x="1475978" y="4157861"/>
                </a:cubicBezTo>
                <a:cubicBezTo>
                  <a:pt x="2046420" y="3604221"/>
                  <a:pt x="2720247" y="3327400"/>
                  <a:pt x="3497461" y="3327400"/>
                </a:cubicBezTo>
                <a:close/>
                <a:moveTo>
                  <a:pt x="3156347" y="4778574"/>
                </a:moveTo>
                <a:cubicBezTo>
                  <a:pt x="2730632" y="4778574"/>
                  <a:pt x="2396794" y="4921052"/>
                  <a:pt x="2154833" y="5206008"/>
                </a:cubicBezTo>
                <a:cubicBezTo>
                  <a:pt x="1913004" y="5490965"/>
                  <a:pt x="1792089" y="5953522"/>
                  <a:pt x="1792089" y="6593682"/>
                </a:cubicBezTo>
                <a:cubicBezTo>
                  <a:pt x="1792089" y="7163594"/>
                  <a:pt x="1909895" y="7598305"/>
                  <a:pt x="2145506" y="7897813"/>
                </a:cubicBezTo>
                <a:cubicBezTo>
                  <a:pt x="2381250" y="8197189"/>
                  <a:pt x="2722364" y="8346877"/>
                  <a:pt x="3168848" y="8346877"/>
                </a:cubicBezTo>
                <a:cubicBezTo>
                  <a:pt x="3602897" y="8346877"/>
                  <a:pt x="3937727" y="8200298"/>
                  <a:pt x="4173339" y="7907140"/>
                </a:cubicBezTo>
                <a:cubicBezTo>
                  <a:pt x="4409083" y="7613849"/>
                  <a:pt x="4529005" y="7182247"/>
                  <a:pt x="4533106" y="6612335"/>
                </a:cubicBezTo>
                <a:lnTo>
                  <a:pt x="4533106" y="6463507"/>
                </a:lnTo>
                <a:cubicBezTo>
                  <a:pt x="4533106" y="5914232"/>
                  <a:pt x="4412191" y="5496124"/>
                  <a:pt x="4170362" y="5209183"/>
                </a:cubicBezTo>
                <a:cubicBezTo>
                  <a:pt x="3928533" y="4922111"/>
                  <a:pt x="3590528" y="4778574"/>
                  <a:pt x="3156347" y="47785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37" name="Freeform 3137"/>
          <p:cNvSpPr/>
          <p:nvPr/>
        </p:nvSpPr>
        <p:spPr>
          <a:xfrm>
            <a:off x="1550310" y="2076792"/>
            <a:ext cx="50699" cy="75285"/>
          </a:xfrm>
          <a:custGeom>
            <a:avLst/>
            <a:gdLst/>
            <a:ahLst/>
            <a:cxnLst/>
            <a:rect l="0" t="0" r="0" b="0"/>
            <a:pathLst>
              <a:path w="6337498" h="9410700">
                <a:moveTo>
                  <a:pt x="3175000" y="4169371"/>
                </a:moveTo>
                <a:lnTo>
                  <a:pt x="4415234" y="0"/>
                </a:lnTo>
                <a:lnTo>
                  <a:pt x="6337498" y="0"/>
                </a:lnTo>
                <a:lnTo>
                  <a:pt x="3640137" y="7744221"/>
                </a:lnTo>
                <a:lnTo>
                  <a:pt x="3491309" y="8097242"/>
                </a:lnTo>
                <a:cubicBezTo>
                  <a:pt x="3090201" y="8972880"/>
                  <a:pt x="2428742" y="9410700"/>
                  <a:pt x="1506934" y="9410700"/>
                </a:cubicBezTo>
                <a:cubicBezTo>
                  <a:pt x="1246452" y="9410700"/>
                  <a:pt x="981868" y="9371409"/>
                  <a:pt x="713184" y="9292828"/>
                </a:cubicBezTo>
                <a:lnTo>
                  <a:pt x="713184" y="7934920"/>
                </a:lnTo>
                <a:lnTo>
                  <a:pt x="986036" y="7941071"/>
                </a:lnTo>
                <a:cubicBezTo>
                  <a:pt x="1324967" y="7941071"/>
                  <a:pt x="1578107" y="7889411"/>
                  <a:pt x="1745456" y="7786092"/>
                </a:cubicBezTo>
                <a:cubicBezTo>
                  <a:pt x="1912937" y="7682904"/>
                  <a:pt x="2044237" y="7511586"/>
                  <a:pt x="2139354" y="7272139"/>
                </a:cubicBezTo>
                <a:lnTo>
                  <a:pt x="2350293" y="6720879"/>
                </a:lnTo>
                <a:lnTo>
                  <a:pt x="0" y="0"/>
                </a:lnTo>
                <a:lnTo>
                  <a:pt x="1928614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38" name="Freeform 3138"/>
          <p:cNvSpPr/>
          <p:nvPr/>
        </p:nvSpPr>
        <p:spPr>
          <a:xfrm>
            <a:off x="1599956" y="2076792"/>
            <a:ext cx="60772" cy="69799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39" name="Freeform 3139"/>
          <p:cNvSpPr/>
          <p:nvPr/>
        </p:nvSpPr>
        <p:spPr>
          <a:xfrm>
            <a:off x="1662578" y="2076792"/>
            <a:ext cx="50699" cy="75285"/>
          </a:xfrm>
          <a:custGeom>
            <a:avLst/>
            <a:gdLst/>
            <a:ahLst/>
            <a:cxnLst/>
            <a:rect l="0" t="0" r="0" b="0"/>
            <a:pathLst>
              <a:path w="6337498" h="9410700">
                <a:moveTo>
                  <a:pt x="3175000" y="4169371"/>
                </a:moveTo>
                <a:lnTo>
                  <a:pt x="4415234" y="0"/>
                </a:lnTo>
                <a:lnTo>
                  <a:pt x="6337498" y="0"/>
                </a:lnTo>
                <a:lnTo>
                  <a:pt x="3640137" y="7744221"/>
                </a:lnTo>
                <a:lnTo>
                  <a:pt x="3491309" y="8097242"/>
                </a:lnTo>
                <a:cubicBezTo>
                  <a:pt x="3090201" y="8972880"/>
                  <a:pt x="2428742" y="9410700"/>
                  <a:pt x="1506934" y="9410700"/>
                </a:cubicBezTo>
                <a:cubicBezTo>
                  <a:pt x="1246452" y="9410700"/>
                  <a:pt x="981868" y="9371409"/>
                  <a:pt x="713184" y="9292828"/>
                </a:cubicBezTo>
                <a:lnTo>
                  <a:pt x="713184" y="7934920"/>
                </a:lnTo>
                <a:lnTo>
                  <a:pt x="986036" y="7941071"/>
                </a:lnTo>
                <a:cubicBezTo>
                  <a:pt x="1324967" y="7941071"/>
                  <a:pt x="1578107" y="7889411"/>
                  <a:pt x="1745456" y="7786092"/>
                </a:cubicBezTo>
                <a:cubicBezTo>
                  <a:pt x="1912937" y="7682904"/>
                  <a:pt x="2044237" y="7511586"/>
                  <a:pt x="2139354" y="7272139"/>
                </a:cubicBezTo>
                <a:lnTo>
                  <a:pt x="2350293" y="6720879"/>
                </a:lnTo>
                <a:lnTo>
                  <a:pt x="0" y="0"/>
                </a:lnTo>
                <a:lnTo>
                  <a:pt x="1928614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0" name="Freeform 3140"/>
          <p:cNvSpPr/>
          <p:nvPr/>
        </p:nvSpPr>
        <p:spPr>
          <a:xfrm>
            <a:off x="1718688" y="2076792"/>
            <a:ext cx="83194" cy="69596"/>
          </a:xfrm>
          <a:custGeom>
            <a:avLst/>
            <a:gdLst/>
            <a:ahLst/>
            <a:cxnLst/>
            <a:rect l="0" t="0" r="0" b="0"/>
            <a:pathLst>
              <a:path w="10399316" h="8699500">
                <a:moveTo>
                  <a:pt x="1792089" y="0"/>
                </a:moveTo>
                <a:lnTo>
                  <a:pt x="1792089" y="5260777"/>
                </a:lnTo>
                <a:lnTo>
                  <a:pt x="3633986" y="5260777"/>
                </a:lnTo>
                <a:lnTo>
                  <a:pt x="3633986" y="0"/>
                </a:lnTo>
                <a:lnTo>
                  <a:pt x="5432227" y="0"/>
                </a:lnTo>
                <a:lnTo>
                  <a:pt x="5432227" y="5260777"/>
                </a:lnTo>
                <a:lnTo>
                  <a:pt x="7267774" y="5260777"/>
                </a:lnTo>
                <a:lnTo>
                  <a:pt x="7267774" y="0"/>
                </a:lnTo>
                <a:lnTo>
                  <a:pt x="9066213" y="0"/>
                </a:lnTo>
                <a:lnTo>
                  <a:pt x="9066213" y="5273279"/>
                </a:lnTo>
                <a:lnTo>
                  <a:pt x="10399316" y="5273279"/>
                </a:lnTo>
                <a:lnTo>
                  <a:pt x="10275292" y="8699500"/>
                </a:lnTo>
                <a:lnTo>
                  <a:pt x="8607227" y="8699500"/>
                </a:lnTo>
                <a:lnTo>
                  <a:pt x="8607227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1" name="Freeform 3141"/>
          <p:cNvSpPr/>
          <p:nvPr/>
        </p:nvSpPr>
        <p:spPr>
          <a:xfrm>
            <a:off x="1807428" y="2075776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2" name="Freeform 3142"/>
          <p:cNvSpPr/>
          <p:nvPr/>
        </p:nvSpPr>
        <p:spPr>
          <a:xfrm>
            <a:off x="1864227" y="2076792"/>
            <a:ext cx="36561" cy="53644"/>
          </a:xfrm>
          <a:custGeom>
            <a:avLst/>
            <a:gdLst/>
            <a:ahLst/>
            <a:cxnLst/>
            <a:rect l="0" t="0" r="0" b="0"/>
            <a:pathLst>
              <a:path w="4570214" h="6705600">
                <a:moveTo>
                  <a:pt x="4570214" y="1451174"/>
                </a:move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570214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3" name="Freeform 3143"/>
          <p:cNvSpPr/>
          <p:nvPr/>
        </p:nvSpPr>
        <p:spPr>
          <a:xfrm>
            <a:off x="1903550" y="2075776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4" name="Freeform 3144"/>
          <p:cNvSpPr/>
          <p:nvPr/>
        </p:nvSpPr>
        <p:spPr>
          <a:xfrm>
            <a:off x="1963881" y="2075065"/>
            <a:ext cx="16221" cy="55880"/>
          </a:xfrm>
          <a:custGeom>
            <a:avLst/>
            <a:gdLst/>
            <a:ahLst/>
            <a:cxnLst/>
            <a:rect l="0" t="0" r="0" b="0"/>
            <a:pathLst>
              <a:path w="2027634" h="6985000">
                <a:moveTo>
                  <a:pt x="0" y="6036271"/>
                </a:moveTo>
                <a:cubicBezTo>
                  <a:pt x="0" y="5750918"/>
                  <a:pt x="96110" y="5519407"/>
                  <a:pt x="288330" y="5341740"/>
                </a:cubicBezTo>
                <a:cubicBezTo>
                  <a:pt x="480549" y="5163940"/>
                  <a:pt x="721320" y="5075040"/>
                  <a:pt x="1010642" y="5075040"/>
                </a:cubicBezTo>
                <a:cubicBezTo>
                  <a:pt x="1304197" y="5075040"/>
                  <a:pt x="1547085" y="5163940"/>
                  <a:pt x="1739305" y="5341740"/>
                </a:cubicBezTo>
                <a:cubicBezTo>
                  <a:pt x="1931524" y="5519407"/>
                  <a:pt x="2027634" y="5750918"/>
                  <a:pt x="2027634" y="6036271"/>
                </a:cubicBezTo>
                <a:cubicBezTo>
                  <a:pt x="2027634" y="6317391"/>
                  <a:pt x="1932517" y="6545792"/>
                  <a:pt x="1742281" y="6721475"/>
                </a:cubicBezTo>
                <a:cubicBezTo>
                  <a:pt x="1552178" y="6897159"/>
                  <a:pt x="1308298" y="6985000"/>
                  <a:pt x="1010642" y="6985000"/>
                </a:cubicBezTo>
                <a:cubicBezTo>
                  <a:pt x="717219" y="6985000"/>
                  <a:pt x="475390" y="6897159"/>
                  <a:pt x="285155" y="6721475"/>
                </a:cubicBezTo>
                <a:cubicBezTo>
                  <a:pt x="95051" y="6545792"/>
                  <a:pt x="0" y="6317391"/>
                  <a:pt x="0" y="6036271"/>
                </a:cubicBezTo>
                <a:close/>
                <a:moveTo>
                  <a:pt x="0" y="961232"/>
                </a:moveTo>
                <a:cubicBezTo>
                  <a:pt x="0" y="675879"/>
                  <a:pt x="96110" y="444368"/>
                  <a:pt x="288330" y="266700"/>
                </a:cubicBezTo>
                <a:cubicBezTo>
                  <a:pt x="480549" y="88900"/>
                  <a:pt x="721320" y="0"/>
                  <a:pt x="1010642" y="0"/>
                </a:cubicBezTo>
                <a:cubicBezTo>
                  <a:pt x="1304197" y="0"/>
                  <a:pt x="1547085" y="88900"/>
                  <a:pt x="1739305" y="266700"/>
                </a:cubicBezTo>
                <a:cubicBezTo>
                  <a:pt x="1931524" y="444368"/>
                  <a:pt x="2027634" y="675879"/>
                  <a:pt x="2027634" y="961232"/>
                </a:cubicBezTo>
                <a:cubicBezTo>
                  <a:pt x="2027634" y="1242351"/>
                  <a:pt x="1932517" y="1470753"/>
                  <a:pt x="1742281" y="1646436"/>
                </a:cubicBezTo>
                <a:cubicBezTo>
                  <a:pt x="1552178" y="1822120"/>
                  <a:pt x="1308298" y="1909961"/>
                  <a:pt x="1010642" y="1909961"/>
                </a:cubicBezTo>
                <a:cubicBezTo>
                  <a:pt x="717219" y="1909961"/>
                  <a:pt x="475390" y="1822120"/>
                  <a:pt x="285155" y="1646436"/>
                </a:cubicBezTo>
                <a:cubicBezTo>
                  <a:pt x="95051" y="1470753"/>
                  <a:pt x="0" y="1242351"/>
                  <a:pt x="0" y="96123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5" name="Freeform 3145"/>
          <p:cNvSpPr/>
          <p:nvPr/>
        </p:nvSpPr>
        <p:spPr>
          <a:xfrm>
            <a:off x="2045164" y="2058200"/>
            <a:ext cx="56107" cy="72237"/>
          </a:xfrm>
          <a:custGeom>
            <a:avLst/>
            <a:gdLst/>
            <a:ahLst/>
            <a:cxnLst/>
            <a:rect l="0" t="0" r="0" b="0"/>
            <a:pathLst>
              <a:path w="7013377" h="9029700">
                <a:moveTo>
                  <a:pt x="2288183" y="4967288"/>
                </a:moveTo>
                <a:lnTo>
                  <a:pt x="1190625" y="49672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975100"/>
                </a:lnTo>
                <a:lnTo>
                  <a:pt x="2120702" y="3975100"/>
                </a:lnTo>
                <a:lnTo>
                  <a:pt x="5277049" y="0"/>
                </a:lnTo>
                <a:lnTo>
                  <a:pt x="6759178" y="0"/>
                </a:lnTo>
                <a:lnTo>
                  <a:pt x="3311327" y="4371975"/>
                </a:lnTo>
                <a:lnTo>
                  <a:pt x="7013377" y="9029700"/>
                </a:lnTo>
                <a:lnTo>
                  <a:pt x="5556250" y="90297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6" name="Freeform 3146"/>
          <p:cNvSpPr/>
          <p:nvPr/>
        </p:nvSpPr>
        <p:spPr>
          <a:xfrm>
            <a:off x="2106967" y="2075776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7" name="Freeform 3147"/>
          <p:cNvSpPr/>
          <p:nvPr/>
        </p:nvSpPr>
        <p:spPr>
          <a:xfrm>
            <a:off x="2164468" y="2076792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8" name="Freeform 3148"/>
          <p:cNvSpPr/>
          <p:nvPr/>
        </p:nvSpPr>
        <p:spPr>
          <a:xfrm>
            <a:off x="2244427" y="2076792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49" name="Freeform 3149"/>
          <p:cNvSpPr/>
          <p:nvPr/>
        </p:nvSpPr>
        <p:spPr>
          <a:xfrm>
            <a:off x="2299677" y="2075776"/>
            <a:ext cx="42267" cy="55575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0" name="Freeform 3150"/>
          <p:cNvSpPr/>
          <p:nvPr/>
        </p:nvSpPr>
        <p:spPr>
          <a:xfrm>
            <a:off x="2354611" y="2076792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1" name="Freeform 3151"/>
          <p:cNvSpPr/>
          <p:nvPr/>
        </p:nvSpPr>
        <p:spPr>
          <a:xfrm>
            <a:off x="2426722" y="2075776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2" name="Freeform 3152"/>
          <p:cNvSpPr/>
          <p:nvPr/>
        </p:nvSpPr>
        <p:spPr>
          <a:xfrm>
            <a:off x="2483594" y="2076792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3" name="Freeform 3153"/>
          <p:cNvSpPr/>
          <p:nvPr/>
        </p:nvSpPr>
        <p:spPr>
          <a:xfrm>
            <a:off x="2536708" y="2076792"/>
            <a:ext cx="45640" cy="53644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4" name="Freeform 3154"/>
          <p:cNvSpPr/>
          <p:nvPr/>
        </p:nvSpPr>
        <p:spPr>
          <a:xfrm>
            <a:off x="2592037" y="2076792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5" name="Freeform 3155"/>
          <p:cNvSpPr/>
          <p:nvPr/>
        </p:nvSpPr>
        <p:spPr>
          <a:xfrm>
            <a:off x="2639423" y="2075776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6" name="Freeform 3156"/>
          <p:cNvSpPr/>
          <p:nvPr/>
        </p:nvSpPr>
        <p:spPr>
          <a:xfrm>
            <a:off x="2690328" y="2076792"/>
            <a:ext cx="45640" cy="53644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7" name="Freeform 3157"/>
          <p:cNvSpPr/>
          <p:nvPr/>
        </p:nvSpPr>
        <p:spPr>
          <a:xfrm>
            <a:off x="1482588" y="2200617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8" name="Freeform 3158"/>
          <p:cNvSpPr/>
          <p:nvPr/>
        </p:nvSpPr>
        <p:spPr>
          <a:xfrm>
            <a:off x="1540417" y="2199601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59" name="Freeform 3159"/>
          <p:cNvSpPr/>
          <p:nvPr/>
        </p:nvSpPr>
        <p:spPr>
          <a:xfrm>
            <a:off x="1598209" y="2200617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0" name="Freeform 3160"/>
          <p:cNvSpPr/>
          <p:nvPr/>
        </p:nvSpPr>
        <p:spPr>
          <a:xfrm>
            <a:off x="1656881" y="2200617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1" name="Freeform 3161"/>
          <p:cNvSpPr/>
          <p:nvPr/>
        </p:nvSpPr>
        <p:spPr>
          <a:xfrm>
            <a:off x="1714894" y="2200617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2" name="Freeform 3162"/>
          <p:cNvSpPr/>
          <p:nvPr/>
        </p:nvSpPr>
        <p:spPr>
          <a:xfrm>
            <a:off x="1791058" y="2200516"/>
            <a:ext cx="42365" cy="53746"/>
          </a:xfrm>
          <a:custGeom>
            <a:avLst/>
            <a:gdLst/>
            <a:ahLst/>
            <a:cxnLst/>
            <a:rect l="0" t="0" r="0" b="0"/>
            <a:pathLst>
              <a:path w="5295701" h="6718300">
                <a:moveTo>
                  <a:pt x="5295701" y="6718300"/>
                </a:moveTo>
                <a:lnTo>
                  <a:pt x="4142383" y="6718300"/>
                </a:lnTo>
                <a:lnTo>
                  <a:pt x="4142383" y="4287441"/>
                </a:lnTo>
                <a:cubicBezTo>
                  <a:pt x="3637955" y="4419733"/>
                  <a:pt x="3121157" y="4485879"/>
                  <a:pt x="2591990" y="4485879"/>
                </a:cubicBezTo>
                <a:cubicBezTo>
                  <a:pt x="1752865" y="4485879"/>
                  <a:pt x="1113102" y="4270772"/>
                  <a:pt x="672703" y="3840560"/>
                </a:cubicBezTo>
                <a:cubicBezTo>
                  <a:pt x="232436" y="3410347"/>
                  <a:pt x="8202" y="2798168"/>
                  <a:pt x="0" y="2004021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2041525"/>
                </a:lnTo>
                <a:cubicBezTo>
                  <a:pt x="1167805" y="3042709"/>
                  <a:pt x="1649412" y="3543300"/>
                  <a:pt x="2591990" y="3543300"/>
                </a:cubicBezTo>
                <a:cubicBezTo>
                  <a:pt x="3121157" y="3543300"/>
                  <a:pt x="3637955" y="3477221"/>
                  <a:pt x="4142383" y="3345061"/>
                </a:cubicBezTo>
                <a:lnTo>
                  <a:pt x="4142383" y="12700"/>
                </a:lnTo>
                <a:lnTo>
                  <a:pt x="5295701" y="127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3" name="Freeform 3163"/>
          <p:cNvSpPr/>
          <p:nvPr/>
        </p:nvSpPr>
        <p:spPr>
          <a:xfrm>
            <a:off x="1848856" y="2200617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4" name="Freeform 3164"/>
          <p:cNvSpPr/>
          <p:nvPr/>
        </p:nvSpPr>
        <p:spPr>
          <a:xfrm>
            <a:off x="1907426" y="2200617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5" name="Freeform 3165"/>
          <p:cNvSpPr/>
          <p:nvPr/>
        </p:nvSpPr>
        <p:spPr>
          <a:xfrm>
            <a:off x="1983093" y="2199601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6" name="Freeform 3166"/>
          <p:cNvSpPr/>
          <p:nvPr/>
        </p:nvSpPr>
        <p:spPr>
          <a:xfrm>
            <a:off x="2061836" y="2199601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7" name="Freeform 3167"/>
          <p:cNvSpPr/>
          <p:nvPr/>
        </p:nvSpPr>
        <p:spPr>
          <a:xfrm>
            <a:off x="2116202" y="2200617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8" name="Freeform 3168"/>
          <p:cNvSpPr/>
          <p:nvPr/>
        </p:nvSpPr>
        <p:spPr>
          <a:xfrm>
            <a:off x="2169931" y="2199601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69" name="Freeform 3169"/>
          <p:cNvSpPr/>
          <p:nvPr/>
        </p:nvSpPr>
        <p:spPr>
          <a:xfrm>
            <a:off x="2225390" y="2199601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70" name="Freeform 3170"/>
          <p:cNvSpPr/>
          <p:nvPr/>
        </p:nvSpPr>
        <p:spPr>
          <a:xfrm>
            <a:off x="2279716" y="2199601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71" name="Freeform 3171"/>
          <p:cNvSpPr/>
          <p:nvPr/>
        </p:nvSpPr>
        <p:spPr>
          <a:xfrm>
            <a:off x="2330472" y="2200617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72" name="Freeform 3172"/>
          <p:cNvSpPr/>
          <p:nvPr/>
        </p:nvSpPr>
        <p:spPr>
          <a:xfrm>
            <a:off x="2394753" y="2200617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73" name="Rectangle 3173"/>
          <p:cNvSpPr/>
          <p:nvPr/>
        </p:nvSpPr>
        <p:spPr>
          <a:xfrm>
            <a:off x="8641883" y="162374"/>
            <a:ext cx="70357" cy="152400"/>
          </a:xfrm>
          <a:prstGeom prst="rect">
            <a:avLst/>
          </a:prstGeom>
        </p:spPr>
      </p:sp>
      <p:sp>
        <p:nvSpPr>
          <p:cNvPr id="3175" name="Rectangle 3175"/>
          <p:cNvSpPr/>
          <p:nvPr/>
        </p:nvSpPr>
        <p:spPr>
          <a:xfrm>
            <a:off x="1365307" y="1702458"/>
            <a:ext cx="1188973" cy="152400"/>
          </a:xfrm>
          <a:prstGeom prst="rect">
            <a:avLst/>
          </a:prstGeom>
        </p:spPr>
      </p:sp>
      <p:sp>
        <p:nvSpPr>
          <p:cNvPr id="3176" name="Freeform 3176"/>
          <p:cNvSpPr/>
          <p:nvPr/>
        </p:nvSpPr>
        <p:spPr>
          <a:xfrm>
            <a:off x="1372687" y="1731541"/>
            <a:ext cx="69514" cy="92836"/>
          </a:xfrm>
          <a:custGeom>
            <a:avLst/>
            <a:gdLst/>
            <a:ahLst/>
            <a:cxnLst/>
            <a:rect l="0" t="0" r="0" b="0"/>
            <a:pathLst>
              <a:path w="6951464" h="9283700">
                <a:moveTo>
                  <a:pt x="6951464" y="6294636"/>
                </a:moveTo>
                <a:cubicBezTo>
                  <a:pt x="6839809" y="7249650"/>
                  <a:pt x="6487384" y="7986581"/>
                  <a:pt x="5894189" y="8505429"/>
                </a:cubicBezTo>
                <a:cubicBezTo>
                  <a:pt x="5300993" y="9024277"/>
                  <a:pt x="4512402" y="9283700"/>
                  <a:pt x="3528417" y="9283700"/>
                </a:cubicBezTo>
                <a:cubicBezTo>
                  <a:pt x="2461881" y="9283700"/>
                  <a:pt x="1607145" y="8901047"/>
                  <a:pt x="964207" y="8135740"/>
                </a:cubicBezTo>
                <a:cubicBezTo>
                  <a:pt x="321402" y="7370300"/>
                  <a:pt x="0" y="6346363"/>
                  <a:pt x="0" y="5063927"/>
                </a:cubicBezTo>
                <a:lnTo>
                  <a:pt x="0" y="4194969"/>
                </a:lnTo>
                <a:cubicBezTo>
                  <a:pt x="0" y="3355182"/>
                  <a:pt x="149820" y="2616730"/>
                  <a:pt x="449461" y="1979613"/>
                </a:cubicBezTo>
                <a:cubicBezTo>
                  <a:pt x="749233" y="1342496"/>
                  <a:pt x="1174022" y="853282"/>
                  <a:pt x="1723826" y="511969"/>
                </a:cubicBezTo>
                <a:cubicBezTo>
                  <a:pt x="2273763" y="170657"/>
                  <a:pt x="2910416" y="0"/>
                  <a:pt x="3633787" y="0"/>
                </a:cubicBezTo>
                <a:cubicBezTo>
                  <a:pt x="4592902" y="0"/>
                  <a:pt x="5361847" y="267693"/>
                  <a:pt x="5940623" y="803077"/>
                </a:cubicBezTo>
                <a:cubicBezTo>
                  <a:pt x="6519399" y="1338461"/>
                  <a:pt x="6856346" y="2079493"/>
                  <a:pt x="6951464" y="3026172"/>
                </a:cubicBezTo>
                <a:lnTo>
                  <a:pt x="5754687" y="3026172"/>
                </a:lnTo>
                <a:cubicBezTo>
                  <a:pt x="5651367" y="2306902"/>
                  <a:pt x="5427067" y="1786071"/>
                  <a:pt x="5081786" y="1463675"/>
                </a:cubicBezTo>
                <a:cubicBezTo>
                  <a:pt x="4736636" y="1141149"/>
                  <a:pt x="4253971" y="979885"/>
                  <a:pt x="3633787" y="979885"/>
                </a:cubicBezTo>
                <a:cubicBezTo>
                  <a:pt x="2873110" y="979885"/>
                  <a:pt x="2276739" y="1261269"/>
                  <a:pt x="1844675" y="1824038"/>
                </a:cubicBezTo>
                <a:cubicBezTo>
                  <a:pt x="1412742" y="2386807"/>
                  <a:pt x="1196776" y="3187502"/>
                  <a:pt x="1196776" y="4226124"/>
                </a:cubicBezTo>
                <a:lnTo>
                  <a:pt x="1196776" y="5101233"/>
                </a:lnTo>
                <a:cubicBezTo>
                  <a:pt x="1196776" y="6081911"/>
                  <a:pt x="1401431" y="6861903"/>
                  <a:pt x="1810742" y="7441208"/>
                </a:cubicBezTo>
                <a:cubicBezTo>
                  <a:pt x="2220052" y="8020513"/>
                  <a:pt x="2792611" y="8310166"/>
                  <a:pt x="3528417" y="8310166"/>
                </a:cubicBezTo>
                <a:cubicBezTo>
                  <a:pt x="4189875" y="8310166"/>
                  <a:pt x="4697346" y="8160280"/>
                  <a:pt x="5050829" y="7860507"/>
                </a:cubicBezTo>
                <a:cubicBezTo>
                  <a:pt x="5404313" y="7560734"/>
                  <a:pt x="5638932" y="7038777"/>
                  <a:pt x="5754687" y="6294636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77" name="Freeform 3177"/>
          <p:cNvSpPr/>
          <p:nvPr/>
        </p:nvSpPr>
        <p:spPr>
          <a:xfrm>
            <a:off x="1453501" y="1754782"/>
            <a:ext cx="61081" cy="69595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78" name="Freeform 3178"/>
          <p:cNvSpPr/>
          <p:nvPr/>
        </p:nvSpPr>
        <p:spPr>
          <a:xfrm>
            <a:off x="1518656" y="1756052"/>
            <a:ext cx="69762" cy="86740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79" name="Freeform 3179"/>
          <p:cNvSpPr/>
          <p:nvPr/>
        </p:nvSpPr>
        <p:spPr>
          <a:xfrm>
            <a:off x="1598150" y="1754782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0" name="Freeform 3180"/>
          <p:cNvSpPr/>
          <p:nvPr/>
        </p:nvSpPr>
        <p:spPr>
          <a:xfrm>
            <a:off x="1668248" y="1754782"/>
            <a:ext cx="56679" cy="94106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1" name="Freeform 3181"/>
          <p:cNvSpPr/>
          <p:nvPr/>
        </p:nvSpPr>
        <p:spPr>
          <a:xfrm>
            <a:off x="1731226" y="1756052"/>
            <a:ext cx="94196" cy="67055"/>
          </a:xfrm>
          <a:custGeom>
            <a:avLst/>
            <a:gdLst/>
            <a:ahLst/>
            <a:cxnLst/>
            <a:rect l="0" t="0" r="0" b="0"/>
            <a:pathLst>
              <a:path w="9419629" h="6705600">
                <a:moveTo>
                  <a:pt x="6089650" y="3785593"/>
                </a:moveTo>
                <a:lnTo>
                  <a:pt x="5283398" y="3785593"/>
                </a:lnTo>
                <a:lnTo>
                  <a:pt x="5283398" y="6705600"/>
                </a:lnTo>
                <a:lnTo>
                  <a:pt x="4136231" y="6705600"/>
                </a:lnTo>
                <a:lnTo>
                  <a:pt x="4136231" y="3785593"/>
                </a:lnTo>
                <a:lnTo>
                  <a:pt x="3330178" y="3785593"/>
                </a:lnTo>
                <a:lnTo>
                  <a:pt x="1451173" y="6705600"/>
                </a:lnTo>
                <a:lnTo>
                  <a:pt x="0" y="6705600"/>
                </a:lnTo>
                <a:lnTo>
                  <a:pt x="2399903" y="3227388"/>
                </a:lnTo>
                <a:lnTo>
                  <a:pt x="229592" y="0"/>
                </a:lnTo>
                <a:lnTo>
                  <a:pt x="1618654" y="0"/>
                </a:lnTo>
                <a:lnTo>
                  <a:pt x="3348632" y="2768600"/>
                </a:lnTo>
                <a:lnTo>
                  <a:pt x="4136231" y="2768600"/>
                </a:lnTo>
                <a:lnTo>
                  <a:pt x="4136231" y="0"/>
                </a:lnTo>
                <a:lnTo>
                  <a:pt x="5283398" y="0"/>
                </a:lnTo>
                <a:lnTo>
                  <a:pt x="5283398" y="2768600"/>
                </a:lnTo>
                <a:lnTo>
                  <a:pt x="6064845" y="2768600"/>
                </a:lnTo>
                <a:lnTo>
                  <a:pt x="7807325" y="0"/>
                </a:lnTo>
                <a:lnTo>
                  <a:pt x="9196387" y="0"/>
                </a:lnTo>
                <a:lnTo>
                  <a:pt x="7019726" y="3233738"/>
                </a:lnTo>
                <a:lnTo>
                  <a:pt x="9419629" y="6705600"/>
                </a:lnTo>
                <a:lnTo>
                  <a:pt x="7968654" y="670560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2" name="Freeform 3182"/>
          <p:cNvSpPr/>
          <p:nvPr/>
        </p:nvSpPr>
        <p:spPr>
          <a:xfrm>
            <a:off x="1833838" y="1754782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3" name="Freeform 3183"/>
          <p:cNvSpPr/>
          <p:nvPr/>
        </p:nvSpPr>
        <p:spPr>
          <a:xfrm>
            <a:off x="1905714" y="1756052"/>
            <a:ext cx="53826" cy="67055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4" name="Freeform 3184"/>
          <p:cNvSpPr/>
          <p:nvPr/>
        </p:nvSpPr>
        <p:spPr>
          <a:xfrm>
            <a:off x="1978866" y="1756052"/>
            <a:ext cx="53887" cy="67055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5" name="Freeform 3185"/>
          <p:cNvSpPr/>
          <p:nvPr/>
        </p:nvSpPr>
        <p:spPr>
          <a:xfrm>
            <a:off x="2048238" y="1754782"/>
            <a:ext cx="56927" cy="69595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6" name="Freeform 3186"/>
          <p:cNvSpPr/>
          <p:nvPr/>
        </p:nvSpPr>
        <p:spPr>
          <a:xfrm>
            <a:off x="2142759" y="1732811"/>
            <a:ext cx="79436" cy="90296"/>
          </a:xfrm>
          <a:custGeom>
            <a:avLst/>
            <a:gdLst/>
            <a:ahLst/>
            <a:cxnLst/>
            <a:rect l="0" t="0" r="0" b="0"/>
            <a:pathLst>
              <a:path w="7943652" h="9029700">
                <a:moveTo>
                  <a:pt x="5860058" y="6669485"/>
                </a:moveTo>
                <a:lnTo>
                  <a:pt x="2077443" y="6669485"/>
                </a:lnTo>
                <a:lnTo>
                  <a:pt x="1227932" y="9029700"/>
                </a:lnTo>
                <a:lnTo>
                  <a:pt x="0" y="9029700"/>
                </a:lnTo>
                <a:lnTo>
                  <a:pt x="3447852" y="0"/>
                </a:lnTo>
                <a:lnTo>
                  <a:pt x="4489649" y="0"/>
                </a:lnTo>
                <a:lnTo>
                  <a:pt x="7943652" y="9029700"/>
                </a:lnTo>
                <a:lnTo>
                  <a:pt x="6722071" y="9029700"/>
                </a:lnTo>
                <a:close/>
                <a:moveTo>
                  <a:pt x="2437011" y="5689600"/>
                </a:moveTo>
                <a:lnTo>
                  <a:pt x="5506641" y="5689600"/>
                </a:lnTo>
                <a:lnTo>
                  <a:pt x="3968750" y="1469827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7" name="Freeform 3187"/>
          <p:cNvSpPr/>
          <p:nvPr/>
        </p:nvSpPr>
        <p:spPr>
          <a:xfrm>
            <a:off x="2223005" y="1756052"/>
            <a:ext cx="56058" cy="67055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8" name="Freeform 3188"/>
          <p:cNvSpPr/>
          <p:nvPr/>
        </p:nvSpPr>
        <p:spPr>
          <a:xfrm>
            <a:off x="2279261" y="1756052"/>
            <a:ext cx="60958" cy="67055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89" name="Freeform 3189"/>
          <p:cNvSpPr/>
          <p:nvPr/>
        </p:nvSpPr>
        <p:spPr>
          <a:xfrm>
            <a:off x="2356697" y="1754782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90" name="Freeform 3190"/>
          <p:cNvSpPr/>
          <p:nvPr/>
        </p:nvSpPr>
        <p:spPr>
          <a:xfrm>
            <a:off x="2424604" y="1754782"/>
            <a:ext cx="56554" cy="69595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91" name="Freeform 3191"/>
          <p:cNvSpPr/>
          <p:nvPr/>
        </p:nvSpPr>
        <p:spPr>
          <a:xfrm>
            <a:off x="2492079" y="1754782"/>
            <a:ext cx="55377" cy="69595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1C45DF">
              <a:alpha val="100000"/>
            </a:srgbClr>
          </a:solidFill>
          <a:ln w="12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92" name="Rectangle 3192"/>
          <p:cNvSpPr/>
          <p:nvPr/>
        </p:nvSpPr>
        <p:spPr>
          <a:xfrm>
            <a:off x="1188165" y="2491117"/>
            <a:ext cx="1543811" cy="245744"/>
          </a:xfrm>
          <a:prstGeom prst="rect">
            <a:avLst/>
          </a:prstGeom>
        </p:spPr>
      </p:sp>
      <p:sp>
        <p:nvSpPr>
          <p:cNvPr id="3193" name="Freeform 3193"/>
          <p:cNvSpPr/>
          <p:nvPr/>
        </p:nvSpPr>
        <p:spPr>
          <a:xfrm>
            <a:off x="1284914" y="2515400"/>
            <a:ext cx="58786" cy="7223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94" name="Freeform 3194"/>
          <p:cNvSpPr/>
          <p:nvPr/>
        </p:nvSpPr>
        <p:spPr>
          <a:xfrm>
            <a:off x="1353469" y="2532977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95" name="Freeform 3195"/>
          <p:cNvSpPr/>
          <p:nvPr/>
        </p:nvSpPr>
        <p:spPr>
          <a:xfrm>
            <a:off x="1414048" y="2533993"/>
            <a:ext cx="47823" cy="53644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96" name="Freeform 3196"/>
          <p:cNvSpPr/>
          <p:nvPr/>
        </p:nvSpPr>
        <p:spPr>
          <a:xfrm>
            <a:off x="1471452" y="2533993"/>
            <a:ext cx="70543" cy="53644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97" name="Freeform 3197"/>
          <p:cNvSpPr/>
          <p:nvPr/>
        </p:nvSpPr>
        <p:spPr>
          <a:xfrm>
            <a:off x="1552597" y="2532977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98" name="Freeform 3198"/>
          <p:cNvSpPr/>
          <p:nvPr/>
        </p:nvSpPr>
        <p:spPr>
          <a:xfrm>
            <a:off x="1634694" y="2532977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99" name="Freeform 3199"/>
          <p:cNvSpPr/>
          <p:nvPr/>
        </p:nvSpPr>
        <p:spPr>
          <a:xfrm>
            <a:off x="1689660" y="2532977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0" name="Freeform 3200"/>
          <p:cNvSpPr/>
          <p:nvPr/>
        </p:nvSpPr>
        <p:spPr>
          <a:xfrm>
            <a:off x="1744911" y="2510320"/>
            <a:ext cx="50601" cy="78333"/>
          </a:xfrm>
          <a:custGeom>
            <a:avLst/>
            <a:gdLst/>
            <a:ahLst/>
            <a:cxnLst/>
            <a:rect l="0" t="0" r="0" b="0"/>
            <a:pathLst>
              <a:path w="6325195" h="9791700">
                <a:moveTo>
                  <a:pt x="3497461" y="3327400"/>
                </a:moveTo>
                <a:cubicBezTo>
                  <a:pt x="4357357" y="3327400"/>
                  <a:pt x="5043620" y="3612489"/>
                  <a:pt x="5556250" y="4182666"/>
                </a:cubicBezTo>
                <a:cubicBezTo>
                  <a:pt x="6068880" y="4752843"/>
                  <a:pt x="6325195" y="5527609"/>
                  <a:pt x="6325195" y="6506965"/>
                </a:cubicBezTo>
                <a:lnTo>
                  <a:pt x="6325195" y="6593682"/>
                </a:lnTo>
                <a:cubicBezTo>
                  <a:pt x="6325195" y="7560469"/>
                  <a:pt x="6039908" y="8335169"/>
                  <a:pt x="5469334" y="8917782"/>
                </a:cubicBezTo>
                <a:cubicBezTo>
                  <a:pt x="4898893" y="9500394"/>
                  <a:pt x="4132064" y="9791700"/>
                  <a:pt x="3168848" y="9791700"/>
                </a:cubicBezTo>
                <a:cubicBezTo>
                  <a:pt x="2201399" y="9791700"/>
                  <a:pt x="1431396" y="9476516"/>
                  <a:pt x="858837" y="8846146"/>
                </a:cubicBezTo>
                <a:cubicBezTo>
                  <a:pt x="286279" y="8215644"/>
                  <a:pt x="0" y="7358791"/>
                  <a:pt x="0" y="6275586"/>
                </a:cubicBezTo>
                <a:lnTo>
                  <a:pt x="0" y="5977930"/>
                </a:lnTo>
                <a:cubicBezTo>
                  <a:pt x="8334" y="4469011"/>
                  <a:pt x="263591" y="3287713"/>
                  <a:pt x="765770" y="2434035"/>
                </a:cubicBezTo>
                <a:cubicBezTo>
                  <a:pt x="1268082" y="1580357"/>
                  <a:pt x="2023599" y="1041863"/>
                  <a:pt x="3032323" y="818555"/>
                </a:cubicBezTo>
                <a:cubicBezTo>
                  <a:pt x="3561490" y="702800"/>
                  <a:pt x="3902538" y="588103"/>
                  <a:pt x="4055467" y="474465"/>
                </a:cubicBezTo>
                <a:cubicBezTo>
                  <a:pt x="4208529" y="360694"/>
                  <a:pt x="4285059" y="202539"/>
                  <a:pt x="4285059" y="0"/>
                </a:cubicBezTo>
                <a:lnTo>
                  <a:pt x="5736034" y="0"/>
                </a:lnTo>
                <a:cubicBezTo>
                  <a:pt x="5736034" y="649552"/>
                  <a:pt x="5561343" y="1137775"/>
                  <a:pt x="5211961" y="1464668"/>
                </a:cubicBezTo>
                <a:cubicBezTo>
                  <a:pt x="4862711" y="1791428"/>
                  <a:pt x="4241602" y="2043774"/>
                  <a:pt x="3348633" y="2221707"/>
                </a:cubicBezTo>
                <a:cubicBezTo>
                  <a:pt x="2819466" y="2329260"/>
                  <a:pt x="2401887" y="2538215"/>
                  <a:pt x="2095897" y="2848571"/>
                </a:cubicBezTo>
                <a:cubicBezTo>
                  <a:pt x="1790039" y="3158795"/>
                  <a:pt x="1583399" y="3595225"/>
                  <a:pt x="1475978" y="4157861"/>
                </a:cubicBezTo>
                <a:cubicBezTo>
                  <a:pt x="2046420" y="3604221"/>
                  <a:pt x="2720247" y="3327400"/>
                  <a:pt x="3497461" y="3327400"/>
                </a:cubicBezTo>
                <a:close/>
                <a:moveTo>
                  <a:pt x="3156347" y="4778574"/>
                </a:moveTo>
                <a:cubicBezTo>
                  <a:pt x="2730632" y="4778574"/>
                  <a:pt x="2396794" y="4921052"/>
                  <a:pt x="2154833" y="5206008"/>
                </a:cubicBezTo>
                <a:cubicBezTo>
                  <a:pt x="1913004" y="5490965"/>
                  <a:pt x="1792089" y="5953522"/>
                  <a:pt x="1792089" y="6593682"/>
                </a:cubicBezTo>
                <a:cubicBezTo>
                  <a:pt x="1792089" y="7163594"/>
                  <a:pt x="1909895" y="7598305"/>
                  <a:pt x="2145506" y="7897813"/>
                </a:cubicBezTo>
                <a:cubicBezTo>
                  <a:pt x="2381250" y="8197189"/>
                  <a:pt x="2722364" y="8346877"/>
                  <a:pt x="3168848" y="8346877"/>
                </a:cubicBezTo>
                <a:cubicBezTo>
                  <a:pt x="3602897" y="8346877"/>
                  <a:pt x="3937727" y="8200298"/>
                  <a:pt x="4173339" y="7907140"/>
                </a:cubicBezTo>
                <a:cubicBezTo>
                  <a:pt x="4409083" y="7613849"/>
                  <a:pt x="4529005" y="7182247"/>
                  <a:pt x="4533106" y="6612335"/>
                </a:cubicBezTo>
                <a:lnTo>
                  <a:pt x="4533106" y="6463507"/>
                </a:lnTo>
                <a:cubicBezTo>
                  <a:pt x="4533106" y="5914232"/>
                  <a:pt x="4412191" y="5496124"/>
                  <a:pt x="4170362" y="5209183"/>
                </a:cubicBezTo>
                <a:cubicBezTo>
                  <a:pt x="3928533" y="4922111"/>
                  <a:pt x="3590528" y="4778574"/>
                  <a:pt x="3156347" y="47785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1" name="Freeform 3201"/>
          <p:cNvSpPr/>
          <p:nvPr/>
        </p:nvSpPr>
        <p:spPr>
          <a:xfrm>
            <a:off x="1801829" y="2532977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2" name="Freeform 3202"/>
          <p:cNvSpPr/>
          <p:nvPr/>
        </p:nvSpPr>
        <p:spPr>
          <a:xfrm>
            <a:off x="1860324" y="2533993"/>
            <a:ext cx="46385" cy="53644"/>
          </a:xfrm>
          <a:custGeom>
            <a:avLst/>
            <a:gdLst/>
            <a:ahLst/>
            <a:cxnLst/>
            <a:rect l="0" t="0" r="0" b="0"/>
            <a:pathLst>
              <a:path w="5798145" h="6705600">
                <a:moveTo>
                  <a:pt x="5798145" y="6705600"/>
                </a:moveTo>
                <a:lnTo>
                  <a:pt x="4006056" y="6705600"/>
                </a:lnTo>
                <a:lnTo>
                  <a:pt x="4006056" y="4602957"/>
                </a:lnTo>
                <a:cubicBezTo>
                  <a:pt x="3671093" y="4665002"/>
                  <a:pt x="3358951" y="4696024"/>
                  <a:pt x="3069629" y="4696024"/>
                </a:cubicBezTo>
                <a:cubicBezTo>
                  <a:pt x="2056804" y="4696024"/>
                  <a:pt x="1294077" y="4480984"/>
                  <a:pt x="781447" y="4050904"/>
                </a:cubicBezTo>
                <a:cubicBezTo>
                  <a:pt x="268816" y="3620823"/>
                  <a:pt x="8334" y="2992173"/>
                  <a:pt x="0" y="2164954"/>
                </a:cubicBezTo>
                <a:lnTo>
                  <a:pt x="0" y="0"/>
                </a:lnTo>
                <a:lnTo>
                  <a:pt x="1792089" y="0"/>
                </a:lnTo>
                <a:lnTo>
                  <a:pt x="1792089" y="2165350"/>
                </a:lnTo>
                <a:cubicBezTo>
                  <a:pt x="1796322" y="2554156"/>
                  <a:pt x="1891440" y="2832365"/>
                  <a:pt x="2077442" y="2999979"/>
                </a:cubicBezTo>
                <a:cubicBezTo>
                  <a:pt x="2263444" y="3167460"/>
                  <a:pt x="2594173" y="3251200"/>
                  <a:pt x="3069629" y="3251200"/>
                </a:cubicBezTo>
                <a:cubicBezTo>
                  <a:pt x="3367286" y="3251200"/>
                  <a:pt x="3679428" y="3216011"/>
                  <a:pt x="4006056" y="3145632"/>
                </a:cubicBezTo>
                <a:lnTo>
                  <a:pt x="4006056" y="0"/>
                </a:lnTo>
                <a:lnTo>
                  <a:pt x="579814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3" name="Freeform 3203"/>
          <p:cNvSpPr/>
          <p:nvPr/>
        </p:nvSpPr>
        <p:spPr>
          <a:xfrm>
            <a:off x="1917650" y="2533993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4" name="Freeform 3204"/>
          <p:cNvSpPr/>
          <p:nvPr/>
        </p:nvSpPr>
        <p:spPr>
          <a:xfrm>
            <a:off x="1973322" y="2532977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5" name="Freeform 3205"/>
          <p:cNvSpPr/>
          <p:nvPr/>
        </p:nvSpPr>
        <p:spPr>
          <a:xfrm>
            <a:off x="2053335" y="2532977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782814" y="2091730"/>
                </a:moveTo>
                <a:cubicBezTo>
                  <a:pt x="3782814" y="1857442"/>
                  <a:pt x="3705291" y="1675607"/>
                  <a:pt x="3550245" y="1546225"/>
                </a:cubicBezTo>
                <a:cubicBezTo>
                  <a:pt x="3395199" y="1416712"/>
                  <a:pt x="3175066" y="1351955"/>
                  <a:pt x="2889845" y="1351955"/>
                </a:cubicBezTo>
                <a:cubicBezTo>
                  <a:pt x="2596290" y="1351955"/>
                  <a:pt x="2357503" y="1413140"/>
                  <a:pt x="2173486" y="1535510"/>
                </a:cubicBezTo>
                <a:cubicBezTo>
                  <a:pt x="1989600" y="1657880"/>
                  <a:pt x="1897658" y="1831050"/>
                  <a:pt x="1897658" y="2055019"/>
                </a:cubicBezTo>
                <a:lnTo>
                  <a:pt x="105569" y="2055019"/>
                </a:lnTo>
                <a:cubicBezTo>
                  <a:pt x="105569" y="1446610"/>
                  <a:pt x="357716" y="952037"/>
                  <a:pt x="862012" y="571302"/>
                </a:cubicBezTo>
                <a:cubicBezTo>
                  <a:pt x="1366440" y="190435"/>
                  <a:pt x="2011362" y="0"/>
                  <a:pt x="2796778" y="0"/>
                </a:cubicBezTo>
                <a:cubicBezTo>
                  <a:pt x="3660775" y="0"/>
                  <a:pt x="4339762" y="169069"/>
                  <a:pt x="4833739" y="507207"/>
                </a:cubicBezTo>
                <a:cubicBezTo>
                  <a:pt x="5327848" y="845344"/>
                  <a:pt x="5574903" y="1325761"/>
                  <a:pt x="5574903" y="1948458"/>
                </a:cubicBezTo>
                <a:cubicBezTo>
                  <a:pt x="5574903" y="2245321"/>
                  <a:pt x="5484944" y="2518503"/>
                  <a:pt x="5305028" y="2768005"/>
                </a:cubicBezTo>
                <a:cubicBezTo>
                  <a:pt x="5125244" y="3017507"/>
                  <a:pt x="4872104" y="3216474"/>
                  <a:pt x="4545608" y="3364905"/>
                </a:cubicBezTo>
                <a:cubicBezTo>
                  <a:pt x="5310386" y="3634913"/>
                  <a:pt x="5692775" y="4156142"/>
                  <a:pt x="5692775" y="4928593"/>
                </a:cubicBezTo>
                <a:cubicBezTo>
                  <a:pt x="5692775" y="5547453"/>
                  <a:pt x="5429183" y="6040703"/>
                  <a:pt x="4902001" y="6408341"/>
                </a:cubicBezTo>
                <a:cubicBezTo>
                  <a:pt x="4374951" y="6775847"/>
                  <a:pt x="3673210" y="6959600"/>
                  <a:pt x="2796778" y="6959600"/>
                </a:cubicBezTo>
                <a:cubicBezTo>
                  <a:pt x="1982390" y="6959600"/>
                  <a:pt x="1312664" y="6769233"/>
                  <a:pt x="787598" y="6388497"/>
                </a:cubicBezTo>
                <a:cubicBezTo>
                  <a:pt x="262533" y="6007762"/>
                  <a:pt x="0" y="5494536"/>
                  <a:pt x="0" y="4848821"/>
                </a:cubicBezTo>
                <a:lnTo>
                  <a:pt x="1792287" y="4848821"/>
                </a:lnTo>
                <a:cubicBezTo>
                  <a:pt x="1792287" y="5076892"/>
                  <a:pt x="1893556" y="5261439"/>
                  <a:pt x="2096095" y="5402461"/>
                </a:cubicBezTo>
                <a:cubicBezTo>
                  <a:pt x="2298634" y="5543484"/>
                  <a:pt x="2563217" y="5613996"/>
                  <a:pt x="2889845" y="5613996"/>
                </a:cubicBezTo>
                <a:cubicBezTo>
                  <a:pt x="3208139" y="5613996"/>
                  <a:pt x="3456186" y="5538854"/>
                  <a:pt x="3633986" y="5388571"/>
                </a:cubicBezTo>
                <a:cubicBezTo>
                  <a:pt x="3811786" y="5238155"/>
                  <a:pt x="3900686" y="5041834"/>
                  <a:pt x="3900686" y="4799608"/>
                </a:cubicBezTo>
                <a:cubicBezTo>
                  <a:pt x="3900686" y="4503010"/>
                  <a:pt x="3815887" y="4291013"/>
                  <a:pt x="3646289" y="4163616"/>
                </a:cubicBezTo>
                <a:cubicBezTo>
                  <a:pt x="3476823" y="4036219"/>
                  <a:pt x="3222625" y="3972521"/>
                  <a:pt x="2883694" y="3972521"/>
                </a:cubicBezTo>
                <a:lnTo>
                  <a:pt x="1909961" y="3972521"/>
                </a:lnTo>
                <a:lnTo>
                  <a:pt x="1909961" y="2806700"/>
                </a:lnTo>
                <a:lnTo>
                  <a:pt x="2945606" y="2806700"/>
                </a:lnTo>
                <a:cubicBezTo>
                  <a:pt x="3503744" y="2790296"/>
                  <a:pt x="3782814" y="2551973"/>
                  <a:pt x="3782814" y="209173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6" name="Freeform 3206"/>
          <p:cNvSpPr/>
          <p:nvPr/>
        </p:nvSpPr>
        <p:spPr>
          <a:xfrm>
            <a:off x="2105407" y="2532977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7" name="Freeform 3207"/>
          <p:cNvSpPr/>
          <p:nvPr/>
        </p:nvSpPr>
        <p:spPr>
          <a:xfrm>
            <a:off x="2158128" y="2533993"/>
            <a:ext cx="60772" cy="69799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8" name="Freeform 3208"/>
          <p:cNvSpPr/>
          <p:nvPr/>
        </p:nvSpPr>
        <p:spPr>
          <a:xfrm>
            <a:off x="2223974" y="2532977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09" name="Freeform 3209"/>
          <p:cNvSpPr/>
          <p:nvPr/>
        </p:nvSpPr>
        <p:spPr>
          <a:xfrm>
            <a:off x="2279424" y="2533993"/>
            <a:ext cx="46385" cy="53644"/>
          </a:xfrm>
          <a:custGeom>
            <a:avLst/>
            <a:gdLst/>
            <a:ahLst/>
            <a:cxnLst/>
            <a:rect l="0" t="0" r="0" b="0"/>
            <a:pathLst>
              <a:path w="5798145" h="6705600">
                <a:moveTo>
                  <a:pt x="5798145" y="6705600"/>
                </a:moveTo>
                <a:lnTo>
                  <a:pt x="4006056" y="6705600"/>
                </a:lnTo>
                <a:lnTo>
                  <a:pt x="4006056" y="4602957"/>
                </a:lnTo>
                <a:cubicBezTo>
                  <a:pt x="3671093" y="4665002"/>
                  <a:pt x="3358951" y="4696024"/>
                  <a:pt x="3069629" y="4696024"/>
                </a:cubicBezTo>
                <a:cubicBezTo>
                  <a:pt x="2056804" y="4696024"/>
                  <a:pt x="1294077" y="4480984"/>
                  <a:pt x="781447" y="4050904"/>
                </a:cubicBezTo>
                <a:cubicBezTo>
                  <a:pt x="268816" y="3620823"/>
                  <a:pt x="8334" y="2992173"/>
                  <a:pt x="0" y="2164954"/>
                </a:cubicBezTo>
                <a:lnTo>
                  <a:pt x="0" y="0"/>
                </a:lnTo>
                <a:lnTo>
                  <a:pt x="1792089" y="0"/>
                </a:lnTo>
                <a:lnTo>
                  <a:pt x="1792089" y="2165350"/>
                </a:lnTo>
                <a:cubicBezTo>
                  <a:pt x="1796322" y="2554156"/>
                  <a:pt x="1891440" y="2832365"/>
                  <a:pt x="2077442" y="2999979"/>
                </a:cubicBezTo>
                <a:cubicBezTo>
                  <a:pt x="2263444" y="3167460"/>
                  <a:pt x="2594173" y="3251200"/>
                  <a:pt x="3069629" y="3251200"/>
                </a:cubicBezTo>
                <a:cubicBezTo>
                  <a:pt x="3367286" y="3251200"/>
                  <a:pt x="3679428" y="3216011"/>
                  <a:pt x="4006056" y="3145632"/>
                </a:cubicBezTo>
                <a:lnTo>
                  <a:pt x="4006056" y="0"/>
                </a:lnTo>
                <a:lnTo>
                  <a:pt x="579814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0" name="Freeform 3210"/>
          <p:cNvSpPr/>
          <p:nvPr/>
        </p:nvSpPr>
        <p:spPr>
          <a:xfrm>
            <a:off x="2336750" y="2533993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1" name="Freeform 3211"/>
          <p:cNvSpPr/>
          <p:nvPr/>
        </p:nvSpPr>
        <p:spPr>
          <a:xfrm>
            <a:off x="2395053" y="2532265"/>
            <a:ext cx="16221" cy="55880"/>
          </a:xfrm>
          <a:custGeom>
            <a:avLst/>
            <a:gdLst/>
            <a:ahLst/>
            <a:cxnLst/>
            <a:rect l="0" t="0" r="0" b="0"/>
            <a:pathLst>
              <a:path w="2027634" h="6985000">
                <a:moveTo>
                  <a:pt x="0" y="6036271"/>
                </a:moveTo>
                <a:cubicBezTo>
                  <a:pt x="0" y="5750918"/>
                  <a:pt x="96110" y="5519407"/>
                  <a:pt x="288330" y="5341740"/>
                </a:cubicBezTo>
                <a:cubicBezTo>
                  <a:pt x="480549" y="5163940"/>
                  <a:pt x="721320" y="5075040"/>
                  <a:pt x="1010642" y="5075040"/>
                </a:cubicBezTo>
                <a:cubicBezTo>
                  <a:pt x="1304197" y="5075040"/>
                  <a:pt x="1547085" y="5163940"/>
                  <a:pt x="1739305" y="5341740"/>
                </a:cubicBezTo>
                <a:cubicBezTo>
                  <a:pt x="1931524" y="5519407"/>
                  <a:pt x="2027634" y="5750918"/>
                  <a:pt x="2027634" y="6036271"/>
                </a:cubicBezTo>
                <a:cubicBezTo>
                  <a:pt x="2027634" y="6317391"/>
                  <a:pt x="1932517" y="6545792"/>
                  <a:pt x="1742281" y="6721475"/>
                </a:cubicBezTo>
                <a:cubicBezTo>
                  <a:pt x="1552178" y="6897159"/>
                  <a:pt x="1308298" y="6985000"/>
                  <a:pt x="1010642" y="6985000"/>
                </a:cubicBezTo>
                <a:cubicBezTo>
                  <a:pt x="717219" y="6985000"/>
                  <a:pt x="475390" y="6897159"/>
                  <a:pt x="285155" y="6721475"/>
                </a:cubicBezTo>
                <a:cubicBezTo>
                  <a:pt x="95051" y="6545792"/>
                  <a:pt x="0" y="6317391"/>
                  <a:pt x="0" y="6036271"/>
                </a:cubicBezTo>
                <a:close/>
                <a:moveTo>
                  <a:pt x="0" y="961232"/>
                </a:moveTo>
                <a:cubicBezTo>
                  <a:pt x="0" y="675879"/>
                  <a:pt x="96110" y="444368"/>
                  <a:pt x="288330" y="266700"/>
                </a:cubicBezTo>
                <a:cubicBezTo>
                  <a:pt x="480549" y="88900"/>
                  <a:pt x="721320" y="0"/>
                  <a:pt x="1010642" y="0"/>
                </a:cubicBezTo>
                <a:cubicBezTo>
                  <a:pt x="1304197" y="0"/>
                  <a:pt x="1547085" y="88900"/>
                  <a:pt x="1739305" y="266700"/>
                </a:cubicBezTo>
                <a:cubicBezTo>
                  <a:pt x="1931524" y="444368"/>
                  <a:pt x="2027634" y="675879"/>
                  <a:pt x="2027634" y="961232"/>
                </a:cubicBezTo>
                <a:cubicBezTo>
                  <a:pt x="2027634" y="1242351"/>
                  <a:pt x="1932517" y="1470753"/>
                  <a:pt x="1742281" y="1646436"/>
                </a:cubicBezTo>
                <a:cubicBezTo>
                  <a:pt x="1552178" y="1822120"/>
                  <a:pt x="1308298" y="1909961"/>
                  <a:pt x="1010642" y="1909961"/>
                </a:cubicBezTo>
                <a:cubicBezTo>
                  <a:pt x="717219" y="1909961"/>
                  <a:pt x="475390" y="1822120"/>
                  <a:pt x="285155" y="1646436"/>
                </a:cubicBezTo>
                <a:cubicBezTo>
                  <a:pt x="95051" y="1470753"/>
                  <a:pt x="0" y="1242351"/>
                  <a:pt x="0" y="96123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2" name="Freeform 3212"/>
          <p:cNvSpPr/>
          <p:nvPr/>
        </p:nvSpPr>
        <p:spPr>
          <a:xfrm>
            <a:off x="2474957" y="2515400"/>
            <a:ext cx="53279" cy="72237"/>
          </a:xfrm>
          <a:custGeom>
            <a:avLst/>
            <a:gdLst/>
            <a:ahLst/>
            <a:cxnLst/>
            <a:rect l="0" t="0" r="0" b="0"/>
            <a:pathLst>
              <a:path w="6659959" h="9029700">
                <a:moveTo>
                  <a:pt x="6659959" y="0"/>
                </a:moveTo>
                <a:lnTo>
                  <a:pt x="6659959" y="9029700"/>
                </a:lnTo>
                <a:lnTo>
                  <a:pt x="5463182" y="9029700"/>
                </a:lnTo>
                <a:lnTo>
                  <a:pt x="5463182" y="5286772"/>
                </a:lnTo>
                <a:cubicBezTo>
                  <a:pt x="5029133" y="5410862"/>
                  <a:pt x="4634309" y="5496653"/>
                  <a:pt x="4278709" y="5544146"/>
                </a:cubicBezTo>
                <a:cubicBezTo>
                  <a:pt x="3923241" y="5591639"/>
                  <a:pt x="3518098" y="5615385"/>
                  <a:pt x="3063279" y="5615385"/>
                </a:cubicBezTo>
                <a:cubicBezTo>
                  <a:pt x="2033918" y="5615385"/>
                  <a:pt x="1269073" y="5392275"/>
                  <a:pt x="768746" y="4946055"/>
                </a:cubicBezTo>
                <a:cubicBezTo>
                  <a:pt x="268552" y="4499703"/>
                  <a:pt x="12303" y="3815821"/>
                  <a:pt x="0" y="2894410"/>
                </a:cubicBezTo>
                <a:lnTo>
                  <a:pt x="0" y="0"/>
                </a:lnTo>
                <a:lnTo>
                  <a:pt x="1196776" y="0"/>
                </a:lnTo>
                <a:lnTo>
                  <a:pt x="1196776" y="2863057"/>
                </a:lnTo>
                <a:cubicBezTo>
                  <a:pt x="1200877" y="3491045"/>
                  <a:pt x="1344480" y="3943483"/>
                  <a:pt x="1627584" y="4220369"/>
                </a:cubicBezTo>
                <a:cubicBezTo>
                  <a:pt x="1910820" y="4497123"/>
                  <a:pt x="2389385" y="4635500"/>
                  <a:pt x="3063279" y="4635500"/>
                </a:cubicBezTo>
                <a:cubicBezTo>
                  <a:pt x="3848827" y="4635500"/>
                  <a:pt x="4648795" y="4523979"/>
                  <a:pt x="5463182" y="4300935"/>
                </a:cubicBezTo>
                <a:lnTo>
                  <a:pt x="5463182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3" name="Freeform 3213"/>
          <p:cNvSpPr/>
          <p:nvPr/>
        </p:nvSpPr>
        <p:spPr>
          <a:xfrm>
            <a:off x="2538994" y="2533993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4" name="Freeform 3214"/>
          <p:cNvSpPr/>
          <p:nvPr/>
        </p:nvSpPr>
        <p:spPr>
          <a:xfrm>
            <a:off x="2588260" y="2532977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5" name="Freeform 3215"/>
          <p:cNvSpPr/>
          <p:nvPr/>
        </p:nvSpPr>
        <p:spPr>
          <a:xfrm>
            <a:off x="1195904" y="2657818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6" name="Freeform 3216"/>
          <p:cNvSpPr/>
          <p:nvPr/>
        </p:nvSpPr>
        <p:spPr>
          <a:xfrm>
            <a:off x="1247778" y="2657818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7" name="Freeform 3217"/>
          <p:cNvSpPr/>
          <p:nvPr/>
        </p:nvSpPr>
        <p:spPr>
          <a:xfrm>
            <a:off x="1295784" y="2657818"/>
            <a:ext cx="75357" cy="53644"/>
          </a:xfrm>
          <a:custGeom>
            <a:avLst/>
            <a:gdLst/>
            <a:ahLst/>
            <a:cxnLst/>
            <a:rect l="0" t="0" r="0" b="0"/>
            <a:pathLst>
              <a:path w="9419629" h="6705600">
                <a:moveTo>
                  <a:pt x="6089650" y="3785593"/>
                </a:moveTo>
                <a:lnTo>
                  <a:pt x="5283398" y="3785593"/>
                </a:lnTo>
                <a:lnTo>
                  <a:pt x="5283398" y="6705600"/>
                </a:lnTo>
                <a:lnTo>
                  <a:pt x="4136231" y="6705600"/>
                </a:lnTo>
                <a:lnTo>
                  <a:pt x="4136231" y="3785593"/>
                </a:lnTo>
                <a:lnTo>
                  <a:pt x="3330178" y="3785593"/>
                </a:lnTo>
                <a:lnTo>
                  <a:pt x="1451173" y="6705600"/>
                </a:lnTo>
                <a:lnTo>
                  <a:pt x="0" y="6705600"/>
                </a:lnTo>
                <a:lnTo>
                  <a:pt x="2399903" y="3227388"/>
                </a:lnTo>
                <a:lnTo>
                  <a:pt x="229592" y="0"/>
                </a:lnTo>
                <a:lnTo>
                  <a:pt x="1618654" y="0"/>
                </a:lnTo>
                <a:lnTo>
                  <a:pt x="3348632" y="2768600"/>
                </a:lnTo>
                <a:lnTo>
                  <a:pt x="4136231" y="2768600"/>
                </a:lnTo>
                <a:lnTo>
                  <a:pt x="4136231" y="0"/>
                </a:lnTo>
                <a:lnTo>
                  <a:pt x="5283398" y="0"/>
                </a:lnTo>
                <a:lnTo>
                  <a:pt x="5283398" y="2768600"/>
                </a:lnTo>
                <a:lnTo>
                  <a:pt x="6064845" y="2768600"/>
                </a:lnTo>
                <a:lnTo>
                  <a:pt x="7807325" y="0"/>
                </a:lnTo>
                <a:lnTo>
                  <a:pt x="9196387" y="0"/>
                </a:lnTo>
                <a:lnTo>
                  <a:pt x="7019726" y="3233738"/>
                </a:lnTo>
                <a:lnTo>
                  <a:pt x="9419629" y="6705600"/>
                </a:lnTo>
                <a:lnTo>
                  <a:pt x="7968654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8" name="Freeform 3218"/>
          <p:cNvSpPr/>
          <p:nvPr/>
        </p:nvSpPr>
        <p:spPr>
          <a:xfrm>
            <a:off x="1380206" y="2657818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19" name="Freeform 3219"/>
          <p:cNvSpPr/>
          <p:nvPr/>
        </p:nvSpPr>
        <p:spPr>
          <a:xfrm>
            <a:off x="1435503" y="2656802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0" name="Freeform 3220"/>
          <p:cNvSpPr/>
          <p:nvPr/>
        </p:nvSpPr>
        <p:spPr>
          <a:xfrm>
            <a:off x="1515088" y="2657818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1" name="Freeform 3221"/>
          <p:cNvSpPr/>
          <p:nvPr/>
        </p:nvSpPr>
        <p:spPr>
          <a:xfrm>
            <a:off x="1569841" y="2657818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2" name="Freeform 3222"/>
          <p:cNvSpPr/>
          <p:nvPr/>
        </p:nvSpPr>
        <p:spPr>
          <a:xfrm>
            <a:off x="1641951" y="2656802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3" name="Freeform 3223"/>
          <p:cNvSpPr/>
          <p:nvPr/>
        </p:nvSpPr>
        <p:spPr>
          <a:xfrm>
            <a:off x="1692561" y="2657818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4" name="Freeform 3224"/>
          <p:cNvSpPr/>
          <p:nvPr/>
        </p:nvSpPr>
        <p:spPr>
          <a:xfrm>
            <a:off x="1747133" y="2657818"/>
            <a:ext cx="42862" cy="53644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5" name="Freeform 3225"/>
          <p:cNvSpPr/>
          <p:nvPr/>
        </p:nvSpPr>
        <p:spPr>
          <a:xfrm>
            <a:off x="1821790" y="2657818"/>
            <a:ext cx="55810" cy="69392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6" name="Freeform 3226"/>
          <p:cNvSpPr/>
          <p:nvPr/>
        </p:nvSpPr>
        <p:spPr>
          <a:xfrm>
            <a:off x="1885385" y="2656802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7" name="Freeform 3227"/>
          <p:cNvSpPr/>
          <p:nvPr/>
        </p:nvSpPr>
        <p:spPr>
          <a:xfrm>
            <a:off x="1936701" y="2657818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8" name="Freeform 3228"/>
          <p:cNvSpPr/>
          <p:nvPr/>
        </p:nvSpPr>
        <p:spPr>
          <a:xfrm>
            <a:off x="1998650" y="2656802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29" name="Freeform 3229"/>
          <p:cNvSpPr/>
          <p:nvPr/>
        </p:nvSpPr>
        <p:spPr>
          <a:xfrm>
            <a:off x="2049685" y="2657818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0" name="Freeform 3230"/>
          <p:cNvSpPr/>
          <p:nvPr/>
        </p:nvSpPr>
        <p:spPr>
          <a:xfrm>
            <a:off x="2104257" y="2657818"/>
            <a:ext cx="42862" cy="53644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1" name="Freeform 3231"/>
          <p:cNvSpPr/>
          <p:nvPr/>
        </p:nvSpPr>
        <p:spPr>
          <a:xfrm>
            <a:off x="2184419" y="2657818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2" name="Freeform 3232"/>
          <p:cNvSpPr/>
          <p:nvPr/>
        </p:nvSpPr>
        <p:spPr>
          <a:xfrm>
            <a:off x="2264552" y="2634450"/>
            <a:ext cx="47972" cy="78028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3" name="Freeform 3233"/>
          <p:cNvSpPr/>
          <p:nvPr/>
        </p:nvSpPr>
        <p:spPr>
          <a:xfrm>
            <a:off x="2316915" y="2657818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4" name="Freeform 3234"/>
          <p:cNvSpPr/>
          <p:nvPr/>
        </p:nvSpPr>
        <p:spPr>
          <a:xfrm>
            <a:off x="2363419" y="2657818"/>
            <a:ext cx="55810" cy="69392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5" name="Freeform 3235"/>
          <p:cNvSpPr/>
          <p:nvPr/>
        </p:nvSpPr>
        <p:spPr>
          <a:xfrm>
            <a:off x="2423494" y="2657818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6" name="Freeform 3236"/>
          <p:cNvSpPr/>
          <p:nvPr/>
        </p:nvSpPr>
        <p:spPr>
          <a:xfrm>
            <a:off x="2477651" y="2657818"/>
            <a:ext cx="74414" cy="69596"/>
          </a:xfrm>
          <a:custGeom>
            <a:avLst/>
            <a:gdLst/>
            <a:ahLst/>
            <a:cxnLst/>
            <a:rect l="0" t="0" r="0" b="0"/>
            <a:pathLst>
              <a:path w="9301758" h="8699500">
                <a:moveTo>
                  <a:pt x="1153517" y="0"/>
                </a:moveTo>
                <a:lnTo>
                  <a:pt x="1153517" y="5769174"/>
                </a:lnTo>
                <a:lnTo>
                  <a:pt x="3609181" y="5769174"/>
                </a:lnTo>
                <a:lnTo>
                  <a:pt x="3609181" y="0"/>
                </a:lnTo>
                <a:lnTo>
                  <a:pt x="4756348" y="0"/>
                </a:lnTo>
                <a:lnTo>
                  <a:pt x="4756348" y="5769174"/>
                </a:lnTo>
                <a:lnTo>
                  <a:pt x="7205861" y="5769174"/>
                </a:lnTo>
                <a:lnTo>
                  <a:pt x="7205861" y="0"/>
                </a:lnTo>
                <a:lnTo>
                  <a:pt x="8359180" y="0"/>
                </a:lnTo>
                <a:lnTo>
                  <a:pt x="8359180" y="5769174"/>
                </a:lnTo>
                <a:lnTo>
                  <a:pt x="9301758" y="5769174"/>
                </a:lnTo>
                <a:lnTo>
                  <a:pt x="9190236" y="8699500"/>
                </a:lnTo>
                <a:lnTo>
                  <a:pt x="8160742" y="8699500"/>
                </a:lnTo>
                <a:lnTo>
                  <a:pt x="8160742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7" name="Freeform 3237"/>
          <p:cNvSpPr/>
          <p:nvPr/>
        </p:nvSpPr>
        <p:spPr>
          <a:xfrm>
            <a:off x="2559603" y="2656802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8" name="Freeform 3238"/>
          <p:cNvSpPr/>
          <p:nvPr/>
        </p:nvSpPr>
        <p:spPr>
          <a:xfrm>
            <a:off x="2616524" y="2657818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39" name="Freeform 3239"/>
          <p:cNvSpPr/>
          <p:nvPr/>
        </p:nvSpPr>
        <p:spPr>
          <a:xfrm>
            <a:off x="2687742" y="2638209"/>
            <a:ext cx="40233" cy="73761"/>
          </a:xfrm>
          <a:custGeom>
            <a:avLst/>
            <a:gdLst/>
            <a:ahLst/>
            <a:cxnLst/>
            <a:rect l="0" t="0" r="0" b="0"/>
            <a:pathLst>
              <a:path w="5029200" h="9220200">
                <a:moveTo>
                  <a:pt x="1748631" y="6609557"/>
                </a:moveTo>
                <a:cubicBezTo>
                  <a:pt x="1756966" y="6117696"/>
                  <a:pt x="1812793" y="5729156"/>
                  <a:pt x="1916113" y="5443935"/>
                </a:cubicBezTo>
                <a:cubicBezTo>
                  <a:pt x="2019432" y="5158714"/>
                  <a:pt x="2230305" y="4842471"/>
                  <a:pt x="2548731" y="4495205"/>
                </a:cubicBezTo>
                <a:lnTo>
                  <a:pt x="3360936" y="3658196"/>
                </a:lnTo>
                <a:cubicBezTo>
                  <a:pt x="3708202" y="3265554"/>
                  <a:pt x="3881834" y="2843940"/>
                  <a:pt x="3881834" y="2393355"/>
                </a:cubicBezTo>
                <a:cubicBezTo>
                  <a:pt x="3881834" y="1959438"/>
                  <a:pt x="3768130" y="1619515"/>
                  <a:pt x="3540720" y="1373585"/>
                </a:cubicBezTo>
                <a:cubicBezTo>
                  <a:pt x="3313443" y="1127655"/>
                  <a:pt x="2982780" y="1004690"/>
                  <a:pt x="2548731" y="1004690"/>
                </a:cubicBezTo>
                <a:cubicBezTo>
                  <a:pt x="2126985" y="1004690"/>
                  <a:pt x="1787922" y="1116344"/>
                  <a:pt x="1531541" y="1339652"/>
                </a:cubicBezTo>
                <a:cubicBezTo>
                  <a:pt x="1275292" y="1562828"/>
                  <a:pt x="1147167" y="1862469"/>
                  <a:pt x="1147167" y="2238574"/>
                </a:cubicBezTo>
                <a:lnTo>
                  <a:pt x="0" y="2238574"/>
                </a:lnTo>
                <a:cubicBezTo>
                  <a:pt x="8202" y="1568913"/>
                  <a:pt x="246922" y="1028436"/>
                  <a:pt x="716161" y="617141"/>
                </a:cubicBezTo>
                <a:cubicBezTo>
                  <a:pt x="1185400" y="205714"/>
                  <a:pt x="1796256" y="0"/>
                  <a:pt x="2548731" y="0"/>
                </a:cubicBezTo>
                <a:cubicBezTo>
                  <a:pt x="3330046" y="0"/>
                  <a:pt x="3938786" y="209815"/>
                  <a:pt x="4374952" y="629444"/>
                </a:cubicBezTo>
                <a:cubicBezTo>
                  <a:pt x="4811117" y="1048941"/>
                  <a:pt x="5029200" y="1624476"/>
                  <a:pt x="5029200" y="2356049"/>
                </a:cubicBezTo>
                <a:cubicBezTo>
                  <a:pt x="5029200" y="3079420"/>
                  <a:pt x="4694304" y="3792472"/>
                  <a:pt x="4024511" y="4495205"/>
                </a:cubicBezTo>
                <a:lnTo>
                  <a:pt x="3348633" y="5164932"/>
                </a:lnTo>
                <a:cubicBezTo>
                  <a:pt x="3046876" y="5499762"/>
                  <a:pt x="2895997" y="5981304"/>
                  <a:pt x="2895997" y="6609557"/>
                </a:cubicBezTo>
                <a:close/>
                <a:moveTo>
                  <a:pt x="1699022" y="8575279"/>
                </a:moveTo>
                <a:cubicBezTo>
                  <a:pt x="1699022" y="8389144"/>
                  <a:pt x="1755841" y="8233040"/>
                  <a:pt x="1869480" y="8106966"/>
                </a:cubicBezTo>
                <a:cubicBezTo>
                  <a:pt x="1983250" y="7980892"/>
                  <a:pt x="2151724" y="7917855"/>
                  <a:pt x="2374900" y="7917855"/>
                </a:cubicBezTo>
                <a:cubicBezTo>
                  <a:pt x="2598208" y="7917855"/>
                  <a:pt x="2767740" y="7980892"/>
                  <a:pt x="2883495" y="8106966"/>
                </a:cubicBezTo>
                <a:cubicBezTo>
                  <a:pt x="2999251" y="8233040"/>
                  <a:pt x="3057128" y="8389144"/>
                  <a:pt x="3057128" y="8575279"/>
                </a:cubicBezTo>
                <a:cubicBezTo>
                  <a:pt x="3057128" y="8761281"/>
                  <a:pt x="2999251" y="8915268"/>
                  <a:pt x="2883495" y="9037241"/>
                </a:cubicBezTo>
                <a:cubicBezTo>
                  <a:pt x="2767740" y="9159213"/>
                  <a:pt x="2598208" y="9220200"/>
                  <a:pt x="2374900" y="9220200"/>
                </a:cubicBezTo>
                <a:cubicBezTo>
                  <a:pt x="2151724" y="9220200"/>
                  <a:pt x="1983250" y="9159213"/>
                  <a:pt x="1869480" y="9037241"/>
                </a:cubicBezTo>
                <a:cubicBezTo>
                  <a:pt x="1755841" y="8915268"/>
                  <a:pt x="1699022" y="8761281"/>
                  <a:pt x="1699022" y="85752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40" name="Rectangle 3240"/>
          <p:cNvSpPr/>
          <p:nvPr/>
        </p:nvSpPr>
        <p:spPr>
          <a:xfrm>
            <a:off x="1181919" y="2925404"/>
            <a:ext cx="1582013" cy="369569"/>
          </a:xfrm>
          <a:prstGeom prst="rect">
            <a:avLst/>
          </a:prstGeom>
        </p:spPr>
      </p:sp>
      <p:sp>
        <p:nvSpPr>
          <p:cNvPr id="3241" name="Freeform 3241"/>
          <p:cNvSpPr/>
          <p:nvPr/>
        </p:nvSpPr>
        <p:spPr>
          <a:xfrm>
            <a:off x="1188369" y="2949687"/>
            <a:ext cx="58786" cy="7223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42" name="Freeform 3242"/>
          <p:cNvSpPr/>
          <p:nvPr/>
        </p:nvSpPr>
        <p:spPr>
          <a:xfrm>
            <a:off x="1257022" y="2967263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43" name="Freeform 3243"/>
          <p:cNvSpPr/>
          <p:nvPr/>
        </p:nvSpPr>
        <p:spPr>
          <a:xfrm>
            <a:off x="1309742" y="2968279"/>
            <a:ext cx="60772" cy="69799"/>
          </a:xfrm>
          <a:custGeom>
            <a:avLst/>
            <a:gdLst/>
            <a:ahLst/>
            <a:cxnLst/>
            <a:rect l="0" t="0" r="0" b="0"/>
            <a:pathLst>
              <a:path w="7596584" h="8724900">
                <a:moveTo>
                  <a:pt x="576857" y="5260777"/>
                </a:moveTo>
                <a:cubicBezTo>
                  <a:pt x="981934" y="4831094"/>
                  <a:pt x="1256837" y="4405578"/>
                  <a:pt x="1401564" y="3984229"/>
                </a:cubicBezTo>
                <a:cubicBezTo>
                  <a:pt x="1546291" y="3562880"/>
                  <a:pt x="1626923" y="2965980"/>
                  <a:pt x="1643459" y="2193529"/>
                </a:cubicBezTo>
                <a:lnTo>
                  <a:pt x="1693068" y="0"/>
                </a:lnTo>
                <a:lnTo>
                  <a:pt x="6629201" y="0"/>
                </a:lnTo>
                <a:lnTo>
                  <a:pt x="6629201" y="5260777"/>
                </a:lnTo>
                <a:lnTo>
                  <a:pt x="7596584" y="5260777"/>
                </a:lnTo>
                <a:lnTo>
                  <a:pt x="7596584" y="8724900"/>
                </a:lnTo>
                <a:lnTo>
                  <a:pt x="5804296" y="8724900"/>
                </a:lnTo>
                <a:lnTo>
                  <a:pt x="5804296" y="6705600"/>
                </a:lnTo>
                <a:lnTo>
                  <a:pt x="1829395" y="6705600"/>
                </a:lnTo>
                <a:lnTo>
                  <a:pt x="1829395" y="8724900"/>
                </a:lnTo>
                <a:lnTo>
                  <a:pt x="0" y="8724900"/>
                </a:lnTo>
                <a:lnTo>
                  <a:pt x="0" y="5260777"/>
                </a:lnTo>
                <a:close/>
                <a:moveTo>
                  <a:pt x="2691407" y="5260777"/>
                </a:moveTo>
                <a:lnTo>
                  <a:pt x="4843264" y="5260777"/>
                </a:lnTo>
                <a:lnTo>
                  <a:pt x="4843264" y="1482130"/>
                </a:lnTo>
                <a:lnTo>
                  <a:pt x="3447851" y="1482130"/>
                </a:lnTo>
                <a:lnTo>
                  <a:pt x="3435548" y="2287390"/>
                </a:lnTo>
                <a:cubicBezTo>
                  <a:pt x="3398374" y="3518099"/>
                  <a:pt x="3150327" y="4509228"/>
                  <a:pt x="2691407" y="5260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44" name="Freeform 3244"/>
          <p:cNvSpPr/>
          <p:nvPr/>
        </p:nvSpPr>
        <p:spPr>
          <a:xfrm>
            <a:off x="1376910" y="2968279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45" name="Freeform 3245"/>
          <p:cNvSpPr/>
          <p:nvPr/>
        </p:nvSpPr>
        <p:spPr>
          <a:xfrm>
            <a:off x="1434517" y="2967263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46" name="Freeform 3246"/>
          <p:cNvSpPr/>
          <p:nvPr/>
        </p:nvSpPr>
        <p:spPr>
          <a:xfrm>
            <a:off x="1489384" y="2967263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47" name="Freeform 3247"/>
          <p:cNvSpPr/>
          <p:nvPr/>
        </p:nvSpPr>
        <p:spPr>
          <a:xfrm>
            <a:off x="1546886" y="2945724"/>
            <a:ext cx="67468" cy="96824"/>
          </a:xfrm>
          <a:custGeom>
            <a:avLst/>
            <a:gdLst/>
            <a:ahLst/>
            <a:cxnLst/>
            <a:rect l="0" t="0" r="0" b="0"/>
            <a:pathLst>
              <a:path w="8433594" h="12103100">
                <a:moveTo>
                  <a:pt x="0" y="6221810"/>
                </a:moveTo>
                <a:cubicBezTo>
                  <a:pt x="0" y="5142575"/>
                  <a:pt x="220134" y="4284531"/>
                  <a:pt x="660400" y="3647679"/>
                </a:cubicBezTo>
                <a:cubicBezTo>
                  <a:pt x="1100667" y="3010827"/>
                  <a:pt x="1707356" y="2692400"/>
                  <a:pt x="2480469" y="2692400"/>
                </a:cubicBezTo>
                <a:cubicBezTo>
                  <a:pt x="2782226" y="2692400"/>
                  <a:pt x="3057128" y="2752395"/>
                  <a:pt x="3305175" y="2872383"/>
                </a:cubicBezTo>
                <a:lnTo>
                  <a:pt x="3305175" y="0"/>
                </a:lnTo>
                <a:lnTo>
                  <a:pt x="5097463" y="0"/>
                </a:lnTo>
                <a:lnTo>
                  <a:pt x="5097463" y="2878535"/>
                </a:lnTo>
                <a:cubicBezTo>
                  <a:pt x="5353712" y="2754446"/>
                  <a:pt x="5636882" y="2692400"/>
                  <a:pt x="5946974" y="2692400"/>
                </a:cubicBezTo>
                <a:cubicBezTo>
                  <a:pt x="6724187" y="2692400"/>
                  <a:pt x="7332927" y="3009768"/>
                  <a:pt x="7773194" y="3644504"/>
                </a:cubicBezTo>
                <a:cubicBezTo>
                  <a:pt x="8213461" y="4279239"/>
                  <a:pt x="8433594" y="5181733"/>
                  <a:pt x="8433594" y="6351985"/>
                </a:cubicBezTo>
                <a:cubicBezTo>
                  <a:pt x="8433594" y="7365207"/>
                  <a:pt x="8212402" y="8168548"/>
                  <a:pt x="7770019" y="8762008"/>
                </a:cubicBezTo>
                <a:cubicBezTo>
                  <a:pt x="7327768" y="9355336"/>
                  <a:pt x="6724187" y="9652000"/>
                  <a:pt x="5959277" y="9652000"/>
                </a:cubicBezTo>
                <a:cubicBezTo>
                  <a:pt x="5640983" y="9652000"/>
                  <a:pt x="5353712" y="9594122"/>
                  <a:pt x="5097463" y="9478368"/>
                </a:cubicBezTo>
                <a:lnTo>
                  <a:pt x="5097463" y="12103100"/>
                </a:lnTo>
                <a:lnTo>
                  <a:pt x="3305175" y="12103100"/>
                </a:lnTo>
                <a:lnTo>
                  <a:pt x="3305175" y="9484519"/>
                </a:lnTo>
                <a:cubicBezTo>
                  <a:pt x="3057128" y="9596172"/>
                  <a:pt x="2778125" y="9652000"/>
                  <a:pt x="2468166" y="9652000"/>
                </a:cubicBezTo>
                <a:cubicBezTo>
                  <a:pt x="1744663" y="9652000"/>
                  <a:pt x="1163770" y="9381133"/>
                  <a:pt x="725488" y="8839399"/>
                </a:cubicBezTo>
                <a:cubicBezTo>
                  <a:pt x="287338" y="8297665"/>
                  <a:pt x="47559" y="7555376"/>
                  <a:pt x="6152" y="6612533"/>
                </a:cubicBezTo>
                <a:close/>
                <a:moveTo>
                  <a:pt x="6635353" y="6221810"/>
                </a:moveTo>
                <a:cubicBezTo>
                  <a:pt x="6635353" y="5551885"/>
                  <a:pt x="6534018" y="5038064"/>
                  <a:pt x="6331347" y="4680347"/>
                </a:cubicBezTo>
                <a:cubicBezTo>
                  <a:pt x="6128808" y="4322498"/>
                  <a:pt x="5843588" y="4143574"/>
                  <a:pt x="5475685" y="4143574"/>
                </a:cubicBezTo>
                <a:cubicBezTo>
                  <a:pt x="5359929" y="4143574"/>
                  <a:pt x="5233856" y="4158060"/>
                  <a:pt x="5097463" y="4187032"/>
                </a:cubicBezTo>
                <a:lnTo>
                  <a:pt x="5097463" y="8176022"/>
                </a:lnTo>
                <a:cubicBezTo>
                  <a:pt x="5213218" y="8200893"/>
                  <a:pt x="5343393" y="8213329"/>
                  <a:pt x="5487988" y="8213329"/>
                </a:cubicBezTo>
                <a:cubicBezTo>
                  <a:pt x="6190853" y="8213329"/>
                  <a:pt x="6571192" y="7679796"/>
                  <a:pt x="6629003" y="6612732"/>
                </a:cubicBezTo>
                <a:close/>
                <a:moveTo>
                  <a:pt x="1792089" y="6352183"/>
                </a:moveTo>
                <a:cubicBezTo>
                  <a:pt x="1792089" y="7588846"/>
                  <a:pt x="2170377" y="8207177"/>
                  <a:pt x="2926953" y="8207177"/>
                </a:cubicBezTo>
                <a:cubicBezTo>
                  <a:pt x="3084116" y="8207177"/>
                  <a:pt x="3210190" y="8196858"/>
                  <a:pt x="3305175" y="8176221"/>
                </a:cubicBezTo>
                <a:lnTo>
                  <a:pt x="3305175" y="4187032"/>
                </a:lnTo>
                <a:cubicBezTo>
                  <a:pt x="3168782" y="4158060"/>
                  <a:pt x="3046876" y="4143574"/>
                  <a:pt x="2939455" y="4143574"/>
                </a:cubicBezTo>
                <a:cubicBezTo>
                  <a:pt x="2571419" y="4143574"/>
                  <a:pt x="2288183" y="4318331"/>
                  <a:pt x="2089746" y="4667846"/>
                </a:cubicBezTo>
                <a:cubicBezTo>
                  <a:pt x="1891308" y="5017361"/>
                  <a:pt x="1792089" y="5578806"/>
                  <a:pt x="1792089" y="635218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48" name="Freeform 3248"/>
          <p:cNvSpPr/>
          <p:nvPr/>
        </p:nvSpPr>
        <p:spPr>
          <a:xfrm>
            <a:off x="1621253" y="2967263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49" name="Freeform 3249"/>
          <p:cNvSpPr/>
          <p:nvPr/>
        </p:nvSpPr>
        <p:spPr>
          <a:xfrm>
            <a:off x="1675820" y="2967263"/>
            <a:ext cx="47029" cy="5567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0" name="Freeform 3250"/>
          <p:cNvSpPr/>
          <p:nvPr/>
        </p:nvSpPr>
        <p:spPr>
          <a:xfrm>
            <a:off x="1728754" y="2967263"/>
            <a:ext cx="47029" cy="5567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1" name="Freeform 3251"/>
          <p:cNvSpPr/>
          <p:nvPr/>
        </p:nvSpPr>
        <p:spPr>
          <a:xfrm>
            <a:off x="1783919" y="2968279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2" name="Freeform 3252"/>
          <p:cNvSpPr/>
          <p:nvPr/>
        </p:nvSpPr>
        <p:spPr>
          <a:xfrm>
            <a:off x="1839294" y="2967263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3" name="Freeform 3253"/>
          <p:cNvSpPr/>
          <p:nvPr/>
        </p:nvSpPr>
        <p:spPr>
          <a:xfrm>
            <a:off x="1898931" y="2968279"/>
            <a:ext cx="46532" cy="53644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4" name="Freeform 3254"/>
          <p:cNvSpPr/>
          <p:nvPr/>
        </p:nvSpPr>
        <p:spPr>
          <a:xfrm>
            <a:off x="1954404" y="2967263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5" name="Freeform 3255"/>
          <p:cNvSpPr/>
          <p:nvPr/>
        </p:nvSpPr>
        <p:spPr>
          <a:xfrm>
            <a:off x="2006581" y="2968279"/>
            <a:ext cx="51096" cy="53644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6" name="Freeform 3256"/>
          <p:cNvSpPr/>
          <p:nvPr/>
        </p:nvSpPr>
        <p:spPr>
          <a:xfrm>
            <a:off x="2069647" y="2968279"/>
            <a:ext cx="47723" cy="53644"/>
          </a:xfrm>
          <a:custGeom>
            <a:avLst/>
            <a:gdLst/>
            <a:ahLst/>
            <a:cxnLst/>
            <a:rect l="0" t="0" r="0" b="0"/>
            <a:pathLst>
              <a:path w="5965428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7" name="Freeform 3257"/>
          <p:cNvSpPr/>
          <p:nvPr/>
        </p:nvSpPr>
        <p:spPr>
          <a:xfrm>
            <a:off x="2125397" y="2968279"/>
            <a:ext cx="46532" cy="53644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8" name="Freeform 3258"/>
          <p:cNvSpPr/>
          <p:nvPr/>
        </p:nvSpPr>
        <p:spPr>
          <a:xfrm>
            <a:off x="2183947" y="2968279"/>
            <a:ext cx="70543" cy="53644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59" name="Freeform 3259"/>
          <p:cNvSpPr/>
          <p:nvPr/>
        </p:nvSpPr>
        <p:spPr>
          <a:xfrm>
            <a:off x="2265092" y="2967263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0" name="Freeform 3260"/>
          <p:cNvSpPr/>
          <p:nvPr/>
        </p:nvSpPr>
        <p:spPr>
          <a:xfrm>
            <a:off x="2347190" y="2968279"/>
            <a:ext cx="46532" cy="53644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1" name="Freeform 3261"/>
          <p:cNvSpPr/>
          <p:nvPr/>
        </p:nvSpPr>
        <p:spPr>
          <a:xfrm>
            <a:off x="2402663" y="2967263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2" name="Freeform 3262"/>
          <p:cNvSpPr/>
          <p:nvPr/>
        </p:nvSpPr>
        <p:spPr>
          <a:xfrm>
            <a:off x="2460197" y="2968279"/>
            <a:ext cx="47823" cy="53644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3" name="Freeform 3263"/>
          <p:cNvSpPr/>
          <p:nvPr/>
        </p:nvSpPr>
        <p:spPr>
          <a:xfrm>
            <a:off x="2517601" y="2968279"/>
            <a:ext cx="70543" cy="53644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4" name="Freeform 3264"/>
          <p:cNvSpPr/>
          <p:nvPr/>
        </p:nvSpPr>
        <p:spPr>
          <a:xfrm>
            <a:off x="2601624" y="2968279"/>
            <a:ext cx="50898" cy="53644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5" name="Freeform 3265"/>
          <p:cNvSpPr/>
          <p:nvPr/>
        </p:nvSpPr>
        <p:spPr>
          <a:xfrm>
            <a:off x="2657883" y="2968279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6" name="Freeform 3266"/>
          <p:cNvSpPr/>
          <p:nvPr/>
        </p:nvSpPr>
        <p:spPr>
          <a:xfrm>
            <a:off x="2716185" y="2966552"/>
            <a:ext cx="16221" cy="55880"/>
          </a:xfrm>
          <a:custGeom>
            <a:avLst/>
            <a:gdLst/>
            <a:ahLst/>
            <a:cxnLst/>
            <a:rect l="0" t="0" r="0" b="0"/>
            <a:pathLst>
              <a:path w="2027634" h="6985000">
                <a:moveTo>
                  <a:pt x="0" y="6036271"/>
                </a:moveTo>
                <a:cubicBezTo>
                  <a:pt x="0" y="5750918"/>
                  <a:pt x="96110" y="5519407"/>
                  <a:pt x="288330" y="5341740"/>
                </a:cubicBezTo>
                <a:cubicBezTo>
                  <a:pt x="480549" y="5163940"/>
                  <a:pt x="721320" y="5075040"/>
                  <a:pt x="1010642" y="5075040"/>
                </a:cubicBezTo>
                <a:cubicBezTo>
                  <a:pt x="1304197" y="5075040"/>
                  <a:pt x="1547085" y="5163940"/>
                  <a:pt x="1739305" y="5341740"/>
                </a:cubicBezTo>
                <a:cubicBezTo>
                  <a:pt x="1931524" y="5519407"/>
                  <a:pt x="2027634" y="5750918"/>
                  <a:pt x="2027634" y="6036271"/>
                </a:cubicBezTo>
                <a:cubicBezTo>
                  <a:pt x="2027634" y="6317391"/>
                  <a:pt x="1932517" y="6545792"/>
                  <a:pt x="1742281" y="6721475"/>
                </a:cubicBezTo>
                <a:cubicBezTo>
                  <a:pt x="1552178" y="6897159"/>
                  <a:pt x="1308298" y="6985000"/>
                  <a:pt x="1010642" y="6985000"/>
                </a:cubicBezTo>
                <a:cubicBezTo>
                  <a:pt x="717219" y="6985000"/>
                  <a:pt x="475390" y="6897159"/>
                  <a:pt x="285155" y="6721475"/>
                </a:cubicBezTo>
                <a:cubicBezTo>
                  <a:pt x="95051" y="6545792"/>
                  <a:pt x="0" y="6317391"/>
                  <a:pt x="0" y="6036271"/>
                </a:cubicBezTo>
                <a:close/>
                <a:moveTo>
                  <a:pt x="0" y="961232"/>
                </a:moveTo>
                <a:cubicBezTo>
                  <a:pt x="0" y="675879"/>
                  <a:pt x="96110" y="444368"/>
                  <a:pt x="288330" y="266700"/>
                </a:cubicBezTo>
                <a:cubicBezTo>
                  <a:pt x="480549" y="88900"/>
                  <a:pt x="721320" y="0"/>
                  <a:pt x="1010642" y="0"/>
                </a:cubicBezTo>
                <a:cubicBezTo>
                  <a:pt x="1304197" y="0"/>
                  <a:pt x="1547085" y="88900"/>
                  <a:pt x="1739305" y="266700"/>
                </a:cubicBezTo>
                <a:cubicBezTo>
                  <a:pt x="1931524" y="444368"/>
                  <a:pt x="2027634" y="675879"/>
                  <a:pt x="2027634" y="961232"/>
                </a:cubicBezTo>
                <a:cubicBezTo>
                  <a:pt x="2027634" y="1242351"/>
                  <a:pt x="1932517" y="1470753"/>
                  <a:pt x="1742281" y="1646436"/>
                </a:cubicBezTo>
                <a:cubicBezTo>
                  <a:pt x="1552178" y="1822120"/>
                  <a:pt x="1308298" y="1909961"/>
                  <a:pt x="1010642" y="1909961"/>
                </a:cubicBezTo>
                <a:cubicBezTo>
                  <a:pt x="717219" y="1909961"/>
                  <a:pt x="475390" y="1822120"/>
                  <a:pt x="285155" y="1646436"/>
                </a:cubicBezTo>
                <a:cubicBezTo>
                  <a:pt x="95051" y="1470753"/>
                  <a:pt x="0" y="1242351"/>
                  <a:pt x="0" y="96123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7" name="Freeform 3267"/>
          <p:cNvSpPr/>
          <p:nvPr/>
        </p:nvSpPr>
        <p:spPr>
          <a:xfrm>
            <a:off x="1203239" y="3073512"/>
            <a:ext cx="56107" cy="72237"/>
          </a:xfrm>
          <a:custGeom>
            <a:avLst/>
            <a:gdLst/>
            <a:ahLst/>
            <a:cxnLst/>
            <a:rect l="0" t="0" r="0" b="0"/>
            <a:pathLst>
              <a:path w="7013377" h="9029700">
                <a:moveTo>
                  <a:pt x="2288183" y="4967288"/>
                </a:moveTo>
                <a:lnTo>
                  <a:pt x="1190625" y="49672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975100"/>
                </a:lnTo>
                <a:lnTo>
                  <a:pt x="2120702" y="3975100"/>
                </a:lnTo>
                <a:lnTo>
                  <a:pt x="5277049" y="0"/>
                </a:lnTo>
                <a:lnTo>
                  <a:pt x="6759178" y="0"/>
                </a:lnTo>
                <a:lnTo>
                  <a:pt x="3311327" y="4371975"/>
                </a:lnTo>
                <a:lnTo>
                  <a:pt x="7013377" y="9029700"/>
                </a:lnTo>
                <a:lnTo>
                  <a:pt x="5556250" y="90297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8" name="Freeform 3268"/>
          <p:cNvSpPr/>
          <p:nvPr/>
        </p:nvSpPr>
        <p:spPr>
          <a:xfrm>
            <a:off x="1265042" y="3091088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69" name="Freeform 3269"/>
          <p:cNvSpPr/>
          <p:nvPr/>
        </p:nvSpPr>
        <p:spPr>
          <a:xfrm>
            <a:off x="1322543" y="3092104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0" name="Freeform 3270"/>
          <p:cNvSpPr/>
          <p:nvPr/>
        </p:nvSpPr>
        <p:spPr>
          <a:xfrm>
            <a:off x="1377407" y="3092104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1" name="Freeform 3271"/>
          <p:cNvSpPr/>
          <p:nvPr/>
        </p:nvSpPr>
        <p:spPr>
          <a:xfrm>
            <a:off x="1436079" y="3092104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2" name="Freeform 3272"/>
          <p:cNvSpPr/>
          <p:nvPr/>
        </p:nvSpPr>
        <p:spPr>
          <a:xfrm>
            <a:off x="1533782" y="3092003"/>
            <a:ext cx="42365" cy="53746"/>
          </a:xfrm>
          <a:custGeom>
            <a:avLst/>
            <a:gdLst/>
            <a:ahLst/>
            <a:cxnLst/>
            <a:rect l="0" t="0" r="0" b="0"/>
            <a:pathLst>
              <a:path w="5295701" h="6718300">
                <a:moveTo>
                  <a:pt x="5295701" y="6718300"/>
                </a:moveTo>
                <a:lnTo>
                  <a:pt x="4142383" y="6718300"/>
                </a:lnTo>
                <a:lnTo>
                  <a:pt x="4142383" y="4287441"/>
                </a:lnTo>
                <a:cubicBezTo>
                  <a:pt x="3637955" y="4419733"/>
                  <a:pt x="3121157" y="4485879"/>
                  <a:pt x="2591990" y="4485879"/>
                </a:cubicBezTo>
                <a:cubicBezTo>
                  <a:pt x="1752865" y="4485879"/>
                  <a:pt x="1113102" y="4270772"/>
                  <a:pt x="672703" y="3840560"/>
                </a:cubicBezTo>
                <a:cubicBezTo>
                  <a:pt x="232436" y="3410347"/>
                  <a:pt x="8202" y="2798168"/>
                  <a:pt x="0" y="2004021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2041525"/>
                </a:lnTo>
                <a:cubicBezTo>
                  <a:pt x="1167805" y="3042709"/>
                  <a:pt x="1649412" y="3543300"/>
                  <a:pt x="2591990" y="3543300"/>
                </a:cubicBezTo>
                <a:cubicBezTo>
                  <a:pt x="3121157" y="3543300"/>
                  <a:pt x="3637955" y="3477221"/>
                  <a:pt x="4142383" y="3345061"/>
                </a:cubicBezTo>
                <a:lnTo>
                  <a:pt x="4142383" y="12700"/>
                </a:lnTo>
                <a:lnTo>
                  <a:pt x="5295701" y="127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3" name="Freeform 3273"/>
          <p:cNvSpPr/>
          <p:nvPr/>
        </p:nvSpPr>
        <p:spPr>
          <a:xfrm>
            <a:off x="1588454" y="3091088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4" name="Freeform 3274"/>
          <p:cNvSpPr/>
          <p:nvPr/>
        </p:nvSpPr>
        <p:spPr>
          <a:xfrm>
            <a:off x="1639770" y="3092104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5" name="Freeform 3275"/>
          <p:cNvSpPr/>
          <p:nvPr/>
        </p:nvSpPr>
        <p:spPr>
          <a:xfrm>
            <a:off x="1700827" y="3091088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6" name="Freeform 3276"/>
          <p:cNvSpPr/>
          <p:nvPr/>
        </p:nvSpPr>
        <p:spPr>
          <a:xfrm>
            <a:off x="1762012" y="3092104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7" name="Freeform 3277"/>
          <p:cNvSpPr/>
          <p:nvPr/>
        </p:nvSpPr>
        <p:spPr>
          <a:xfrm>
            <a:off x="1816851" y="3091088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8" name="Freeform 3278"/>
          <p:cNvSpPr/>
          <p:nvPr/>
        </p:nvSpPr>
        <p:spPr>
          <a:xfrm>
            <a:off x="1873723" y="3092104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79" name="Freeform 3279"/>
          <p:cNvSpPr/>
          <p:nvPr/>
        </p:nvSpPr>
        <p:spPr>
          <a:xfrm>
            <a:off x="1924347" y="3091088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0" name="Freeform 3280"/>
          <p:cNvSpPr/>
          <p:nvPr/>
        </p:nvSpPr>
        <p:spPr>
          <a:xfrm>
            <a:off x="1985532" y="3092104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1" name="Freeform 3281"/>
          <p:cNvSpPr/>
          <p:nvPr/>
        </p:nvSpPr>
        <p:spPr>
          <a:xfrm>
            <a:off x="2085864" y="3092104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2" name="Freeform 3282"/>
          <p:cNvSpPr/>
          <p:nvPr/>
        </p:nvSpPr>
        <p:spPr>
          <a:xfrm>
            <a:off x="2137739" y="3092104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3" name="Freeform 3283"/>
          <p:cNvSpPr/>
          <p:nvPr/>
        </p:nvSpPr>
        <p:spPr>
          <a:xfrm>
            <a:off x="2185745" y="3092104"/>
            <a:ext cx="75357" cy="53644"/>
          </a:xfrm>
          <a:custGeom>
            <a:avLst/>
            <a:gdLst/>
            <a:ahLst/>
            <a:cxnLst/>
            <a:rect l="0" t="0" r="0" b="0"/>
            <a:pathLst>
              <a:path w="9419629" h="6705600">
                <a:moveTo>
                  <a:pt x="6089650" y="3785593"/>
                </a:moveTo>
                <a:lnTo>
                  <a:pt x="5283398" y="3785593"/>
                </a:lnTo>
                <a:lnTo>
                  <a:pt x="5283398" y="6705600"/>
                </a:lnTo>
                <a:lnTo>
                  <a:pt x="4136231" y="6705600"/>
                </a:lnTo>
                <a:lnTo>
                  <a:pt x="4136231" y="3785593"/>
                </a:lnTo>
                <a:lnTo>
                  <a:pt x="3330178" y="3785593"/>
                </a:lnTo>
                <a:lnTo>
                  <a:pt x="1451173" y="6705600"/>
                </a:lnTo>
                <a:lnTo>
                  <a:pt x="0" y="6705600"/>
                </a:lnTo>
                <a:lnTo>
                  <a:pt x="2399903" y="3227388"/>
                </a:lnTo>
                <a:lnTo>
                  <a:pt x="229592" y="0"/>
                </a:lnTo>
                <a:lnTo>
                  <a:pt x="1618654" y="0"/>
                </a:lnTo>
                <a:lnTo>
                  <a:pt x="3348632" y="2768600"/>
                </a:lnTo>
                <a:lnTo>
                  <a:pt x="4136231" y="2768600"/>
                </a:lnTo>
                <a:lnTo>
                  <a:pt x="4136231" y="0"/>
                </a:lnTo>
                <a:lnTo>
                  <a:pt x="5283398" y="0"/>
                </a:lnTo>
                <a:lnTo>
                  <a:pt x="5283398" y="2768600"/>
                </a:lnTo>
                <a:lnTo>
                  <a:pt x="6064845" y="2768600"/>
                </a:lnTo>
                <a:lnTo>
                  <a:pt x="7807325" y="0"/>
                </a:lnTo>
                <a:lnTo>
                  <a:pt x="9196387" y="0"/>
                </a:lnTo>
                <a:lnTo>
                  <a:pt x="7019726" y="3233738"/>
                </a:lnTo>
                <a:lnTo>
                  <a:pt x="9419629" y="6705600"/>
                </a:lnTo>
                <a:lnTo>
                  <a:pt x="7968654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4" name="Freeform 3284"/>
          <p:cNvSpPr/>
          <p:nvPr/>
        </p:nvSpPr>
        <p:spPr>
          <a:xfrm>
            <a:off x="2270166" y="3092104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5" name="Freeform 3285"/>
          <p:cNvSpPr/>
          <p:nvPr/>
        </p:nvSpPr>
        <p:spPr>
          <a:xfrm>
            <a:off x="2325464" y="3091088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6" name="Freeform 3286"/>
          <p:cNvSpPr/>
          <p:nvPr/>
        </p:nvSpPr>
        <p:spPr>
          <a:xfrm>
            <a:off x="2408768" y="3068736"/>
            <a:ext cx="47972" cy="78028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7" name="Freeform 3287"/>
          <p:cNvSpPr/>
          <p:nvPr/>
        </p:nvSpPr>
        <p:spPr>
          <a:xfrm>
            <a:off x="2467828" y="3092104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8" name="Freeform 3288"/>
          <p:cNvSpPr/>
          <p:nvPr/>
        </p:nvSpPr>
        <p:spPr>
          <a:xfrm>
            <a:off x="2540865" y="3092104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89" name="Freeform 3289"/>
          <p:cNvSpPr/>
          <p:nvPr/>
        </p:nvSpPr>
        <p:spPr>
          <a:xfrm>
            <a:off x="2595437" y="3092104"/>
            <a:ext cx="42862" cy="53644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0" name="Freeform 3290"/>
          <p:cNvSpPr/>
          <p:nvPr/>
        </p:nvSpPr>
        <p:spPr>
          <a:xfrm>
            <a:off x="2675600" y="3092104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1" name="Freeform 3291"/>
          <p:cNvSpPr/>
          <p:nvPr/>
        </p:nvSpPr>
        <p:spPr>
          <a:xfrm>
            <a:off x="1601138" y="3214913"/>
            <a:ext cx="44251" cy="55676"/>
          </a:xfrm>
          <a:custGeom>
            <a:avLst/>
            <a:gdLst/>
            <a:ahLst/>
            <a:cxnLst/>
            <a:rect l="0" t="0" r="0" b="0"/>
            <a:pathLst>
              <a:path w="5531445" h="6959600">
                <a:moveTo>
                  <a:pt x="2604492" y="942579"/>
                </a:moveTo>
                <a:cubicBezTo>
                  <a:pt x="2195181" y="942579"/>
                  <a:pt x="1840640" y="1072886"/>
                  <a:pt x="1540867" y="1333500"/>
                </a:cubicBezTo>
                <a:cubicBezTo>
                  <a:pt x="1241226" y="1593983"/>
                  <a:pt x="1091406" y="1902090"/>
                  <a:pt x="1091406" y="2257822"/>
                </a:cubicBezTo>
                <a:lnTo>
                  <a:pt x="0" y="2257822"/>
                </a:lnTo>
                <a:cubicBezTo>
                  <a:pt x="0" y="1873250"/>
                  <a:pt x="121973" y="1505215"/>
                  <a:pt x="365918" y="1153716"/>
                </a:cubicBezTo>
                <a:cubicBezTo>
                  <a:pt x="609864" y="802217"/>
                  <a:pt x="934376" y="522090"/>
                  <a:pt x="1339453" y="313333"/>
                </a:cubicBezTo>
                <a:cubicBezTo>
                  <a:pt x="1744662" y="104445"/>
                  <a:pt x="2166342" y="0"/>
                  <a:pt x="2604492" y="0"/>
                </a:cubicBezTo>
                <a:cubicBezTo>
                  <a:pt x="3476823" y="0"/>
                  <a:pt x="4182732" y="315318"/>
                  <a:pt x="4722217" y="945952"/>
                </a:cubicBezTo>
                <a:cubicBezTo>
                  <a:pt x="5261702" y="1576586"/>
                  <a:pt x="5531445" y="2400499"/>
                  <a:pt x="5531445" y="3417690"/>
                </a:cubicBezTo>
                <a:lnTo>
                  <a:pt x="5531445" y="3609975"/>
                </a:lnTo>
                <a:cubicBezTo>
                  <a:pt x="5531445" y="4238625"/>
                  <a:pt x="5408414" y="4812441"/>
                  <a:pt x="5162351" y="5331421"/>
                </a:cubicBezTo>
                <a:cubicBezTo>
                  <a:pt x="4916421" y="5850401"/>
                  <a:pt x="4571272" y="6251509"/>
                  <a:pt x="4126904" y="6534746"/>
                </a:cubicBezTo>
                <a:cubicBezTo>
                  <a:pt x="3682537" y="6817982"/>
                  <a:pt x="3175066" y="6959600"/>
                  <a:pt x="2604492" y="6959600"/>
                </a:cubicBezTo>
                <a:cubicBezTo>
                  <a:pt x="1860351" y="6959600"/>
                  <a:pt x="1240234" y="6728024"/>
                  <a:pt x="744140" y="6264871"/>
                </a:cubicBezTo>
                <a:cubicBezTo>
                  <a:pt x="248047" y="5801718"/>
                  <a:pt x="0" y="5224860"/>
                  <a:pt x="0" y="4534297"/>
                </a:cubicBezTo>
                <a:lnTo>
                  <a:pt x="1091406" y="4534297"/>
                </a:lnTo>
                <a:cubicBezTo>
                  <a:pt x="1091406" y="4956175"/>
                  <a:pt x="1238184" y="5310849"/>
                  <a:pt x="1531739" y="5598319"/>
                </a:cubicBezTo>
                <a:cubicBezTo>
                  <a:pt x="1825294" y="5885657"/>
                  <a:pt x="2182878" y="6029325"/>
                  <a:pt x="2604492" y="6029325"/>
                </a:cubicBezTo>
                <a:cubicBezTo>
                  <a:pt x="3096485" y="6029325"/>
                  <a:pt x="3501628" y="5839090"/>
                  <a:pt x="3819922" y="5458619"/>
                </a:cubicBezTo>
                <a:cubicBezTo>
                  <a:pt x="4138215" y="5078016"/>
                  <a:pt x="4322167" y="4554803"/>
                  <a:pt x="4371776" y="3888979"/>
                </a:cubicBezTo>
                <a:lnTo>
                  <a:pt x="1854200" y="3888979"/>
                </a:lnTo>
                <a:lnTo>
                  <a:pt x="1854200" y="2946400"/>
                </a:lnTo>
                <a:lnTo>
                  <a:pt x="4359473" y="2946400"/>
                </a:lnTo>
                <a:cubicBezTo>
                  <a:pt x="4301529" y="2342621"/>
                  <a:pt x="4117512" y="1857706"/>
                  <a:pt x="3807420" y="1491655"/>
                </a:cubicBezTo>
                <a:cubicBezTo>
                  <a:pt x="3497461" y="1125604"/>
                  <a:pt x="3096485" y="942579"/>
                  <a:pt x="2604492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2" name="Freeform 3292"/>
          <p:cNvSpPr/>
          <p:nvPr/>
        </p:nvSpPr>
        <p:spPr>
          <a:xfrm>
            <a:off x="1648758" y="3215929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3" name="Freeform 3293"/>
          <p:cNvSpPr/>
          <p:nvPr/>
        </p:nvSpPr>
        <p:spPr>
          <a:xfrm>
            <a:off x="1698025" y="3214913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4" name="Freeform 3294"/>
          <p:cNvSpPr/>
          <p:nvPr/>
        </p:nvSpPr>
        <p:spPr>
          <a:xfrm>
            <a:off x="1759210" y="3215929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5" name="Freeform 3295"/>
          <p:cNvSpPr/>
          <p:nvPr/>
        </p:nvSpPr>
        <p:spPr>
          <a:xfrm>
            <a:off x="1856615" y="3192561"/>
            <a:ext cx="47972" cy="78028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6" name="Freeform 3296"/>
          <p:cNvSpPr/>
          <p:nvPr/>
        </p:nvSpPr>
        <p:spPr>
          <a:xfrm>
            <a:off x="1908978" y="3215929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7" name="Freeform 3297"/>
          <p:cNvSpPr/>
          <p:nvPr/>
        </p:nvSpPr>
        <p:spPr>
          <a:xfrm>
            <a:off x="1955482" y="3215929"/>
            <a:ext cx="55810" cy="69392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8" name="Freeform 3298"/>
          <p:cNvSpPr/>
          <p:nvPr/>
        </p:nvSpPr>
        <p:spPr>
          <a:xfrm>
            <a:off x="2015557" y="3215929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299" name="Freeform 3299"/>
          <p:cNvSpPr/>
          <p:nvPr/>
        </p:nvSpPr>
        <p:spPr>
          <a:xfrm>
            <a:off x="2069714" y="3215929"/>
            <a:ext cx="74414" cy="69596"/>
          </a:xfrm>
          <a:custGeom>
            <a:avLst/>
            <a:gdLst/>
            <a:ahLst/>
            <a:cxnLst/>
            <a:rect l="0" t="0" r="0" b="0"/>
            <a:pathLst>
              <a:path w="9301758" h="8699500">
                <a:moveTo>
                  <a:pt x="1153517" y="0"/>
                </a:moveTo>
                <a:lnTo>
                  <a:pt x="1153517" y="5769174"/>
                </a:lnTo>
                <a:lnTo>
                  <a:pt x="3609181" y="5769174"/>
                </a:lnTo>
                <a:lnTo>
                  <a:pt x="3609181" y="0"/>
                </a:lnTo>
                <a:lnTo>
                  <a:pt x="4756348" y="0"/>
                </a:lnTo>
                <a:lnTo>
                  <a:pt x="4756348" y="5769174"/>
                </a:lnTo>
                <a:lnTo>
                  <a:pt x="7205861" y="5769174"/>
                </a:lnTo>
                <a:lnTo>
                  <a:pt x="7205861" y="0"/>
                </a:lnTo>
                <a:lnTo>
                  <a:pt x="8359180" y="0"/>
                </a:lnTo>
                <a:lnTo>
                  <a:pt x="8359180" y="5769174"/>
                </a:lnTo>
                <a:lnTo>
                  <a:pt x="9301758" y="5769174"/>
                </a:lnTo>
                <a:lnTo>
                  <a:pt x="9190236" y="8699500"/>
                </a:lnTo>
                <a:lnTo>
                  <a:pt x="8160742" y="8699500"/>
                </a:lnTo>
                <a:lnTo>
                  <a:pt x="8160742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00" name="Freeform 3300"/>
          <p:cNvSpPr/>
          <p:nvPr/>
        </p:nvSpPr>
        <p:spPr>
          <a:xfrm>
            <a:off x="2151666" y="3214913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01" name="Freeform 3301"/>
          <p:cNvSpPr/>
          <p:nvPr/>
        </p:nvSpPr>
        <p:spPr>
          <a:xfrm>
            <a:off x="2208587" y="3215929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02" name="Freeform 3302"/>
          <p:cNvSpPr/>
          <p:nvPr/>
        </p:nvSpPr>
        <p:spPr>
          <a:xfrm>
            <a:off x="2279806" y="3196321"/>
            <a:ext cx="40233" cy="73761"/>
          </a:xfrm>
          <a:custGeom>
            <a:avLst/>
            <a:gdLst/>
            <a:ahLst/>
            <a:cxnLst/>
            <a:rect l="0" t="0" r="0" b="0"/>
            <a:pathLst>
              <a:path w="5029200" h="9220200">
                <a:moveTo>
                  <a:pt x="1748631" y="6609557"/>
                </a:moveTo>
                <a:cubicBezTo>
                  <a:pt x="1756966" y="6117696"/>
                  <a:pt x="1812793" y="5729156"/>
                  <a:pt x="1916113" y="5443935"/>
                </a:cubicBezTo>
                <a:cubicBezTo>
                  <a:pt x="2019432" y="5158714"/>
                  <a:pt x="2230305" y="4842471"/>
                  <a:pt x="2548731" y="4495205"/>
                </a:cubicBezTo>
                <a:lnTo>
                  <a:pt x="3360936" y="3658196"/>
                </a:lnTo>
                <a:cubicBezTo>
                  <a:pt x="3708202" y="3265554"/>
                  <a:pt x="3881834" y="2843940"/>
                  <a:pt x="3881834" y="2393355"/>
                </a:cubicBezTo>
                <a:cubicBezTo>
                  <a:pt x="3881834" y="1959438"/>
                  <a:pt x="3768130" y="1619515"/>
                  <a:pt x="3540720" y="1373585"/>
                </a:cubicBezTo>
                <a:cubicBezTo>
                  <a:pt x="3313443" y="1127655"/>
                  <a:pt x="2982780" y="1004690"/>
                  <a:pt x="2548731" y="1004690"/>
                </a:cubicBezTo>
                <a:cubicBezTo>
                  <a:pt x="2126985" y="1004690"/>
                  <a:pt x="1787922" y="1116344"/>
                  <a:pt x="1531541" y="1339652"/>
                </a:cubicBezTo>
                <a:cubicBezTo>
                  <a:pt x="1275292" y="1562828"/>
                  <a:pt x="1147167" y="1862469"/>
                  <a:pt x="1147167" y="2238574"/>
                </a:cubicBezTo>
                <a:lnTo>
                  <a:pt x="0" y="2238574"/>
                </a:lnTo>
                <a:cubicBezTo>
                  <a:pt x="8202" y="1568913"/>
                  <a:pt x="246922" y="1028436"/>
                  <a:pt x="716161" y="617141"/>
                </a:cubicBezTo>
                <a:cubicBezTo>
                  <a:pt x="1185400" y="205714"/>
                  <a:pt x="1796256" y="0"/>
                  <a:pt x="2548731" y="0"/>
                </a:cubicBezTo>
                <a:cubicBezTo>
                  <a:pt x="3330046" y="0"/>
                  <a:pt x="3938786" y="209815"/>
                  <a:pt x="4374952" y="629444"/>
                </a:cubicBezTo>
                <a:cubicBezTo>
                  <a:pt x="4811117" y="1048941"/>
                  <a:pt x="5029200" y="1624476"/>
                  <a:pt x="5029200" y="2356049"/>
                </a:cubicBezTo>
                <a:cubicBezTo>
                  <a:pt x="5029200" y="3079420"/>
                  <a:pt x="4694304" y="3792472"/>
                  <a:pt x="4024511" y="4495205"/>
                </a:cubicBezTo>
                <a:lnTo>
                  <a:pt x="3348633" y="5164932"/>
                </a:lnTo>
                <a:cubicBezTo>
                  <a:pt x="3046876" y="5499762"/>
                  <a:pt x="2895997" y="5981304"/>
                  <a:pt x="2895997" y="6609557"/>
                </a:cubicBezTo>
                <a:close/>
                <a:moveTo>
                  <a:pt x="1699022" y="8575279"/>
                </a:moveTo>
                <a:cubicBezTo>
                  <a:pt x="1699022" y="8389144"/>
                  <a:pt x="1755841" y="8233040"/>
                  <a:pt x="1869480" y="8106966"/>
                </a:cubicBezTo>
                <a:cubicBezTo>
                  <a:pt x="1983250" y="7980892"/>
                  <a:pt x="2151724" y="7917855"/>
                  <a:pt x="2374900" y="7917855"/>
                </a:cubicBezTo>
                <a:cubicBezTo>
                  <a:pt x="2598208" y="7917855"/>
                  <a:pt x="2767740" y="7980892"/>
                  <a:pt x="2883495" y="8106966"/>
                </a:cubicBezTo>
                <a:cubicBezTo>
                  <a:pt x="2999251" y="8233040"/>
                  <a:pt x="3057128" y="8389144"/>
                  <a:pt x="3057128" y="8575279"/>
                </a:cubicBezTo>
                <a:cubicBezTo>
                  <a:pt x="3057128" y="8761281"/>
                  <a:pt x="2999251" y="8915268"/>
                  <a:pt x="2883495" y="9037241"/>
                </a:cubicBezTo>
                <a:cubicBezTo>
                  <a:pt x="2767740" y="9159213"/>
                  <a:pt x="2598208" y="9220200"/>
                  <a:pt x="2374900" y="9220200"/>
                </a:cubicBezTo>
                <a:cubicBezTo>
                  <a:pt x="2151724" y="9220200"/>
                  <a:pt x="1983250" y="9159213"/>
                  <a:pt x="1869480" y="9037241"/>
                </a:cubicBezTo>
                <a:cubicBezTo>
                  <a:pt x="1755841" y="8915268"/>
                  <a:pt x="1699022" y="8761281"/>
                  <a:pt x="1699022" y="85752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03" name="Rectangle 3303"/>
          <p:cNvSpPr/>
          <p:nvPr/>
        </p:nvSpPr>
        <p:spPr>
          <a:xfrm>
            <a:off x="1216266" y="3481718"/>
            <a:ext cx="1512768" cy="245744"/>
          </a:xfrm>
          <a:prstGeom prst="rect">
            <a:avLst/>
          </a:prstGeom>
        </p:spPr>
      </p:sp>
      <p:sp>
        <p:nvSpPr>
          <p:cNvPr id="3304" name="Freeform 3304"/>
          <p:cNvSpPr/>
          <p:nvPr/>
        </p:nvSpPr>
        <p:spPr>
          <a:xfrm>
            <a:off x="1220533" y="3504984"/>
            <a:ext cx="61515" cy="74269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05" name="Freeform 3305"/>
          <p:cNvSpPr/>
          <p:nvPr/>
        </p:nvSpPr>
        <p:spPr>
          <a:xfrm>
            <a:off x="1290537" y="3500920"/>
            <a:ext cx="50601" cy="78333"/>
          </a:xfrm>
          <a:custGeom>
            <a:avLst/>
            <a:gdLst/>
            <a:ahLst/>
            <a:cxnLst/>
            <a:rect l="0" t="0" r="0" b="0"/>
            <a:pathLst>
              <a:path w="6325195" h="9791700">
                <a:moveTo>
                  <a:pt x="3497461" y="3327400"/>
                </a:moveTo>
                <a:cubicBezTo>
                  <a:pt x="4357357" y="3327400"/>
                  <a:pt x="5043620" y="3612489"/>
                  <a:pt x="5556250" y="4182666"/>
                </a:cubicBezTo>
                <a:cubicBezTo>
                  <a:pt x="6068880" y="4752843"/>
                  <a:pt x="6325195" y="5527609"/>
                  <a:pt x="6325195" y="6506965"/>
                </a:cubicBezTo>
                <a:lnTo>
                  <a:pt x="6325195" y="6593682"/>
                </a:lnTo>
                <a:cubicBezTo>
                  <a:pt x="6325195" y="7560469"/>
                  <a:pt x="6039908" y="8335169"/>
                  <a:pt x="5469334" y="8917782"/>
                </a:cubicBezTo>
                <a:cubicBezTo>
                  <a:pt x="4898893" y="9500394"/>
                  <a:pt x="4132064" y="9791700"/>
                  <a:pt x="3168848" y="9791700"/>
                </a:cubicBezTo>
                <a:cubicBezTo>
                  <a:pt x="2201399" y="9791700"/>
                  <a:pt x="1431396" y="9476516"/>
                  <a:pt x="858837" y="8846146"/>
                </a:cubicBezTo>
                <a:cubicBezTo>
                  <a:pt x="286279" y="8215644"/>
                  <a:pt x="0" y="7358791"/>
                  <a:pt x="0" y="6275586"/>
                </a:cubicBezTo>
                <a:lnTo>
                  <a:pt x="0" y="5977930"/>
                </a:lnTo>
                <a:cubicBezTo>
                  <a:pt x="8334" y="4469011"/>
                  <a:pt x="263591" y="3287713"/>
                  <a:pt x="765770" y="2434035"/>
                </a:cubicBezTo>
                <a:cubicBezTo>
                  <a:pt x="1268082" y="1580357"/>
                  <a:pt x="2023599" y="1041863"/>
                  <a:pt x="3032323" y="818555"/>
                </a:cubicBezTo>
                <a:cubicBezTo>
                  <a:pt x="3561490" y="702800"/>
                  <a:pt x="3902538" y="588103"/>
                  <a:pt x="4055467" y="474465"/>
                </a:cubicBezTo>
                <a:cubicBezTo>
                  <a:pt x="4208529" y="360694"/>
                  <a:pt x="4285059" y="202539"/>
                  <a:pt x="4285059" y="0"/>
                </a:cubicBezTo>
                <a:lnTo>
                  <a:pt x="5736034" y="0"/>
                </a:lnTo>
                <a:cubicBezTo>
                  <a:pt x="5736034" y="649552"/>
                  <a:pt x="5561343" y="1137775"/>
                  <a:pt x="5211961" y="1464668"/>
                </a:cubicBezTo>
                <a:cubicBezTo>
                  <a:pt x="4862711" y="1791428"/>
                  <a:pt x="4241602" y="2043774"/>
                  <a:pt x="3348633" y="2221707"/>
                </a:cubicBezTo>
                <a:cubicBezTo>
                  <a:pt x="2819466" y="2329260"/>
                  <a:pt x="2401887" y="2538215"/>
                  <a:pt x="2095897" y="2848571"/>
                </a:cubicBezTo>
                <a:cubicBezTo>
                  <a:pt x="1790039" y="3158795"/>
                  <a:pt x="1583399" y="3595225"/>
                  <a:pt x="1475978" y="4157861"/>
                </a:cubicBezTo>
                <a:cubicBezTo>
                  <a:pt x="2046420" y="3604221"/>
                  <a:pt x="2720247" y="3327400"/>
                  <a:pt x="3497461" y="3327400"/>
                </a:cubicBezTo>
                <a:close/>
                <a:moveTo>
                  <a:pt x="3156347" y="4778574"/>
                </a:moveTo>
                <a:cubicBezTo>
                  <a:pt x="2730632" y="4778574"/>
                  <a:pt x="2396794" y="4921052"/>
                  <a:pt x="2154833" y="5206008"/>
                </a:cubicBezTo>
                <a:cubicBezTo>
                  <a:pt x="1913004" y="5490965"/>
                  <a:pt x="1792089" y="5953522"/>
                  <a:pt x="1792089" y="6593682"/>
                </a:cubicBezTo>
                <a:cubicBezTo>
                  <a:pt x="1792089" y="7163594"/>
                  <a:pt x="1909895" y="7598305"/>
                  <a:pt x="2145506" y="7897813"/>
                </a:cubicBezTo>
                <a:cubicBezTo>
                  <a:pt x="2381250" y="8197189"/>
                  <a:pt x="2722364" y="8346877"/>
                  <a:pt x="3168848" y="8346877"/>
                </a:cubicBezTo>
                <a:cubicBezTo>
                  <a:pt x="3602897" y="8346877"/>
                  <a:pt x="3937727" y="8200298"/>
                  <a:pt x="4173339" y="7907140"/>
                </a:cubicBezTo>
                <a:cubicBezTo>
                  <a:pt x="4409083" y="7613849"/>
                  <a:pt x="4529005" y="7182247"/>
                  <a:pt x="4533106" y="6612335"/>
                </a:cubicBezTo>
                <a:lnTo>
                  <a:pt x="4533106" y="6463507"/>
                </a:lnTo>
                <a:cubicBezTo>
                  <a:pt x="4533106" y="5914232"/>
                  <a:pt x="4412191" y="5496124"/>
                  <a:pt x="4170362" y="5209183"/>
                </a:cubicBezTo>
                <a:cubicBezTo>
                  <a:pt x="3928533" y="4922111"/>
                  <a:pt x="3590528" y="4778574"/>
                  <a:pt x="3156347" y="47785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06" name="Freeform 3306"/>
          <p:cNvSpPr/>
          <p:nvPr/>
        </p:nvSpPr>
        <p:spPr>
          <a:xfrm>
            <a:off x="1348875" y="3523577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07" name="Freeform 3307"/>
          <p:cNvSpPr/>
          <p:nvPr/>
        </p:nvSpPr>
        <p:spPr>
          <a:xfrm>
            <a:off x="1403840" y="3523577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08" name="Freeform 3308"/>
          <p:cNvSpPr/>
          <p:nvPr/>
        </p:nvSpPr>
        <p:spPr>
          <a:xfrm>
            <a:off x="1458347" y="3523577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782814" y="2091730"/>
                </a:moveTo>
                <a:cubicBezTo>
                  <a:pt x="3782814" y="1857442"/>
                  <a:pt x="3705291" y="1675607"/>
                  <a:pt x="3550245" y="1546225"/>
                </a:cubicBezTo>
                <a:cubicBezTo>
                  <a:pt x="3395199" y="1416712"/>
                  <a:pt x="3175066" y="1351955"/>
                  <a:pt x="2889845" y="1351955"/>
                </a:cubicBezTo>
                <a:cubicBezTo>
                  <a:pt x="2596290" y="1351955"/>
                  <a:pt x="2357503" y="1413140"/>
                  <a:pt x="2173486" y="1535510"/>
                </a:cubicBezTo>
                <a:cubicBezTo>
                  <a:pt x="1989600" y="1657880"/>
                  <a:pt x="1897658" y="1831050"/>
                  <a:pt x="1897658" y="2055019"/>
                </a:cubicBezTo>
                <a:lnTo>
                  <a:pt x="105569" y="2055019"/>
                </a:lnTo>
                <a:cubicBezTo>
                  <a:pt x="105569" y="1446610"/>
                  <a:pt x="357716" y="952037"/>
                  <a:pt x="862012" y="571302"/>
                </a:cubicBezTo>
                <a:cubicBezTo>
                  <a:pt x="1366440" y="190435"/>
                  <a:pt x="2011362" y="0"/>
                  <a:pt x="2796778" y="0"/>
                </a:cubicBezTo>
                <a:cubicBezTo>
                  <a:pt x="3660775" y="0"/>
                  <a:pt x="4339762" y="169069"/>
                  <a:pt x="4833739" y="507207"/>
                </a:cubicBezTo>
                <a:cubicBezTo>
                  <a:pt x="5327848" y="845344"/>
                  <a:pt x="5574903" y="1325761"/>
                  <a:pt x="5574903" y="1948458"/>
                </a:cubicBezTo>
                <a:cubicBezTo>
                  <a:pt x="5574903" y="2245321"/>
                  <a:pt x="5484944" y="2518503"/>
                  <a:pt x="5305028" y="2768005"/>
                </a:cubicBezTo>
                <a:cubicBezTo>
                  <a:pt x="5125244" y="3017507"/>
                  <a:pt x="4872104" y="3216474"/>
                  <a:pt x="4545608" y="3364905"/>
                </a:cubicBezTo>
                <a:cubicBezTo>
                  <a:pt x="5310386" y="3634913"/>
                  <a:pt x="5692775" y="4156142"/>
                  <a:pt x="5692775" y="4928593"/>
                </a:cubicBezTo>
                <a:cubicBezTo>
                  <a:pt x="5692775" y="5547453"/>
                  <a:pt x="5429183" y="6040703"/>
                  <a:pt x="4902001" y="6408341"/>
                </a:cubicBezTo>
                <a:cubicBezTo>
                  <a:pt x="4374951" y="6775847"/>
                  <a:pt x="3673210" y="6959600"/>
                  <a:pt x="2796778" y="6959600"/>
                </a:cubicBezTo>
                <a:cubicBezTo>
                  <a:pt x="1982390" y="6959600"/>
                  <a:pt x="1312664" y="6769233"/>
                  <a:pt x="787598" y="6388497"/>
                </a:cubicBezTo>
                <a:cubicBezTo>
                  <a:pt x="262533" y="6007762"/>
                  <a:pt x="0" y="5494536"/>
                  <a:pt x="0" y="4848821"/>
                </a:cubicBezTo>
                <a:lnTo>
                  <a:pt x="1792287" y="4848821"/>
                </a:lnTo>
                <a:cubicBezTo>
                  <a:pt x="1792287" y="5076892"/>
                  <a:pt x="1893556" y="5261439"/>
                  <a:pt x="2096095" y="5402461"/>
                </a:cubicBezTo>
                <a:cubicBezTo>
                  <a:pt x="2298634" y="5543484"/>
                  <a:pt x="2563217" y="5613996"/>
                  <a:pt x="2889845" y="5613996"/>
                </a:cubicBezTo>
                <a:cubicBezTo>
                  <a:pt x="3208139" y="5613996"/>
                  <a:pt x="3456186" y="5538854"/>
                  <a:pt x="3633986" y="5388571"/>
                </a:cubicBezTo>
                <a:cubicBezTo>
                  <a:pt x="3811786" y="5238155"/>
                  <a:pt x="3900686" y="5041834"/>
                  <a:pt x="3900686" y="4799608"/>
                </a:cubicBezTo>
                <a:cubicBezTo>
                  <a:pt x="3900686" y="4503010"/>
                  <a:pt x="3815887" y="4291013"/>
                  <a:pt x="3646289" y="4163616"/>
                </a:cubicBezTo>
                <a:cubicBezTo>
                  <a:pt x="3476823" y="4036219"/>
                  <a:pt x="3222625" y="3972521"/>
                  <a:pt x="2883694" y="3972521"/>
                </a:cubicBezTo>
                <a:lnTo>
                  <a:pt x="1909961" y="3972521"/>
                </a:lnTo>
                <a:lnTo>
                  <a:pt x="1909961" y="2806700"/>
                </a:lnTo>
                <a:lnTo>
                  <a:pt x="2945606" y="2806700"/>
                </a:lnTo>
                <a:cubicBezTo>
                  <a:pt x="3503744" y="2790296"/>
                  <a:pt x="3782814" y="2551973"/>
                  <a:pt x="3782814" y="209173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09" name="Freeform 3309"/>
          <p:cNvSpPr/>
          <p:nvPr/>
        </p:nvSpPr>
        <p:spPr>
          <a:xfrm>
            <a:off x="1510321" y="3523577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0" name="Freeform 3310"/>
          <p:cNvSpPr/>
          <p:nvPr/>
        </p:nvSpPr>
        <p:spPr>
          <a:xfrm>
            <a:off x="1570899" y="3524593"/>
            <a:ext cx="47823" cy="53644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1" name="Freeform 3311"/>
          <p:cNvSpPr/>
          <p:nvPr/>
        </p:nvSpPr>
        <p:spPr>
          <a:xfrm>
            <a:off x="1625227" y="3523577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2" name="Freeform 3312"/>
          <p:cNvSpPr/>
          <p:nvPr/>
        </p:nvSpPr>
        <p:spPr>
          <a:xfrm>
            <a:off x="1677138" y="3524593"/>
            <a:ext cx="48517" cy="53644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3" name="Freeform 3313"/>
          <p:cNvSpPr/>
          <p:nvPr/>
        </p:nvSpPr>
        <p:spPr>
          <a:xfrm>
            <a:off x="1727737" y="3523577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4" name="Freeform 3314"/>
          <p:cNvSpPr/>
          <p:nvPr/>
        </p:nvSpPr>
        <p:spPr>
          <a:xfrm>
            <a:off x="1780121" y="3524593"/>
            <a:ext cx="51096" cy="53644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5" name="Freeform 3315"/>
          <p:cNvSpPr/>
          <p:nvPr/>
        </p:nvSpPr>
        <p:spPr>
          <a:xfrm>
            <a:off x="1843187" y="3524593"/>
            <a:ext cx="47723" cy="53644"/>
          </a:xfrm>
          <a:custGeom>
            <a:avLst/>
            <a:gdLst/>
            <a:ahLst/>
            <a:cxnLst/>
            <a:rect l="0" t="0" r="0" b="0"/>
            <a:pathLst>
              <a:path w="5965428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6" name="Freeform 3316"/>
          <p:cNvSpPr/>
          <p:nvPr/>
        </p:nvSpPr>
        <p:spPr>
          <a:xfrm>
            <a:off x="1898937" y="3524593"/>
            <a:ext cx="46532" cy="53644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7" name="Freeform 3317"/>
          <p:cNvSpPr/>
          <p:nvPr/>
        </p:nvSpPr>
        <p:spPr>
          <a:xfrm>
            <a:off x="1957487" y="3524593"/>
            <a:ext cx="70543" cy="53644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8" name="Freeform 3318"/>
          <p:cNvSpPr/>
          <p:nvPr/>
        </p:nvSpPr>
        <p:spPr>
          <a:xfrm>
            <a:off x="2038632" y="3523577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19" name="Freeform 3319"/>
          <p:cNvSpPr/>
          <p:nvPr/>
        </p:nvSpPr>
        <p:spPr>
          <a:xfrm>
            <a:off x="2120730" y="3524593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0" name="Freeform 3320"/>
          <p:cNvSpPr/>
          <p:nvPr/>
        </p:nvSpPr>
        <p:spPr>
          <a:xfrm>
            <a:off x="2178337" y="3523577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1" name="Freeform 3321"/>
          <p:cNvSpPr/>
          <p:nvPr/>
        </p:nvSpPr>
        <p:spPr>
          <a:xfrm>
            <a:off x="2233204" y="3523577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2" name="Freeform 3322"/>
          <p:cNvSpPr/>
          <p:nvPr/>
        </p:nvSpPr>
        <p:spPr>
          <a:xfrm>
            <a:off x="2292841" y="3524593"/>
            <a:ext cx="36561" cy="53644"/>
          </a:xfrm>
          <a:custGeom>
            <a:avLst/>
            <a:gdLst/>
            <a:ahLst/>
            <a:cxnLst/>
            <a:rect l="0" t="0" r="0" b="0"/>
            <a:pathLst>
              <a:path w="4570214" h="6705600">
                <a:moveTo>
                  <a:pt x="4570214" y="1451174"/>
                </a:move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570214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3" name="Freeform 3323"/>
          <p:cNvSpPr/>
          <p:nvPr/>
        </p:nvSpPr>
        <p:spPr>
          <a:xfrm>
            <a:off x="2335309" y="3523577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4" name="Freeform 3324"/>
          <p:cNvSpPr/>
          <p:nvPr/>
        </p:nvSpPr>
        <p:spPr>
          <a:xfrm>
            <a:off x="2390275" y="3523577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5" name="Freeform 3325"/>
          <p:cNvSpPr/>
          <p:nvPr/>
        </p:nvSpPr>
        <p:spPr>
          <a:xfrm>
            <a:off x="2447809" y="3524593"/>
            <a:ext cx="63747" cy="53644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6" name="Freeform 3326"/>
          <p:cNvSpPr/>
          <p:nvPr/>
        </p:nvSpPr>
        <p:spPr>
          <a:xfrm>
            <a:off x="2524924" y="3524593"/>
            <a:ext cx="63747" cy="53644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7" name="Freeform 3327"/>
          <p:cNvSpPr/>
          <p:nvPr/>
        </p:nvSpPr>
        <p:spPr>
          <a:xfrm>
            <a:off x="2602038" y="3524593"/>
            <a:ext cx="70543" cy="53644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8" name="Freeform 3328"/>
          <p:cNvSpPr/>
          <p:nvPr/>
        </p:nvSpPr>
        <p:spPr>
          <a:xfrm>
            <a:off x="2685898" y="3524085"/>
            <a:ext cx="11461" cy="54660"/>
          </a:xfrm>
          <a:custGeom>
            <a:avLst/>
            <a:gdLst/>
            <a:ahLst/>
            <a:cxnLst/>
            <a:rect l="0" t="0" r="0" b="0"/>
            <a:pathLst>
              <a:path w="1432719" h="6832600">
                <a:moveTo>
                  <a:pt x="0" y="6162874"/>
                </a:moveTo>
                <a:cubicBezTo>
                  <a:pt x="0" y="5964436"/>
                  <a:pt x="58870" y="5799072"/>
                  <a:pt x="176610" y="5666780"/>
                </a:cubicBezTo>
                <a:cubicBezTo>
                  <a:pt x="294482" y="5534489"/>
                  <a:pt x="471223" y="5468343"/>
                  <a:pt x="706835" y="5468343"/>
                </a:cubicBezTo>
                <a:cubicBezTo>
                  <a:pt x="942578" y="5468343"/>
                  <a:pt x="1121437" y="5534489"/>
                  <a:pt x="1243410" y="5666780"/>
                </a:cubicBezTo>
                <a:cubicBezTo>
                  <a:pt x="1365383" y="5799072"/>
                  <a:pt x="1426369" y="5964436"/>
                  <a:pt x="1426369" y="6162874"/>
                </a:cubicBezTo>
                <a:cubicBezTo>
                  <a:pt x="1426369" y="6352977"/>
                  <a:pt x="1365383" y="6512124"/>
                  <a:pt x="1243410" y="6640315"/>
                </a:cubicBezTo>
                <a:cubicBezTo>
                  <a:pt x="1121437" y="6768505"/>
                  <a:pt x="942578" y="6832600"/>
                  <a:pt x="706835" y="6832600"/>
                </a:cubicBezTo>
                <a:cubicBezTo>
                  <a:pt x="471223" y="6832600"/>
                  <a:pt x="294482" y="6768505"/>
                  <a:pt x="176610" y="6640315"/>
                </a:cubicBezTo>
                <a:cubicBezTo>
                  <a:pt x="58870" y="6512124"/>
                  <a:pt x="0" y="6352977"/>
                  <a:pt x="0" y="6162874"/>
                </a:cubicBezTo>
                <a:close/>
                <a:moveTo>
                  <a:pt x="6350" y="694532"/>
                </a:moveTo>
                <a:cubicBezTo>
                  <a:pt x="6350" y="496094"/>
                  <a:pt x="65220" y="330730"/>
                  <a:pt x="182960" y="198438"/>
                </a:cubicBezTo>
                <a:cubicBezTo>
                  <a:pt x="300832" y="66146"/>
                  <a:pt x="477573" y="0"/>
                  <a:pt x="713185" y="0"/>
                </a:cubicBezTo>
                <a:cubicBezTo>
                  <a:pt x="948928" y="0"/>
                  <a:pt x="1127787" y="66146"/>
                  <a:pt x="1249760" y="198438"/>
                </a:cubicBezTo>
                <a:cubicBezTo>
                  <a:pt x="1371733" y="330730"/>
                  <a:pt x="1432719" y="496094"/>
                  <a:pt x="1432719" y="694532"/>
                </a:cubicBezTo>
                <a:cubicBezTo>
                  <a:pt x="1432719" y="884635"/>
                  <a:pt x="1371733" y="1043782"/>
                  <a:pt x="1249760" y="1171972"/>
                </a:cubicBezTo>
                <a:cubicBezTo>
                  <a:pt x="1127787" y="1300163"/>
                  <a:pt x="948928" y="1364258"/>
                  <a:pt x="713185" y="1364258"/>
                </a:cubicBezTo>
                <a:cubicBezTo>
                  <a:pt x="477573" y="1364258"/>
                  <a:pt x="300832" y="1300163"/>
                  <a:pt x="182960" y="1171972"/>
                </a:cubicBezTo>
                <a:cubicBezTo>
                  <a:pt x="65220" y="1043782"/>
                  <a:pt x="6350" y="884635"/>
                  <a:pt x="6350" y="69453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29" name="Freeform 3329"/>
          <p:cNvSpPr/>
          <p:nvPr/>
        </p:nvSpPr>
        <p:spPr>
          <a:xfrm>
            <a:off x="1287747" y="3629825"/>
            <a:ext cx="44400" cy="72237"/>
          </a:xfrm>
          <a:custGeom>
            <a:avLst/>
            <a:gdLst/>
            <a:ahLst/>
            <a:cxnLst/>
            <a:rect l="0" t="0" r="0" b="0"/>
            <a:pathLst>
              <a:path w="5550099" h="9029700">
                <a:moveTo>
                  <a:pt x="5550099" y="979885"/>
                </a:moveTo>
                <a:lnTo>
                  <a:pt x="1196975" y="979885"/>
                </a:lnTo>
                <a:lnTo>
                  <a:pt x="1196975" y="9029700"/>
                </a:lnTo>
                <a:lnTo>
                  <a:pt x="0" y="9029700"/>
                </a:lnTo>
                <a:lnTo>
                  <a:pt x="0" y="0"/>
                </a:lnTo>
                <a:lnTo>
                  <a:pt x="555009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0" name="Freeform 3330"/>
          <p:cNvSpPr/>
          <p:nvPr/>
        </p:nvSpPr>
        <p:spPr>
          <a:xfrm>
            <a:off x="1325039" y="3648418"/>
            <a:ext cx="55810" cy="69392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1" name="Freeform 3331"/>
          <p:cNvSpPr/>
          <p:nvPr/>
        </p:nvSpPr>
        <p:spPr>
          <a:xfrm>
            <a:off x="1388635" y="3647402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2" name="Freeform 3332"/>
          <p:cNvSpPr/>
          <p:nvPr/>
        </p:nvSpPr>
        <p:spPr>
          <a:xfrm>
            <a:off x="1467824" y="3625863"/>
            <a:ext cx="63747" cy="96824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3" name="Freeform 3333"/>
          <p:cNvSpPr/>
          <p:nvPr/>
        </p:nvSpPr>
        <p:spPr>
          <a:xfrm>
            <a:off x="1541038" y="3647402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4" name="Freeform 3334"/>
          <p:cNvSpPr/>
          <p:nvPr/>
        </p:nvSpPr>
        <p:spPr>
          <a:xfrm>
            <a:off x="1601380" y="3647402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5" name="Freeform 3335"/>
          <p:cNvSpPr/>
          <p:nvPr/>
        </p:nvSpPr>
        <p:spPr>
          <a:xfrm>
            <a:off x="1659221" y="3648418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6" name="Freeform 3336"/>
          <p:cNvSpPr/>
          <p:nvPr/>
        </p:nvSpPr>
        <p:spPr>
          <a:xfrm>
            <a:off x="1734457" y="3648418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7" name="Freeform 3337"/>
          <p:cNvSpPr/>
          <p:nvPr/>
        </p:nvSpPr>
        <p:spPr>
          <a:xfrm>
            <a:off x="1792287" y="3647402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8" name="Freeform 3338"/>
          <p:cNvSpPr/>
          <p:nvPr/>
        </p:nvSpPr>
        <p:spPr>
          <a:xfrm>
            <a:off x="1842923" y="3648418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39" name="Freeform 3339"/>
          <p:cNvSpPr/>
          <p:nvPr/>
        </p:nvSpPr>
        <p:spPr>
          <a:xfrm>
            <a:off x="1897676" y="3647402"/>
            <a:ext cx="70792" cy="55676"/>
          </a:xfrm>
          <a:custGeom>
            <a:avLst/>
            <a:gdLst/>
            <a:ahLst/>
            <a:cxnLst/>
            <a:rect l="0" t="0" r="0" b="0"/>
            <a:pathLst>
              <a:path w="8849122" h="6959600">
                <a:moveTo>
                  <a:pt x="1147366" y="2971800"/>
                </a:moveTo>
                <a:lnTo>
                  <a:pt x="2759670" y="2971800"/>
                </a:lnTo>
                <a:cubicBezTo>
                  <a:pt x="2846454" y="2078435"/>
                  <a:pt x="3163689" y="1359826"/>
                  <a:pt x="3711376" y="815975"/>
                </a:cubicBezTo>
                <a:cubicBezTo>
                  <a:pt x="4259196" y="271992"/>
                  <a:pt x="4950685" y="0"/>
                  <a:pt x="5785842" y="0"/>
                </a:cubicBezTo>
                <a:cubicBezTo>
                  <a:pt x="6662275" y="0"/>
                  <a:pt x="7379494" y="295672"/>
                  <a:pt x="7937500" y="887016"/>
                </a:cubicBezTo>
                <a:cubicBezTo>
                  <a:pt x="8495639" y="1478360"/>
                  <a:pt x="8797462" y="2247504"/>
                  <a:pt x="8842970" y="3194447"/>
                </a:cubicBezTo>
                <a:lnTo>
                  <a:pt x="8849122" y="3554215"/>
                </a:lnTo>
                <a:cubicBezTo>
                  <a:pt x="8849122" y="4207603"/>
                  <a:pt x="8720931" y="4796896"/>
                  <a:pt x="8464550" y="5322094"/>
                </a:cubicBezTo>
                <a:cubicBezTo>
                  <a:pt x="8208301" y="5847292"/>
                  <a:pt x="7848666" y="6251509"/>
                  <a:pt x="7385645" y="6534746"/>
                </a:cubicBezTo>
                <a:cubicBezTo>
                  <a:pt x="6922625" y="6817982"/>
                  <a:pt x="6393458" y="6959600"/>
                  <a:pt x="5798145" y="6959600"/>
                </a:cubicBezTo>
                <a:cubicBezTo>
                  <a:pt x="4934148" y="6959600"/>
                  <a:pt x="4227182" y="6677422"/>
                  <a:pt x="3677245" y="6113066"/>
                </a:cubicBezTo>
                <a:cubicBezTo>
                  <a:pt x="3127441" y="5548710"/>
                  <a:pt x="2819466" y="4815814"/>
                  <a:pt x="2753320" y="3914379"/>
                </a:cubicBezTo>
                <a:lnTo>
                  <a:pt x="1147366" y="3914379"/>
                </a:lnTo>
                <a:lnTo>
                  <a:pt x="1147366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147366" y="127000"/>
                </a:lnTo>
                <a:close/>
                <a:moveTo>
                  <a:pt x="3888184" y="3554215"/>
                </a:moveTo>
                <a:cubicBezTo>
                  <a:pt x="3888184" y="4298620"/>
                  <a:pt x="4060759" y="4896247"/>
                  <a:pt x="4405908" y="5347097"/>
                </a:cubicBezTo>
                <a:cubicBezTo>
                  <a:pt x="4751189" y="5797815"/>
                  <a:pt x="5215268" y="6023174"/>
                  <a:pt x="5798145" y="6023174"/>
                </a:cubicBezTo>
                <a:cubicBezTo>
                  <a:pt x="6381022" y="6023174"/>
                  <a:pt x="6842985" y="5793648"/>
                  <a:pt x="7184033" y="5334596"/>
                </a:cubicBezTo>
                <a:cubicBezTo>
                  <a:pt x="7525213" y="4875544"/>
                  <a:pt x="7695803" y="4236575"/>
                  <a:pt x="7695803" y="3417690"/>
                </a:cubicBezTo>
                <a:cubicBezTo>
                  <a:pt x="7695803" y="2685720"/>
                  <a:pt x="7522170" y="2090209"/>
                  <a:pt x="7174905" y="1631157"/>
                </a:cubicBezTo>
                <a:cubicBezTo>
                  <a:pt x="6827639" y="1172105"/>
                  <a:pt x="6364618" y="942579"/>
                  <a:pt x="5785842" y="942579"/>
                </a:cubicBezTo>
                <a:cubicBezTo>
                  <a:pt x="5215268" y="942579"/>
                  <a:pt x="4756348" y="1168004"/>
                  <a:pt x="4409083" y="1618854"/>
                </a:cubicBezTo>
                <a:cubicBezTo>
                  <a:pt x="4061817" y="2069571"/>
                  <a:pt x="3888184" y="2714692"/>
                  <a:pt x="3888184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0" name="Freeform 3340"/>
          <p:cNvSpPr/>
          <p:nvPr/>
        </p:nvSpPr>
        <p:spPr>
          <a:xfrm>
            <a:off x="1974676" y="3648418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1" name="Freeform 3341"/>
          <p:cNvSpPr/>
          <p:nvPr/>
        </p:nvSpPr>
        <p:spPr>
          <a:xfrm>
            <a:off x="2051516" y="3647402"/>
            <a:ext cx="44251" cy="55676"/>
          </a:xfrm>
          <a:custGeom>
            <a:avLst/>
            <a:gdLst/>
            <a:ahLst/>
            <a:cxnLst/>
            <a:rect l="0" t="0" r="0" b="0"/>
            <a:pathLst>
              <a:path w="5531445" h="6959600">
                <a:moveTo>
                  <a:pt x="2604492" y="942579"/>
                </a:moveTo>
                <a:cubicBezTo>
                  <a:pt x="2195181" y="942579"/>
                  <a:pt x="1840640" y="1072886"/>
                  <a:pt x="1540867" y="1333500"/>
                </a:cubicBezTo>
                <a:cubicBezTo>
                  <a:pt x="1241226" y="1593983"/>
                  <a:pt x="1091406" y="1902090"/>
                  <a:pt x="1091406" y="2257822"/>
                </a:cubicBezTo>
                <a:lnTo>
                  <a:pt x="0" y="2257822"/>
                </a:lnTo>
                <a:cubicBezTo>
                  <a:pt x="0" y="1873250"/>
                  <a:pt x="121973" y="1505215"/>
                  <a:pt x="365918" y="1153716"/>
                </a:cubicBezTo>
                <a:cubicBezTo>
                  <a:pt x="609864" y="802217"/>
                  <a:pt x="934376" y="522090"/>
                  <a:pt x="1339453" y="313333"/>
                </a:cubicBezTo>
                <a:cubicBezTo>
                  <a:pt x="1744662" y="104445"/>
                  <a:pt x="2166342" y="0"/>
                  <a:pt x="2604492" y="0"/>
                </a:cubicBezTo>
                <a:cubicBezTo>
                  <a:pt x="3476823" y="0"/>
                  <a:pt x="4182732" y="315318"/>
                  <a:pt x="4722217" y="945952"/>
                </a:cubicBezTo>
                <a:cubicBezTo>
                  <a:pt x="5261702" y="1576586"/>
                  <a:pt x="5531445" y="2400499"/>
                  <a:pt x="5531445" y="3417690"/>
                </a:cubicBezTo>
                <a:lnTo>
                  <a:pt x="5531445" y="3609975"/>
                </a:lnTo>
                <a:cubicBezTo>
                  <a:pt x="5531445" y="4238625"/>
                  <a:pt x="5408414" y="4812441"/>
                  <a:pt x="5162351" y="5331421"/>
                </a:cubicBezTo>
                <a:cubicBezTo>
                  <a:pt x="4916421" y="5850401"/>
                  <a:pt x="4571272" y="6251509"/>
                  <a:pt x="4126904" y="6534746"/>
                </a:cubicBezTo>
                <a:cubicBezTo>
                  <a:pt x="3682537" y="6817982"/>
                  <a:pt x="3175066" y="6959600"/>
                  <a:pt x="2604492" y="6959600"/>
                </a:cubicBezTo>
                <a:cubicBezTo>
                  <a:pt x="1860351" y="6959600"/>
                  <a:pt x="1240234" y="6728024"/>
                  <a:pt x="744140" y="6264871"/>
                </a:cubicBezTo>
                <a:cubicBezTo>
                  <a:pt x="248047" y="5801718"/>
                  <a:pt x="0" y="5224860"/>
                  <a:pt x="0" y="4534297"/>
                </a:cubicBezTo>
                <a:lnTo>
                  <a:pt x="1091406" y="4534297"/>
                </a:lnTo>
                <a:cubicBezTo>
                  <a:pt x="1091406" y="4956175"/>
                  <a:pt x="1238184" y="5310849"/>
                  <a:pt x="1531739" y="5598319"/>
                </a:cubicBezTo>
                <a:cubicBezTo>
                  <a:pt x="1825294" y="5885657"/>
                  <a:pt x="2182878" y="6029325"/>
                  <a:pt x="2604492" y="6029325"/>
                </a:cubicBezTo>
                <a:cubicBezTo>
                  <a:pt x="3096485" y="6029325"/>
                  <a:pt x="3501628" y="5839090"/>
                  <a:pt x="3819922" y="5458619"/>
                </a:cubicBezTo>
                <a:cubicBezTo>
                  <a:pt x="4138215" y="5078016"/>
                  <a:pt x="4322167" y="4554803"/>
                  <a:pt x="4371776" y="3888979"/>
                </a:cubicBezTo>
                <a:lnTo>
                  <a:pt x="1854200" y="3888979"/>
                </a:lnTo>
                <a:lnTo>
                  <a:pt x="1854200" y="2946400"/>
                </a:lnTo>
                <a:lnTo>
                  <a:pt x="4359473" y="2946400"/>
                </a:lnTo>
                <a:cubicBezTo>
                  <a:pt x="4301529" y="2342621"/>
                  <a:pt x="4117512" y="1857706"/>
                  <a:pt x="3807420" y="1491655"/>
                </a:cubicBezTo>
                <a:cubicBezTo>
                  <a:pt x="3497461" y="1125604"/>
                  <a:pt x="3096485" y="942579"/>
                  <a:pt x="2604492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2" name="Freeform 3342"/>
          <p:cNvSpPr/>
          <p:nvPr/>
        </p:nvSpPr>
        <p:spPr>
          <a:xfrm>
            <a:off x="2099136" y="3648418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3" name="Freeform 3343"/>
          <p:cNvSpPr/>
          <p:nvPr/>
        </p:nvSpPr>
        <p:spPr>
          <a:xfrm>
            <a:off x="2153659" y="3648418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4" name="Freeform 3344"/>
          <p:cNvSpPr/>
          <p:nvPr/>
        </p:nvSpPr>
        <p:spPr>
          <a:xfrm>
            <a:off x="2237377" y="3648418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5" name="Freeform 3345"/>
          <p:cNvSpPr/>
          <p:nvPr/>
        </p:nvSpPr>
        <p:spPr>
          <a:xfrm>
            <a:off x="2293567" y="3647402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6" name="Freeform 3346"/>
          <p:cNvSpPr/>
          <p:nvPr/>
        </p:nvSpPr>
        <p:spPr>
          <a:xfrm>
            <a:off x="2351117" y="3648418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7" name="Freeform 3347"/>
          <p:cNvSpPr/>
          <p:nvPr/>
        </p:nvSpPr>
        <p:spPr>
          <a:xfrm>
            <a:off x="2409131" y="3648418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8" name="Freeform 3348"/>
          <p:cNvSpPr/>
          <p:nvPr/>
        </p:nvSpPr>
        <p:spPr>
          <a:xfrm>
            <a:off x="2487923" y="3648418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49" name="Freeform 3349"/>
          <p:cNvSpPr/>
          <p:nvPr/>
        </p:nvSpPr>
        <p:spPr>
          <a:xfrm>
            <a:off x="2542787" y="3648418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50" name="Freeform 3350"/>
          <p:cNvSpPr/>
          <p:nvPr/>
        </p:nvSpPr>
        <p:spPr>
          <a:xfrm>
            <a:off x="2597392" y="3628809"/>
            <a:ext cx="40233" cy="73761"/>
          </a:xfrm>
          <a:custGeom>
            <a:avLst/>
            <a:gdLst/>
            <a:ahLst/>
            <a:cxnLst/>
            <a:rect l="0" t="0" r="0" b="0"/>
            <a:pathLst>
              <a:path w="5029200" h="9220200">
                <a:moveTo>
                  <a:pt x="1748631" y="6609557"/>
                </a:moveTo>
                <a:cubicBezTo>
                  <a:pt x="1756966" y="6117696"/>
                  <a:pt x="1812793" y="5729156"/>
                  <a:pt x="1916113" y="5443935"/>
                </a:cubicBezTo>
                <a:cubicBezTo>
                  <a:pt x="2019432" y="5158714"/>
                  <a:pt x="2230305" y="4842471"/>
                  <a:pt x="2548731" y="4495205"/>
                </a:cubicBezTo>
                <a:lnTo>
                  <a:pt x="3360936" y="3658196"/>
                </a:lnTo>
                <a:cubicBezTo>
                  <a:pt x="3708202" y="3265554"/>
                  <a:pt x="3881834" y="2843940"/>
                  <a:pt x="3881834" y="2393355"/>
                </a:cubicBezTo>
                <a:cubicBezTo>
                  <a:pt x="3881834" y="1959438"/>
                  <a:pt x="3768130" y="1619515"/>
                  <a:pt x="3540720" y="1373585"/>
                </a:cubicBezTo>
                <a:cubicBezTo>
                  <a:pt x="3313443" y="1127655"/>
                  <a:pt x="2982780" y="1004690"/>
                  <a:pt x="2548731" y="1004690"/>
                </a:cubicBezTo>
                <a:cubicBezTo>
                  <a:pt x="2126985" y="1004690"/>
                  <a:pt x="1787922" y="1116344"/>
                  <a:pt x="1531541" y="1339652"/>
                </a:cubicBezTo>
                <a:cubicBezTo>
                  <a:pt x="1275292" y="1562828"/>
                  <a:pt x="1147167" y="1862469"/>
                  <a:pt x="1147167" y="2238574"/>
                </a:cubicBezTo>
                <a:lnTo>
                  <a:pt x="0" y="2238574"/>
                </a:lnTo>
                <a:cubicBezTo>
                  <a:pt x="8202" y="1568913"/>
                  <a:pt x="246922" y="1028436"/>
                  <a:pt x="716161" y="617141"/>
                </a:cubicBezTo>
                <a:cubicBezTo>
                  <a:pt x="1185400" y="205714"/>
                  <a:pt x="1796256" y="0"/>
                  <a:pt x="2548731" y="0"/>
                </a:cubicBezTo>
                <a:cubicBezTo>
                  <a:pt x="3330046" y="0"/>
                  <a:pt x="3938786" y="209815"/>
                  <a:pt x="4374952" y="629444"/>
                </a:cubicBezTo>
                <a:cubicBezTo>
                  <a:pt x="4811117" y="1048941"/>
                  <a:pt x="5029200" y="1624476"/>
                  <a:pt x="5029200" y="2356049"/>
                </a:cubicBezTo>
                <a:cubicBezTo>
                  <a:pt x="5029200" y="3079420"/>
                  <a:pt x="4694304" y="3792472"/>
                  <a:pt x="4024511" y="4495205"/>
                </a:cubicBezTo>
                <a:lnTo>
                  <a:pt x="3348633" y="5164932"/>
                </a:lnTo>
                <a:cubicBezTo>
                  <a:pt x="3046876" y="5499762"/>
                  <a:pt x="2895997" y="5981304"/>
                  <a:pt x="2895997" y="6609557"/>
                </a:cubicBezTo>
                <a:close/>
                <a:moveTo>
                  <a:pt x="1699022" y="8575279"/>
                </a:moveTo>
                <a:cubicBezTo>
                  <a:pt x="1699022" y="8389144"/>
                  <a:pt x="1755841" y="8233040"/>
                  <a:pt x="1869480" y="8106966"/>
                </a:cubicBezTo>
                <a:cubicBezTo>
                  <a:pt x="1983250" y="7980892"/>
                  <a:pt x="2151724" y="7917855"/>
                  <a:pt x="2374900" y="7917855"/>
                </a:cubicBezTo>
                <a:cubicBezTo>
                  <a:pt x="2598208" y="7917855"/>
                  <a:pt x="2767740" y="7980892"/>
                  <a:pt x="2883495" y="8106966"/>
                </a:cubicBezTo>
                <a:cubicBezTo>
                  <a:pt x="2999251" y="8233040"/>
                  <a:pt x="3057128" y="8389144"/>
                  <a:pt x="3057128" y="8575279"/>
                </a:cubicBezTo>
                <a:cubicBezTo>
                  <a:pt x="3057128" y="8761281"/>
                  <a:pt x="2999251" y="8915268"/>
                  <a:pt x="2883495" y="9037241"/>
                </a:cubicBezTo>
                <a:cubicBezTo>
                  <a:pt x="2767740" y="9159213"/>
                  <a:pt x="2598208" y="9220200"/>
                  <a:pt x="2374900" y="9220200"/>
                </a:cubicBezTo>
                <a:cubicBezTo>
                  <a:pt x="2151724" y="9220200"/>
                  <a:pt x="1983250" y="9159213"/>
                  <a:pt x="1869480" y="9037241"/>
                </a:cubicBezTo>
                <a:cubicBezTo>
                  <a:pt x="1755841" y="8915268"/>
                  <a:pt x="1699022" y="8761281"/>
                  <a:pt x="1699022" y="85752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51" name="Rectangle 3351"/>
          <p:cNvSpPr/>
          <p:nvPr/>
        </p:nvSpPr>
        <p:spPr>
          <a:xfrm>
            <a:off x="1208609" y="4013192"/>
            <a:ext cx="1528135" cy="245744"/>
          </a:xfrm>
          <a:prstGeom prst="rect">
            <a:avLst/>
          </a:prstGeom>
        </p:spPr>
      </p:sp>
      <p:sp>
        <p:nvSpPr>
          <p:cNvPr id="3352" name="Freeform 3352"/>
          <p:cNvSpPr/>
          <p:nvPr/>
        </p:nvSpPr>
        <p:spPr>
          <a:xfrm>
            <a:off x="1210147" y="4037474"/>
            <a:ext cx="61217" cy="73253"/>
          </a:xfrm>
          <a:custGeom>
            <a:avLst/>
            <a:gdLst/>
            <a:ahLst/>
            <a:cxnLst/>
            <a:rect l="0" t="0" r="0" b="0"/>
            <a:pathLst>
              <a:path w="7652147" h="9156700">
                <a:moveTo>
                  <a:pt x="3999707" y="4265216"/>
                </a:moveTo>
                <a:lnTo>
                  <a:pt x="5642968" y="0"/>
                </a:lnTo>
                <a:lnTo>
                  <a:pt x="7652147" y="0"/>
                </a:lnTo>
                <a:lnTo>
                  <a:pt x="4495800" y="7445574"/>
                </a:lnTo>
                <a:lnTo>
                  <a:pt x="4241602" y="7935318"/>
                </a:lnTo>
                <a:cubicBezTo>
                  <a:pt x="3774480" y="8749573"/>
                  <a:pt x="3059245" y="9156700"/>
                  <a:pt x="2095897" y="9156700"/>
                </a:cubicBezTo>
                <a:lnTo>
                  <a:pt x="1444824" y="9131895"/>
                </a:lnTo>
                <a:lnTo>
                  <a:pt x="1426171" y="7637463"/>
                </a:lnTo>
                <a:cubicBezTo>
                  <a:pt x="1525390" y="7653999"/>
                  <a:pt x="1686653" y="7662268"/>
                  <a:pt x="1909961" y="7662268"/>
                </a:cubicBezTo>
                <a:cubicBezTo>
                  <a:pt x="2170444" y="7662268"/>
                  <a:pt x="2380258" y="7616825"/>
                  <a:pt x="2539405" y="7525941"/>
                </a:cubicBezTo>
                <a:cubicBezTo>
                  <a:pt x="2698552" y="7434924"/>
                  <a:pt x="2831836" y="7267509"/>
                  <a:pt x="2939257" y="7023696"/>
                </a:cubicBezTo>
                <a:lnTo>
                  <a:pt x="3168849" y="6434733"/>
                </a:lnTo>
                <a:lnTo>
                  <a:pt x="0" y="0"/>
                </a:lnTo>
                <a:lnTo>
                  <a:pt x="200302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53" name="Freeform 3353"/>
          <p:cNvSpPr/>
          <p:nvPr/>
        </p:nvSpPr>
        <p:spPr>
          <a:xfrm>
            <a:off x="1275104" y="4056067"/>
            <a:ext cx="63747" cy="53644"/>
          </a:xfrm>
          <a:custGeom>
            <a:avLst/>
            <a:gdLst/>
            <a:ahLst/>
            <a:cxnLst/>
            <a:rect l="0" t="0" r="0" b="0"/>
            <a:pathLst>
              <a:path w="7968456" h="6705600">
                <a:moveTo>
                  <a:pt x="3968750" y="4592241"/>
                </a:moveTo>
                <a:lnTo>
                  <a:pt x="5723533" y="0"/>
                </a:lnTo>
                <a:lnTo>
                  <a:pt x="7968456" y="0"/>
                </a:lnTo>
                <a:lnTo>
                  <a:pt x="7968456" y="6705600"/>
                </a:lnTo>
                <a:lnTo>
                  <a:pt x="6176367" y="6705600"/>
                </a:lnTo>
                <a:lnTo>
                  <a:pt x="6176367" y="2590602"/>
                </a:lnTo>
                <a:lnTo>
                  <a:pt x="4570214" y="6705600"/>
                </a:lnTo>
                <a:lnTo>
                  <a:pt x="3367088" y="6705600"/>
                </a:lnTo>
                <a:lnTo>
                  <a:pt x="1792089" y="2658666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2226072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54" name="Freeform 3354"/>
          <p:cNvSpPr/>
          <p:nvPr/>
        </p:nvSpPr>
        <p:spPr>
          <a:xfrm>
            <a:off x="1351276" y="4056067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55" name="Freeform 3355"/>
          <p:cNvSpPr/>
          <p:nvPr/>
        </p:nvSpPr>
        <p:spPr>
          <a:xfrm>
            <a:off x="1408883" y="4055051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56" name="Freeform 3356"/>
          <p:cNvSpPr/>
          <p:nvPr/>
        </p:nvSpPr>
        <p:spPr>
          <a:xfrm>
            <a:off x="1463849" y="4055051"/>
            <a:ext cx="47725" cy="5567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57" name="Freeform 3357"/>
          <p:cNvSpPr/>
          <p:nvPr/>
        </p:nvSpPr>
        <p:spPr>
          <a:xfrm>
            <a:off x="1521581" y="4055051"/>
            <a:ext cx="72528" cy="55676"/>
          </a:xfrm>
          <a:custGeom>
            <a:avLst/>
            <a:gdLst/>
            <a:ahLst/>
            <a:cxnLst/>
            <a:rect l="0" t="0" r="0" b="0"/>
            <a:pathLst>
              <a:path w="9066014" h="6959600">
                <a:moveTo>
                  <a:pt x="1798240" y="2692400"/>
                </a:moveTo>
                <a:lnTo>
                  <a:pt x="2765623" y="2692400"/>
                </a:lnTo>
                <a:cubicBezTo>
                  <a:pt x="2897915" y="1858831"/>
                  <a:pt x="3240021" y="1201738"/>
                  <a:pt x="3791942" y="721122"/>
                </a:cubicBezTo>
                <a:cubicBezTo>
                  <a:pt x="4343863" y="240374"/>
                  <a:pt x="5039452" y="0"/>
                  <a:pt x="5878711" y="0"/>
                </a:cubicBezTo>
                <a:cubicBezTo>
                  <a:pt x="6783983" y="0"/>
                  <a:pt x="7522898" y="277085"/>
                  <a:pt x="8095456" y="831255"/>
                </a:cubicBezTo>
                <a:cubicBezTo>
                  <a:pt x="8668147" y="1385293"/>
                  <a:pt x="8987565" y="2137900"/>
                  <a:pt x="9053711" y="3089077"/>
                </a:cubicBezTo>
                <a:lnTo>
                  <a:pt x="9066014" y="3548063"/>
                </a:lnTo>
                <a:cubicBezTo>
                  <a:pt x="9066014" y="4577689"/>
                  <a:pt x="8778676" y="5403718"/>
                  <a:pt x="8204001" y="6026150"/>
                </a:cubicBezTo>
                <a:cubicBezTo>
                  <a:pt x="7629459" y="6648450"/>
                  <a:pt x="6858463" y="6959600"/>
                  <a:pt x="5891014" y="6959600"/>
                </a:cubicBezTo>
                <a:cubicBezTo>
                  <a:pt x="5018683" y="6959600"/>
                  <a:pt x="4304506" y="6706791"/>
                  <a:pt x="3748484" y="6201172"/>
                </a:cubicBezTo>
                <a:cubicBezTo>
                  <a:pt x="3192462" y="5695554"/>
                  <a:pt x="2858624" y="5009688"/>
                  <a:pt x="2746970" y="4143574"/>
                </a:cubicBezTo>
                <a:lnTo>
                  <a:pt x="1798240" y="4143574"/>
                </a:lnTo>
                <a:lnTo>
                  <a:pt x="1798240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798240" y="127000"/>
                </a:lnTo>
                <a:close/>
                <a:moveTo>
                  <a:pt x="4501951" y="3548063"/>
                </a:moveTo>
                <a:cubicBezTo>
                  <a:pt x="4501951" y="4185047"/>
                  <a:pt x="4621808" y="4672079"/>
                  <a:pt x="4861520" y="5009158"/>
                </a:cubicBezTo>
                <a:cubicBezTo>
                  <a:pt x="5101365" y="5346237"/>
                  <a:pt x="5444529" y="5514777"/>
                  <a:pt x="5891014" y="5514777"/>
                </a:cubicBezTo>
                <a:cubicBezTo>
                  <a:pt x="6333397" y="5514777"/>
                  <a:pt x="6674445" y="5347296"/>
                  <a:pt x="6914158" y="5012333"/>
                </a:cubicBezTo>
                <a:cubicBezTo>
                  <a:pt x="7154003" y="4677238"/>
                  <a:pt x="7273925" y="4145757"/>
                  <a:pt x="7273925" y="3417888"/>
                </a:cubicBezTo>
                <a:cubicBezTo>
                  <a:pt x="7273925" y="2793339"/>
                  <a:pt x="7151952" y="2309416"/>
                  <a:pt x="6908006" y="1966119"/>
                </a:cubicBezTo>
                <a:cubicBezTo>
                  <a:pt x="6664060" y="1622822"/>
                  <a:pt x="6320962" y="1451174"/>
                  <a:pt x="5878711" y="1451174"/>
                </a:cubicBezTo>
                <a:cubicBezTo>
                  <a:pt x="5440429" y="1451174"/>
                  <a:pt x="5101365" y="1621830"/>
                  <a:pt x="4861520" y="1963143"/>
                </a:cubicBezTo>
                <a:cubicBezTo>
                  <a:pt x="4621808" y="2304323"/>
                  <a:pt x="4501951" y="2832630"/>
                  <a:pt x="4501951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58" name="Freeform 3358"/>
          <p:cNvSpPr/>
          <p:nvPr/>
        </p:nvSpPr>
        <p:spPr>
          <a:xfrm>
            <a:off x="1602688" y="4056067"/>
            <a:ext cx="83194" cy="69596"/>
          </a:xfrm>
          <a:custGeom>
            <a:avLst/>
            <a:gdLst/>
            <a:ahLst/>
            <a:cxnLst/>
            <a:rect l="0" t="0" r="0" b="0"/>
            <a:pathLst>
              <a:path w="10399316" h="8699500">
                <a:moveTo>
                  <a:pt x="1792089" y="0"/>
                </a:moveTo>
                <a:lnTo>
                  <a:pt x="1792089" y="5260777"/>
                </a:lnTo>
                <a:lnTo>
                  <a:pt x="3633986" y="5260777"/>
                </a:lnTo>
                <a:lnTo>
                  <a:pt x="3633986" y="0"/>
                </a:lnTo>
                <a:lnTo>
                  <a:pt x="5432227" y="0"/>
                </a:lnTo>
                <a:lnTo>
                  <a:pt x="5432227" y="5260777"/>
                </a:lnTo>
                <a:lnTo>
                  <a:pt x="7267774" y="5260777"/>
                </a:lnTo>
                <a:lnTo>
                  <a:pt x="7267774" y="0"/>
                </a:lnTo>
                <a:lnTo>
                  <a:pt x="9066213" y="0"/>
                </a:lnTo>
                <a:lnTo>
                  <a:pt x="9066213" y="5273279"/>
                </a:lnTo>
                <a:lnTo>
                  <a:pt x="10399316" y="5273279"/>
                </a:lnTo>
                <a:lnTo>
                  <a:pt x="10275292" y="8699500"/>
                </a:lnTo>
                <a:lnTo>
                  <a:pt x="8607227" y="8699500"/>
                </a:lnTo>
                <a:lnTo>
                  <a:pt x="8607227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59" name="Freeform 3359"/>
          <p:cNvSpPr/>
          <p:nvPr/>
        </p:nvSpPr>
        <p:spPr>
          <a:xfrm>
            <a:off x="1694176" y="4056067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0" name="Freeform 3360"/>
          <p:cNvSpPr/>
          <p:nvPr/>
        </p:nvSpPr>
        <p:spPr>
          <a:xfrm>
            <a:off x="1749848" y="4055051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1" name="Freeform 3361"/>
          <p:cNvSpPr/>
          <p:nvPr/>
        </p:nvSpPr>
        <p:spPr>
          <a:xfrm>
            <a:off x="1831945" y="4056067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2" name="Freeform 3362"/>
          <p:cNvSpPr/>
          <p:nvPr/>
        </p:nvSpPr>
        <p:spPr>
          <a:xfrm>
            <a:off x="1889553" y="4055051"/>
            <a:ext cx="48318" cy="75285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3" name="Freeform 3363"/>
          <p:cNvSpPr/>
          <p:nvPr/>
        </p:nvSpPr>
        <p:spPr>
          <a:xfrm>
            <a:off x="1944420" y="4055051"/>
            <a:ext cx="50849" cy="5567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4" name="Freeform 3364"/>
          <p:cNvSpPr/>
          <p:nvPr/>
        </p:nvSpPr>
        <p:spPr>
          <a:xfrm>
            <a:off x="2001922" y="4033512"/>
            <a:ext cx="67468" cy="96824"/>
          </a:xfrm>
          <a:custGeom>
            <a:avLst/>
            <a:gdLst/>
            <a:ahLst/>
            <a:cxnLst/>
            <a:rect l="0" t="0" r="0" b="0"/>
            <a:pathLst>
              <a:path w="8433594" h="12103100">
                <a:moveTo>
                  <a:pt x="0" y="6221810"/>
                </a:moveTo>
                <a:cubicBezTo>
                  <a:pt x="0" y="5142575"/>
                  <a:pt x="220134" y="4284531"/>
                  <a:pt x="660400" y="3647679"/>
                </a:cubicBezTo>
                <a:cubicBezTo>
                  <a:pt x="1100667" y="3010827"/>
                  <a:pt x="1707356" y="2692400"/>
                  <a:pt x="2480469" y="2692400"/>
                </a:cubicBezTo>
                <a:cubicBezTo>
                  <a:pt x="2782226" y="2692400"/>
                  <a:pt x="3057128" y="2752395"/>
                  <a:pt x="3305175" y="2872383"/>
                </a:cubicBezTo>
                <a:lnTo>
                  <a:pt x="3305175" y="0"/>
                </a:lnTo>
                <a:lnTo>
                  <a:pt x="5097463" y="0"/>
                </a:lnTo>
                <a:lnTo>
                  <a:pt x="5097463" y="2878535"/>
                </a:lnTo>
                <a:cubicBezTo>
                  <a:pt x="5353712" y="2754446"/>
                  <a:pt x="5636882" y="2692400"/>
                  <a:pt x="5946974" y="2692400"/>
                </a:cubicBezTo>
                <a:cubicBezTo>
                  <a:pt x="6724187" y="2692400"/>
                  <a:pt x="7332927" y="3009768"/>
                  <a:pt x="7773194" y="3644504"/>
                </a:cubicBezTo>
                <a:cubicBezTo>
                  <a:pt x="8213461" y="4279239"/>
                  <a:pt x="8433594" y="5181733"/>
                  <a:pt x="8433594" y="6351985"/>
                </a:cubicBezTo>
                <a:cubicBezTo>
                  <a:pt x="8433594" y="7365207"/>
                  <a:pt x="8212402" y="8168548"/>
                  <a:pt x="7770019" y="8762008"/>
                </a:cubicBezTo>
                <a:cubicBezTo>
                  <a:pt x="7327768" y="9355336"/>
                  <a:pt x="6724187" y="9652000"/>
                  <a:pt x="5959277" y="9652000"/>
                </a:cubicBezTo>
                <a:cubicBezTo>
                  <a:pt x="5640983" y="9652000"/>
                  <a:pt x="5353712" y="9594122"/>
                  <a:pt x="5097463" y="9478368"/>
                </a:cubicBezTo>
                <a:lnTo>
                  <a:pt x="5097463" y="12103100"/>
                </a:lnTo>
                <a:lnTo>
                  <a:pt x="3305175" y="12103100"/>
                </a:lnTo>
                <a:lnTo>
                  <a:pt x="3305175" y="9484519"/>
                </a:lnTo>
                <a:cubicBezTo>
                  <a:pt x="3057128" y="9596172"/>
                  <a:pt x="2778125" y="9652000"/>
                  <a:pt x="2468166" y="9652000"/>
                </a:cubicBezTo>
                <a:cubicBezTo>
                  <a:pt x="1744663" y="9652000"/>
                  <a:pt x="1163770" y="9381133"/>
                  <a:pt x="725488" y="8839399"/>
                </a:cubicBezTo>
                <a:cubicBezTo>
                  <a:pt x="287338" y="8297665"/>
                  <a:pt x="47559" y="7555376"/>
                  <a:pt x="6152" y="6612533"/>
                </a:cubicBezTo>
                <a:close/>
                <a:moveTo>
                  <a:pt x="6635353" y="6221810"/>
                </a:moveTo>
                <a:cubicBezTo>
                  <a:pt x="6635353" y="5551885"/>
                  <a:pt x="6534018" y="5038064"/>
                  <a:pt x="6331347" y="4680347"/>
                </a:cubicBezTo>
                <a:cubicBezTo>
                  <a:pt x="6128808" y="4322498"/>
                  <a:pt x="5843588" y="4143574"/>
                  <a:pt x="5475685" y="4143574"/>
                </a:cubicBezTo>
                <a:cubicBezTo>
                  <a:pt x="5359929" y="4143574"/>
                  <a:pt x="5233856" y="4158060"/>
                  <a:pt x="5097463" y="4187032"/>
                </a:cubicBezTo>
                <a:lnTo>
                  <a:pt x="5097463" y="8176022"/>
                </a:lnTo>
                <a:cubicBezTo>
                  <a:pt x="5213218" y="8200893"/>
                  <a:pt x="5343393" y="8213329"/>
                  <a:pt x="5487988" y="8213329"/>
                </a:cubicBezTo>
                <a:cubicBezTo>
                  <a:pt x="6190853" y="8213329"/>
                  <a:pt x="6571192" y="7679796"/>
                  <a:pt x="6629003" y="6612732"/>
                </a:cubicBezTo>
                <a:close/>
                <a:moveTo>
                  <a:pt x="1792089" y="6352183"/>
                </a:moveTo>
                <a:cubicBezTo>
                  <a:pt x="1792089" y="7588846"/>
                  <a:pt x="2170377" y="8207177"/>
                  <a:pt x="2926953" y="8207177"/>
                </a:cubicBezTo>
                <a:cubicBezTo>
                  <a:pt x="3084116" y="8207177"/>
                  <a:pt x="3210190" y="8196858"/>
                  <a:pt x="3305175" y="8176221"/>
                </a:cubicBezTo>
                <a:lnTo>
                  <a:pt x="3305175" y="4187032"/>
                </a:lnTo>
                <a:cubicBezTo>
                  <a:pt x="3168782" y="4158060"/>
                  <a:pt x="3046876" y="4143574"/>
                  <a:pt x="2939455" y="4143574"/>
                </a:cubicBezTo>
                <a:cubicBezTo>
                  <a:pt x="2571419" y="4143574"/>
                  <a:pt x="2288183" y="4318331"/>
                  <a:pt x="2089746" y="4667846"/>
                </a:cubicBezTo>
                <a:cubicBezTo>
                  <a:pt x="1891308" y="5017361"/>
                  <a:pt x="1792089" y="5578806"/>
                  <a:pt x="1792089" y="635218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5" name="Freeform 3365"/>
          <p:cNvSpPr/>
          <p:nvPr/>
        </p:nvSpPr>
        <p:spPr>
          <a:xfrm>
            <a:off x="2076289" y="4055051"/>
            <a:ext cx="48717" cy="5567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6" name="Freeform 3366"/>
          <p:cNvSpPr/>
          <p:nvPr/>
        </p:nvSpPr>
        <p:spPr>
          <a:xfrm>
            <a:off x="2130856" y="4055051"/>
            <a:ext cx="47029" cy="5567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7" name="Freeform 3367"/>
          <p:cNvSpPr/>
          <p:nvPr/>
        </p:nvSpPr>
        <p:spPr>
          <a:xfrm>
            <a:off x="2183789" y="4055051"/>
            <a:ext cx="47029" cy="5567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8" name="Freeform 3368"/>
          <p:cNvSpPr/>
          <p:nvPr/>
        </p:nvSpPr>
        <p:spPr>
          <a:xfrm>
            <a:off x="2238955" y="4056067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69" name="Freeform 3369"/>
          <p:cNvSpPr/>
          <p:nvPr/>
        </p:nvSpPr>
        <p:spPr>
          <a:xfrm>
            <a:off x="2296562" y="4056067"/>
            <a:ext cx="46682" cy="53644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0" name="Freeform 3370"/>
          <p:cNvSpPr/>
          <p:nvPr/>
        </p:nvSpPr>
        <p:spPr>
          <a:xfrm>
            <a:off x="2354865" y="4054340"/>
            <a:ext cx="16221" cy="55880"/>
          </a:xfrm>
          <a:custGeom>
            <a:avLst/>
            <a:gdLst/>
            <a:ahLst/>
            <a:cxnLst/>
            <a:rect l="0" t="0" r="0" b="0"/>
            <a:pathLst>
              <a:path w="2027634" h="6985000">
                <a:moveTo>
                  <a:pt x="0" y="6036271"/>
                </a:moveTo>
                <a:cubicBezTo>
                  <a:pt x="0" y="5750918"/>
                  <a:pt x="96110" y="5519407"/>
                  <a:pt x="288330" y="5341740"/>
                </a:cubicBezTo>
                <a:cubicBezTo>
                  <a:pt x="480549" y="5163940"/>
                  <a:pt x="721320" y="5075040"/>
                  <a:pt x="1010642" y="5075040"/>
                </a:cubicBezTo>
                <a:cubicBezTo>
                  <a:pt x="1304197" y="5075040"/>
                  <a:pt x="1547085" y="5163940"/>
                  <a:pt x="1739305" y="5341740"/>
                </a:cubicBezTo>
                <a:cubicBezTo>
                  <a:pt x="1931524" y="5519407"/>
                  <a:pt x="2027634" y="5750918"/>
                  <a:pt x="2027634" y="6036271"/>
                </a:cubicBezTo>
                <a:cubicBezTo>
                  <a:pt x="2027634" y="6317391"/>
                  <a:pt x="1932517" y="6545792"/>
                  <a:pt x="1742281" y="6721475"/>
                </a:cubicBezTo>
                <a:cubicBezTo>
                  <a:pt x="1552178" y="6897159"/>
                  <a:pt x="1308298" y="6985000"/>
                  <a:pt x="1010642" y="6985000"/>
                </a:cubicBezTo>
                <a:cubicBezTo>
                  <a:pt x="717219" y="6985000"/>
                  <a:pt x="475390" y="6897159"/>
                  <a:pt x="285155" y="6721475"/>
                </a:cubicBezTo>
                <a:cubicBezTo>
                  <a:pt x="95051" y="6545792"/>
                  <a:pt x="0" y="6317391"/>
                  <a:pt x="0" y="6036271"/>
                </a:cubicBezTo>
                <a:close/>
                <a:moveTo>
                  <a:pt x="0" y="961232"/>
                </a:moveTo>
                <a:cubicBezTo>
                  <a:pt x="0" y="675879"/>
                  <a:pt x="96110" y="444368"/>
                  <a:pt x="288330" y="266700"/>
                </a:cubicBezTo>
                <a:cubicBezTo>
                  <a:pt x="480549" y="88900"/>
                  <a:pt x="721320" y="0"/>
                  <a:pt x="1010642" y="0"/>
                </a:cubicBezTo>
                <a:cubicBezTo>
                  <a:pt x="1304197" y="0"/>
                  <a:pt x="1547085" y="88900"/>
                  <a:pt x="1739305" y="266700"/>
                </a:cubicBezTo>
                <a:cubicBezTo>
                  <a:pt x="1931524" y="444368"/>
                  <a:pt x="2027634" y="675879"/>
                  <a:pt x="2027634" y="961232"/>
                </a:cubicBezTo>
                <a:cubicBezTo>
                  <a:pt x="2027634" y="1242351"/>
                  <a:pt x="1932517" y="1470753"/>
                  <a:pt x="1742281" y="1646436"/>
                </a:cubicBezTo>
                <a:cubicBezTo>
                  <a:pt x="1552178" y="1822120"/>
                  <a:pt x="1308298" y="1909961"/>
                  <a:pt x="1010642" y="1909961"/>
                </a:cubicBezTo>
                <a:cubicBezTo>
                  <a:pt x="717219" y="1909961"/>
                  <a:pt x="475390" y="1822120"/>
                  <a:pt x="285155" y="1646436"/>
                </a:cubicBezTo>
                <a:cubicBezTo>
                  <a:pt x="95051" y="1470753"/>
                  <a:pt x="0" y="1242351"/>
                  <a:pt x="0" y="96123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1" name="Freeform 3371"/>
          <p:cNvSpPr/>
          <p:nvPr/>
        </p:nvSpPr>
        <p:spPr>
          <a:xfrm>
            <a:off x="2411210" y="4037474"/>
            <a:ext cx="56107" cy="72237"/>
          </a:xfrm>
          <a:custGeom>
            <a:avLst/>
            <a:gdLst/>
            <a:ahLst/>
            <a:cxnLst/>
            <a:rect l="0" t="0" r="0" b="0"/>
            <a:pathLst>
              <a:path w="7013377" h="9029700">
                <a:moveTo>
                  <a:pt x="2288183" y="4967288"/>
                </a:moveTo>
                <a:lnTo>
                  <a:pt x="1190625" y="49672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975100"/>
                </a:lnTo>
                <a:lnTo>
                  <a:pt x="2120702" y="3975100"/>
                </a:lnTo>
                <a:lnTo>
                  <a:pt x="5277049" y="0"/>
                </a:lnTo>
                <a:lnTo>
                  <a:pt x="6759178" y="0"/>
                </a:lnTo>
                <a:lnTo>
                  <a:pt x="3311327" y="4371975"/>
                </a:lnTo>
                <a:lnTo>
                  <a:pt x="7013377" y="9029700"/>
                </a:lnTo>
                <a:lnTo>
                  <a:pt x="5556250" y="90297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2" name="Freeform 3372"/>
          <p:cNvSpPr/>
          <p:nvPr/>
        </p:nvSpPr>
        <p:spPr>
          <a:xfrm>
            <a:off x="2473013" y="4055051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3" name="Freeform 3373"/>
          <p:cNvSpPr/>
          <p:nvPr/>
        </p:nvSpPr>
        <p:spPr>
          <a:xfrm>
            <a:off x="2530514" y="4056067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4" name="Freeform 3374"/>
          <p:cNvSpPr/>
          <p:nvPr/>
        </p:nvSpPr>
        <p:spPr>
          <a:xfrm>
            <a:off x="2585378" y="4056067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5" name="Freeform 3375"/>
          <p:cNvSpPr/>
          <p:nvPr/>
        </p:nvSpPr>
        <p:spPr>
          <a:xfrm>
            <a:off x="2644050" y="4056067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6" name="Freeform 3376"/>
          <p:cNvSpPr/>
          <p:nvPr/>
        </p:nvSpPr>
        <p:spPr>
          <a:xfrm>
            <a:off x="1231909" y="4179892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7" name="Freeform 3377"/>
          <p:cNvSpPr/>
          <p:nvPr/>
        </p:nvSpPr>
        <p:spPr>
          <a:xfrm>
            <a:off x="1289738" y="4178876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8" name="Freeform 3378"/>
          <p:cNvSpPr/>
          <p:nvPr/>
        </p:nvSpPr>
        <p:spPr>
          <a:xfrm>
            <a:off x="1344306" y="4178876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79" name="Freeform 3379"/>
          <p:cNvSpPr/>
          <p:nvPr/>
        </p:nvSpPr>
        <p:spPr>
          <a:xfrm>
            <a:off x="1402664" y="4157337"/>
            <a:ext cx="63747" cy="96824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0" name="Freeform 3380"/>
          <p:cNvSpPr/>
          <p:nvPr/>
        </p:nvSpPr>
        <p:spPr>
          <a:xfrm>
            <a:off x="1475976" y="4178876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1" name="Freeform 3381"/>
          <p:cNvSpPr/>
          <p:nvPr/>
        </p:nvSpPr>
        <p:spPr>
          <a:xfrm>
            <a:off x="1529673" y="4178876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2" name="Freeform 3382"/>
          <p:cNvSpPr/>
          <p:nvPr/>
        </p:nvSpPr>
        <p:spPr>
          <a:xfrm>
            <a:off x="1582810" y="4178876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3" name="Freeform 3383"/>
          <p:cNvSpPr/>
          <p:nvPr/>
        </p:nvSpPr>
        <p:spPr>
          <a:xfrm>
            <a:off x="1639122" y="4179892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4" name="Freeform 3384"/>
          <p:cNvSpPr/>
          <p:nvPr/>
        </p:nvSpPr>
        <p:spPr>
          <a:xfrm>
            <a:off x="1692338" y="4179892"/>
            <a:ext cx="45640" cy="53644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5" name="Freeform 3385"/>
          <p:cNvSpPr/>
          <p:nvPr/>
        </p:nvSpPr>
        <p:spPr>
          <a:xfrm>
            <a:off x="1753471" y="4179892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6" name="Freeform 3386"/>
          <p:cNvSpPr/>
          <p:nvPr/>
        </p:nvSpPr>
        <p:spPr>
          <a:xfrm>
            <a:off x="1853803" y="4179892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7" name="Freeform 3387"/>
          <p:cNvSpPr/>
          <p:nvPr/>
        </p:nvSpPr>
        <p:spPr>
          <a:xfrm>
            <a:off x="1909198" y="4178876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8" name="Freeform 3388"/>
          <p:cNvSpPr/>
          <p:nvPr/>
        </p:nvSpPr>
        <p:spPr>
          <a:xfrm>
            <a:off x="1987991" y="4178876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89" name="Freeform 3389"/>
          <p:cNvSpPr/>
          <p:nvPr/>
        </p:nvSpPr>
        <p:spPr>
          <a:xfrm>
            <a:off x="2038548" y="4179892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0" name="Freeform 3390"/>
          <p:cNvSpPr/>
          <p:nvPr/>
        </p:nvSpPr>
        <p:spPr>
          <a:xfrm>
            <a:off x="2087814" y="4178876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1" name="Freeform 3391"/>
          <p:cNvSpPr/>
          <p:nvPr/>
        </p:nvSpPr>
        <p:spPr>
          <a:xfrm>
            <a:off x="2148951" y="4179892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2" name="Freeform 3392"/>
          <p:cNvSpPr/>
          <p:nvPr/>
        </p:nvSpPr>
        <p:spPr>
          <a:xfrm>
            <a:off x="2201819" y="4179892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3" name="Freeform 3393"/>
          <p:cNvSpPr/>
          <p:nvPr/>
        </p:nvSpPr>
        <p:spPr>
          <a:xfrm>
            <a:off x="2274790" y="4179892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4" name="Freeform 3394"/>
          <p:cNvSpPr/>
          <p:nvPr/>
        </p:nvSpPr>
        <p:spPr>
          <a:xfrm>
            <a:off x="2326865" y="4179790"/>
            <a:ext cx="42365" cy="53746"/>
          </a:xfrm>
          <a:custGeom>
            <a:avLst/>
            <a:gdLst/>
            <a:ahLst/>
            <a:cxnLst/>
            <a:rect l="0" t="0" r="0" b="0"/>
            <a:pathLst>
              <a:path w="5295701" h="6718300">
                <a:moveTo>
                  <a:pt x="5295701" y="6718300"/>
                </a:moveTo>
                <a:lnTo>
                  <a:pt x="4142383" y="6718300"/>
                </a:lnTo>
                <a:lnTo>
                  <a:pt x="4142383" y="4287441"/>
                </a:lnTo>
                <a:cubicBezTo>
                  <a:pt x="3637955" y="4419733"/>
                  <a:pt x="3121157" y="4485879"/>
                  <a:pt x="2591990" y="4485879"/>
                </a:cubicBezTo>
                <a:cubicBezTo>
                  <a:pt x="1752865" y="4485879"/>
                  <a:pt x="1113102" y="4270772"/>
                  <a:pt x="672703" y="3840560"/>
                </a:cubicBezTo>
                <a:cubicBezTo>
                  <a:pt x="232436" y="3410347"/>
                  <a:pt x="8202" y="2798168"/>
                  <a:pt x="0" y="2004021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2041525"/>
                </a:lnTo>
                <a:cubicBezTo>
                  <a:pt x="1167805" y="3042709"/>
                  <a:pt x="1649412" y="3543300"/>
                  <a:pt x="2591990" y="3543300"/>
                </a:cubicBezTo>
                <a:cubicBezTo>
                  <a:pt x="3121157" y="3543300"/>
                  <a:pt x="3637955" y="3477221"/>
                  <a:pt x="4142383" y="3345061"/>
                </a:cubicBezTo>
                <a:lnTo>
                  <a:pt x="4142383" y="12700"/>
                </a:lnTo>
                <a:lnTo>
                  <a:pt x="5295701" y="127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5" name="Freeform 3395"/>
          <p:cNvSpPr/>
          <p:nvPr/>
        </p:nvSpPr>
        <p:spPr>
          <a:xfrm>
            <a:off x="2384663" y="4179892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6" name="Freeform 3396"/>
          <p:cNvSpPr/>
          <p:nvPr/>
        </p:nvSpPr>
        <p:spPr>
          <a:xfrm>
            <a:off x="2437531" y="4179892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7" name="Freeform 3397"/>
          <p:cNvSpPr/>
          <p:nvPr/>
        </p:nvSpPr>
        <p:spPr>
          <a:xfrm>
            <a:off x="2492103" y="4179892"/>
            <a:ext cx="42862" cy="53644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8" name="Freeform 3398"/>
          <p:cNvSpPr/>
          <p:nvPr/>
        </p:nvSpPr>
        <p:spPr>
          <a:xfrm>
            <a:off x="2543946" y="4178876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399" name="Freeform 3399"/>
          <p:cNvSpPr/>
          <p:nvPr/>
        </p:nvSpPr>
        <p:spPr>
          <a:xfrm>
            <a:off x="2594851" y="4179892"/>
            <a:ext cx="45640" cy="53644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00" name="Freeform 3400"/>
          <p:cNvSpPr/>
          <p:nvPr/>
        </p:nvSpPr>
        <p:spPr>
          <a:xfrm>
            <a:off x="2651917" y="4160283"/>
            <a:ext cx="40233" cy="73761"/>
          </a:xfrm>
          <a:custGeom>
            <a:avLst/>
            <a:gdLst/>
            <a:ahLst/>
            <a:cxnLst/>
            <a:rect l="0" t="0" r="0" b="0"/>
            <a:pathLst>
              <a:path w="5029200" h="9220200">
                <a:moveTo>
                  <a:pt x="1748631" y="6609557"/>
                </a:moveTo>
                <a:cubicBezTo>
                  <a:pt x="1756966" y="6117696"/>
                  <a:pt x="1812793" y="5729156"/>
                  <a:pt x="1916113" y="5443935"/>
                </a:cubicBezTo>
                <a:cubicBezTo>
                  <a:pt x="2019432" y="5158714"/>
                  <a:pt x="2230305" y="4842471"/>
                  <a:pt x="2548731" y="4495205"/>
                </a:cubicBezTo>
                <a:lnTo>
                  <a:pt x="3360936" y="3658196"/>
                </a:lnTo>
                <a:cubicBezTo>
                  <a:pt x="3708202" y="3265554"/>
                  <a:pt x="3881834" y="2843940"/>
                  <a:pt x="3881834" y="2393355"/>
                </a:cubicBezTo>
                <a:cubicBezTo>
                  <a:pt x="3881834" y="1959438"/>
                  <a:pt x="3768130" y="1619515"/>
                  <a:pt x="3540720" y="1373585"/>
                </a:cubicBezTo>
                <a:cubicBezTo>
                  <a:pt x="3313443" y="1127655"/>
                  <a:pt x="2982780" y="1004690"/>
                  <a:pt x="2548731" y="1004690"/>
                </a:cubicBezTo>
                <a:cubicBezTo>
                  <a:pt x="2126985" y="1004690"/>
                  <a:pt x="1787922" y="1116344"/>
                  <a:pt x="1531541" y="1339652"/>
                </a:cubicBezTo>
                <a:cubicBezTo>
                  <a:pt x="1275292" y="1562828"/>
                  <a:pt x="1147167" y="1862469"/>
                  <a:pt x="1147167" y="2238574"/>
                </a:cubicBezTo>
                <a:lnTo>
                  <a:pt x="0" y="2238574"/>
                </a:lnTo>
                <a:cubicBezTo>
                  <a:pt x="8202" y="1568913"/>
                  <a:pt x="246922" y="1028436"/>
                  <a:pt x="716161" y="617141"/>
                </a:cubicBezTo>
                <a:cubicBezTo>
                  <a:pt x="1185400" y="205714"/>
                  <a:pt x="1796256" y="0"/>
                  <a:pt x="2548731" y="0"/>
                </a:cubicBezTo>
                <a:cubicBezTo>
                  <a:pt x="3330046" y="0"/>
                  <a:pt x="3938786" y="209815"/>
                  <a:pt x="4374952" y="629444"/>
                </a:cubicBezTo>
                <a:cubicBezTo>
                  <a:pt x="4811117" y="1048941"/>
                  <a:pt x="5029200" y="1624476"/>
                  <a:pt x="5029200" y="2356049"/>
                </a:cubicBezTo>
                <a:cubicBezTo>
                  <a:pt x="5029200" y="3079420"/>
                  <a:pt x="4694304" y="3792472"/>
                  <a:pt x="4024511" y="4495205"/>
                </a:cubicBezTo>
                <a:lnTo>
                  <a:pt x="3348633" y="5164932"/>
                </a:lnTo>
                <a:cubicBezTo>
                  <a:pt x="3046876" y="5499762"/>
                  <a:pt x="2895997" y="5981304"/>
                  <a:pt x="2895997" y="6609557"/>
                </a:cubicBezTo>
                <a:close/>
                <a:moveTo>
                  <a:pt x="1699022" y="8575279"/>
                </a:moveTo>
                <a:cubicBezTo>
                  <a:pt x="1699022" y="8389144"/>
                  <a:pt x="1755841" y="8233040"/>
                  <a:pt x="1869480" y="8106966"/>
                </a:cubicBezTo>
                <a:cubicBezTo>
                  <a:pt x="1983250" y="7980892"/>
                  <a:pt x="2151724" y="7917855"/>
                  <a:pt x="2374900" y="7917855"/>
                </a:cubicBezTo>
                <a:cubicBezTo>
                  <a:pt x="2598208" y="7917855"/>
                  <a:pt x="2767740" y="7980892"/>
                  <a:pt x="2883495" y="8106966"/>
                </a:cubicBezTo>
                <a:cubicBezTo>
                  <a:pt x="2999251" y="8233040"/>
                  <a:pt x="3057128" y="8389144"/>
                  <a:pt x="3057128" y="8575279"/>
                </a:cubicBezTo>
                <a:cubicBezTo>
                  <a:pt x="3057128" y="8761281"/>
                  <a:pt x="2999251" y="8915268"/>
                  <a:pt x="2883495" y="9037241"/>
                </a:cubicBezTo>
                <a:cubicBezTo>
                  <a:pt x="2767740" y="9159213"/>
                  <a:pt x="2598208" y="9220200"/>
                  <a:pt x="2374900" y="9220200"/>
                </a:cubicBezTo>
                <a:cubicBezTo>
                  <a:pt x="2151724" y="9220200"/>
                  <a:pt x="1983250" y="9159213"/>
                  <a:pt x="1869480" y="9037241"/>
                </a:cubicBezTo>
                <a:cubicBezTo>
                  <a:pt x="1755841" y="8915268"/>
                  <a:pt x="1699022" y="8761281"/>
                  <a:pt x="1699022" y="857527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01" name="Rectangle 3401"/>
          <p:cNvSpPr/>
          <p:nvPr/>
        </p:nvSpPr>
        <p:spPr>
          <a:xfrm>
            <a:off x="5059119" y="423857"/>
            <a:ext cx="272162" cy="304800"/>
          </a:xfrm>
          <a:prstGeom prst="rect">
            <a:avLst/>
          </a:prstGeom>
        </p:spPr>
      </p:sp>
      <p:sp>
        <p:nvSpPr>
          <p:cNvPr id="3402" name="Freeform 3402"/>
          <p:cNvSpPr/>
          <p:nvPr/>
        </p:nvSpPr>
        <p:spPr>
          <a:xfrm>
            <a:off x="5069787" y="482023"/>
            <a:ext cx="121789" cy="184911"/>
          </a:xfrm>
          <a:custGeom>
            <a:avLst/>
            <a:gdLst/>
            <a:ahLst/>
            <a:cxnLst/>
            <a:rect l="0" t="0" r="0" b="0"/>
            <a:pathLst>
              <a:path w="6089451" h="9245600">
                <a:moveTo>
                  <a:pt x="4272557" y="5546130"/>
                </a:moveTo>
                <a:cubicBezTo>
                  <a:pt x="3805435" y="6005050"/>
                  <a:pt x="3259732" y="6234510"/>
                  <a:pt x="2635448" y="6234510"/>
                </a:cubicBezTo>
                <a:cubicBezTo>
                  <a:pt x="1837597" y="6234510"/>
                  <a:pt x="1198893" y="5960534"/>
                  <a:pt x="719335" y="5412582"/>
                </a:cubicBezTo>
                <a:cubicBezTo>
                  <a:pt x="239778" y="4864630"/>
                  <a:pt x="0" y="4125384"/>
                  <a:pt x="0" y="3194844"/>
                </a:cubicBezTo>
                <a:cubicBezTo>
                  <a:pt x="0" y="2603368"/>
                  <a:pt x="129182" y="2060575"/>
                  <a:pt x="387548" y="1566466"/>
                </a:cubicBezTo>
                <a:cubicBezTo>
                  <a:pt x="645914" y="1072224"/>
                  <a:pt x="1006607" y="687586"/>
                  <a:pt x="1469628" y="412552"/>
                </a:cubicBezTo>
                <a:cubicBezTo>
                  <a:pt x="1932648" y="137518"/>
                  <a:pt x="2453547" y="0"/>
                  <a:pt x="3032323" y="0"/>
                </a:cubicBezTo>
                <a:cubicBezTo>
                  <a:pt x="3627635" y="0"/>
                  <a:pt x="4156802" y="148961"/>
                  <a:pt x="4619823" y="446882"/>
                </a:cubicBezTo>
                <a:cubicBezTo>
                  <a:pt x="5082844" y="744671"/>
                  <a:pt x="5442479" y="1172832"/>
                  <a:pt x="5698728" y="1731368"/>
                </a:cubicBezTo>
                <a:cubicBezTo>
                  <a:pt x="5955109" y="2289771"/>
                  <a:pt x="6085350" y="2928872"/>
                  <a:pt x="6089451" y="3648671"/>
                </a:cubicBezTo>
                <a:lnTo>
                  <a:pt x="6089451" y="4312643"/>
                </a:lnTo>
                <a:cubicBezTo>
                  <a:pt x="6089451" y="5818386"/>
                  <a:pt x="5715330" y="7001471"/>
                  <a:pt x="4967089" y="7861896"/>
                </a:cubicBezTo>
                <a:cubicBezTo>
                  <a:pt x="4218847" y="8722321"/>
                  <a:pt x="3158463" y="9181504"/>
                  <a:pt x="1785937" y="9239448"/>
                </a:cubicBezTo>
                <a:lnTo>
                  <a:pt x="1345604" y="9245600"/>
                </a:lnTo>
                <a:lnTo>
                  <a:pt x="1345604" y="7751168"/>
                </a:lnTo>
                <a:lnTo>
                  <a:pt x="1742479" y="7745016"/>
                </a:lnTo>
                <a:cubicBezTo>
                  <a:pt x="3301007" y="7674505"/>
                  <a:pt x="4144367" y="6941543"/>
                  <a:pt x="4272557" y="5546130"/>
                </a:cubicBezTo>
                <a:close/>
                <a:moveTo>
                  <a:pt x="3075781" y="4864100"/>
                </a:moveTo>
                <a:cubicBezTo>
                  <a:pt x="3365103" y="4864100"/>
                  <a:pt x="3614142" y="4789620"/>
                  <a:pt x="3822898" y="4640660"/>
                </a:cubicBezTo>
                <a:cubicBezTo>
                  <a:pt x="4031654" y="4491700"/>
                  <a:pt x="4189809" y="4311783"/>
                  <a:pt x="4297362" y="4100910"/>
                </a:cubicBezTo>
                <a:lnTo>
                  <a:pt x="4297362" y="3362325"/>
                </a:lnTo>
                <a:cubicBezTo>
                  <a:pt x="4297362" y="2754181"/>
                  <a:pt x="4181607" y="2282561"/>
                  <a:pt x="3950096" y="1947466"/>
                </a:cubicBezTo>
                <a:cubicBezTo>
                  <a:pt x="3718586" y="1612371"/>
                  <a:pt x="3408494" y="1444824"/>
                  <a:pt x="3019821" y="1444824"/>
                </a:cubicBezTo>
                <a:cubicBezTo>
                  <a:pt x="2660253" y="1444824"/>
                  <a:pt x="2364713" y="1609263"/>
                  <a:pt x="2133203" y="1938140"/>
                </a:cubicBezTo>
                <a:cubicBezTo>
                  <a:pt x="1901692" y="2267016"/>
                  <a:pt x="1785937" y="2679700"/>
                  <a:pt x="1785937" y="3176191"/>
                </a:cubicBezTo>
                <a:cubicBezTo>
                  <a:pt x="1785937" y="3668448"/>
                  <a:pt x="1898583" y="4072864"/>
                  <a:pt x="2123876" y="4389438"/>
                </a:cubicBezTo>
                <a:cubicBezTo>
                  <a:pt x="2349169" y="4705880"/>
                  <a:pt x="2666470" y="4864100"/>
                  <a:pt x="3075781" y="486410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25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03" name="Rectangle 3403"/>
          <p:cNvSpPr/>
          <p:nvPr/>
        </p:nvSpPr>
        <p:spPr>
          <a:xfrm>
            <a:off x="4904520" y="803333"/>
            <a:ext cx="454964" cy="121919"/>
          </a:xfrm>
          <a:prstGeom prst="rect">
            <a:avLst/>
          </a:prstGeom>
        </p:spPr>
      </p:sp>
      <p:sp>
        <p:nvSpPr>
          <p:cNvPr id="3404" name="Freeform 3404"/>
          <p:cNvSpPr/>
          <p:nvPr/>
        </p:nvSpPr>
        <p:spPr>
          <a:xfrm>
            <a:off x="4910374" y="826599"/>
            <a:ext cx="58091" cy="74269"/>
          </a:xfrm>
          <a:custGeom>
            <a:avLst/>
            <a:gdLst/>
            <a:ahLst/>
            <a:cxnLst/>
            <a:rect l="0" t="0" r="0" b="0"/>
            <a:pathLst>
              <a:path w="7261423" h="9283700">
                <a:moveTo>
                  <a:pt x="7261423" y="4933554"/>
                </a:moveTo>
                <a:cubicBezTo>
                  <a:pt x="7261423" y="5818850"/>
                  <a:pt x="7112595" y="6591433"/>
                  <a:pt x="6814939" y="7251304"/>
                </a:cubicBezTo>
                <a:cubicBezTo>
                  <a:pt x="6517283" y="7911174"/>
                  <a:pt x="6095603" y="8414875"/>
                  <a:pt x="5549900" y="8762405"/>
                </a:cubicBezTo>
                <a:cubicBezTo>
                  <a:pt x="5004197" y="9109935"/>
                  <a:pt x="4367543" y="9283700"/>
                  <a:pt x="3639939" y="9283700"/>
                </a:cubicBezTo>
                <a:cubicBezTo>
                  <a:pt x="2928871" y="9283700"/>
                  <a:pt x="2298435" y="9108943"/>
                  <a:pt x="1748631" y="8759429"/>
                </a:cubicBezTo>
                <a:cubicBezTo>
                  <a:pt x="1198827" y="8409782"/>
                  <a:pt x="771988" y="7911241"/>
                  <a:pt x="468114" y="7263805"/>
                </a:cubicBezTo>
                <a:cubicBezTo>
                  <a:pt x="164240" y="6616370"/>
                  <a:pt x="8202" y="5866475"/>
                  <a:pt x="0" y="5014119"/>
                </a:cubicBezTo>
                <a:lnTo>
                  <a:pt x="0" y="4362649"/>
                </a:lnTo>
                <a:cubicBezTo>
                  <a:pt x="0" y="3493757"/>
                  <a:pt x="150879" y="2726333"/>
                  <a:pt x="452636" y="2060377"/>
                </a:cubicBezTo>
                <a:cubicBezTo>
                  <a:pt x="754393" y="1394288"/>
                  <a:pt x="1181232" y="884371"/>
                  <a:pt x="1733153" y="530622"/>
                </a:cubicBezTo>
                <a:cubicBezTo>
                  <a:pt x="2285074" y="176874"/>
                  <a:pt x="2916568" y="0"/>
                  <a:pt x="3627636" y="0"/>
                </a:cubicBezTo>
                <a:cubicBezTo>
                  <a:pt x="4351139" y="0"/>
                  <a:pt x="4988785" y="174824"/>
                  <a:pt x="5540573" y="524471"/>
                </a:cubicBezTo>
                <a:cubicBezTo>
                  <a:pt x="6092494" y="873985"/>
                  <a:pt x="6517283" y="1380795"/>
                  <a:pt x="6814939" y="2044899"/>
                </a:cubicBezTo>
                <a:cubicBezTo>
                  <a:pt x="7112595" y="2708871"/>
                  <a:pt x="7261423" y="3481454"/>
                  <a:pt x="7261423" y="4362649"/>
                </a:cubicBezTo>
                <a:close/>
                <a:moveTo>
                  <a:pt x="6077148" y="4350147"/>
                </a:moveTo>
                <a:cubicBezTo>
                  <a:pt x="6077148" y="3278320"/>
                  <a:pt x="5862175" y="2455863"/>
                  <a:pt x="5432227" y="1882775"/>
                </a:cubicBezTo>
                <a:cubicBezTo>
                  <a:pt x="5002279" y="1309688"/>
                  <a:pt x="4400748" y="1023144"/>
                  <a:pt x="3627636" y="1023144"/>
                </a:cubicBezTo>
                <a:cubicBezTo>
                  <a:pt x="2875161" y="1023144"/>
                  <a:pt x="2282891" y="1309688"/>
                  <a:pt x="1850827" y="1882775"/>
                </a:cubicBezTo>
                <a:cubicBezTo>
                  <a:pt x="1418894" y="2455863"/>
                  <a:pt x="1196710" y="3251399"/>
                  <a:pt x="1184275" y="4269383"/>
                </a:cubicBezTo>
                <a:lnTo>
                  <a:pt x="1184275" y="4933554"/>
                </a:lnTo>
                <a:cubicBezTo>
                  <a:pt x="1184275" y="5972175"/>
                  <a:pt x="1402358" y="6788415"/>
                  <a:pt x="1838523" y="7382272"/>
                </a:cubicBezTo>
                <a:cubicBezTo>
                  <a:pt x="2274689" y="7975997"/>
                  <a:pt x="2875161" y="8272860"/>
                  <a:pt x="3639939" y="8272860"/>
                </a:cubicBezTo>
                <a:cubicBezTo>
                  <a:pt x="4408951" y="8272860"/>
                  <a:pt x="5004263" y="7992534"/>
                  <a:pt x="5425877" y="7431882"/>
                </a:cubicBezTo>
                <a:cubicBezTo>
                  <a:pt x="5847622" y="6871097"/>
                  <a:pt x="6064713" y="6067293"/>
                  <a:pt x="6077148" y="502046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05" name="Freeform 3405"/>
          <p:cNvSpPr/>
          <p:nvPr/>
        </p:nvSpPr>
        <p:spPr>
          <a:xfrm>
            <a:off x="4976303" y="846208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06" name="Freeform 3406"/>
          <p:cNvSpPr/>
          <p:nvPr/>
        </p:nvSpPr>
        <p:spPr>
          <a:xfrm>
            <a:off x="5030032" y="845192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07" name="Freeform 3407"/>
          <p:cNvSpPr/>
          <p:nvPr/>
        </p:nvSpPr>
        <p:spPr>
          <a:xfrm>
            <a:off x="5085491" y="845192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08" name="Freeform 3408"/>
          <p:cNvSpPr/>
          <p:nvPr/>
        </p:nvSpPr>
        <p:spPr>
          <a:xfrm>
            <a:off x="5139817" y="845192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09" name="Freeform 3409"/>
          <p:cNvSpPr/>
          <p:nvPr/>
        </p:nvSpPr>
        <p:spPr>
          <a:xfrm>
            <a:off x="5190573" y="846208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10" name="Freeform 3410"/>
          <p:cNvSpPr/>
          <p:nvPr/>
        </p:nvSpPr>
        <p:spPr>
          <a:xfrm>
            <a:off x="5251728" y="845192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11" name="Freeform 3411"/>
          <p:cNvSpPr/>
          <p:nvPr/>
        </p:nvSpPr>
        <p:spPr>
          <a:xfrm>
            <a:off x="5308600" y="826599"/>
            <a:ext cx="43110" cy="7325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12" name="Rectangle 3412"/>
          <p:cNvSpPr/>
          <p:nvPr/>
        </p:nvSpPr>
        <p:spPr>
          <a:xfrm>
            <a:off x="5713014" y="415930"/>
            <a:ext cx="1729664" cy="304800"/>
          </a:xfrm>
          <a:prstGeom prst="rect">
            <a:avLst/>
          </a:prstGeom>
        </p:spPr>
      </p:sp>
      <p:sp>
        <p:nvSpPr>
          <p:cNvPr id="3413" name="Freeform 3413"/>
          <p:cNvSpPr/>
          <p:nvPr/>
        </p:nvSpPr>
        <p:spPr>
          <a:xfrm>
            <a:off x="5733727" y="476381"/>
            <a:ext cx="78628" cy="180847"/>
          </a:xfrm>
          <a:custGeom>
            <a:avLst/>
            <a:gdLst/>
            <a:ahLst/>
            <a:cxnLst/>
            <a:rect l="0" t="0" r="0" b="0"/>
            <a:pathLst>
              <a:path w="3931444" h="9042400">
                <a:moveTo>
                  <a:pt x="3931444" y="9042400"/>
                </a:moveTo>
                <a:lnTo>
                  <a:pt x="2139355" y="9042400"/>
                </a:lnTo>
                <a:lnTo>
                  <a:pt x="2139355" y="2128640"/>
                </a:lnTo>
                <a:lnTo>
                  <a:pt x="0" y="2790825"/>
                </a:lnTo>
                <a:lnTo>
                  <a:pt x="0" y="1333500"/>
                </a:lnTo>
                <a:lnTo>
                  <a:pt x="3739356" y="0"/>
                </a:lnTo>
                <a:lnTo>
                  <a:pt x="393144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25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14" name="Freeform 3414"/>
          <p:cNvSpPr/>
          <p:nvPr/>
        </p:nvSpPr>
        <p:spPr>
          <a:xfrm>
            <a:off x="5871577" y="476635"/>
            <a:ext cx="122166" cy="183133"/>
          </a:xfrm>
          <a:custGeom>
            <a:avLst/>
            <a:gdLst/>
            <a:ahLst/>
            <a:cxnLst/>
            <a:rect l="0" t="0" r="0" b="0"/>
            <a:pathLst>
              <a:path w="6108303" h="9156700">
                <a:moveTo>
                  <a:pt x="229592" y="4592836"/>
                </a:moveTo>
                <a:lnTo>
                  <a:pt x="750491" y="0"/>
                </a:lnTo>
                <a:lnTo>
                  <a:pt x="5810647" y="0"/>
                </a:lnTo>
                <a:lnTo>
                  <a:pt x="5810647" y="1494433"/>
                </a:lnTo>
                <a:lnTo>
                  <a:pt x="2220119" y="1494433"/>
                </a:lnTo>
                <a:lnTo>
                  <a:pt x="1996877" y="3439915"/>
                </a:lnTo>
                <a:cubicBezTo>
                  <a:pt x="2422723" y="3212505"/>
                  <a:pt x="2875426" y="3098800"/>
                  <a:pt x="3354983" y="3098800"/>
                </a:cubicBezTo>
                <a:cubicBezTo>
                  <a:pt x="4214879" y="3098800"/>
                  <a:pt x="4888706" y="3365434"/>
                  <a:pt x="5376466" y="3898702"/>
                </a:cubicBezTo>
                <a:cubicBezTo>
                  <a:pt x="5864357" y="4431970"/>
                  <a:pt x="6108303" y="5178095"/>
                  <a:pt x="6108303" y="6137077"/>
                </a:cubicBezTo>
                <a:cubicBezTo>
                  <a:pt x="6108303" y="6719954"/>
                  <a:pt x="5985272" y="7241845"/>
                  <a:pt x="5739209" y="7702749"/>
                </a:cubicBezTo>
                <a:cubicBezTo>
                  <a:pt x="5493279" y="8163653"/>
                  <a:pt x="5140854" y="8521237"/>
                  <a:pt x="4681934" y="8775502"/>
                </a:cubicBezTo>
                <a:cubicBezTo>
                  <a:pt x="4223015" y="9029634"/>
                  <a:pt x="3681479" y="9156700"/>
                  <a:pt x="3057327" y="9156700"/>
                </a:cubicBezTo>
                <a:cubicBezTo>
                  <a:pt x="2511623" y="9156700"/>
                  <a:pt x="2005145" y="9046170"/>
                  <a:pt x="1537891" y="8825111"/>
                </a:cubicBezTo>
                <a:cubicBezTo>
                  <a:pt x="1070769" y="8603920"/>
                  <a:pt x="701807" y="8292836"/>
                  <a:pt x="431006" y="7891860"/>
                </a:cubicBezTo>
                <a:cubicBezTo>
                  <a:pt x="160205" y="7490884"/>
                  <a:pt x="16536" y="7034081"/>
                  <a:pt x="0" y="6521450"/>
                </a:cubicBezTo>
                <a:lnTo>
                  <a:pt x="1773634" y="6521450"/>
                </a:lnTo>
                <a:cubicBezTo>
                  <a:pt x="1810808" y="6897556"/>
                  <a:pt x="1942042" y="7189986"/>
                  <a:pt x="2167334" y="7398743"/>
                </a:cubicBezTo>
                <a:cubicBezTo>
                  <a:pt x="2392627" y="7607499"/>
                  <a:pt x="2687174" y="7711877"/>
                  <a:pt x="3050977" y="7711877"/>
                </a:cubicBezTo>
                <a:cubicBezTo>
                  <a:pt x="3456186" y="7711877"/>
                  <a:pt x="3768328" y="7566224"/>
                  <a:pt x="3987403" y="7274918"/>
                </a:cubicBezTo>
                <a:cubicBezTo>
                  <a:pt x="4206478" y="6983479"/>
                  <a:pt x="4316016" y="6571126"/>
                  <a:pt x="4316016" y="6037858"/>
                </a:cubicBezTo>
                <a:cubicBezTo>
                  <a:pt x="4316016" y="5525361"/>
                  <a:pt x="4189941" y="5132719"/>
                  <a:pt x="3937794" y="4859933"/>
                </a:cubicBezTo>
                <a:cubicBezTo>
                  <a:pt x="3685646" y="4587148"/>
                  <a:pt x="3328062" y="4450755"/>
                  <a:pt x="2865041" y="4450755"/>
                </a:cubicBezTo>
                <a:cubicBezTo>
                  <a:pt x="2439194" y="4450755"/>
                  <a:pt x="2093979" y="4562343"/>
                  <a:pt x="1829395" y="4785519"/>
                </a:cubicBezTo>
                <a:lnTo>
                  <a:pt x="1655762" y="494665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25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15" name="Freeform 3415"/>
          <p:cNvSpPr/>
          <p:nvPr/>
        </p:nvSpPr>
        <p:spPr>
          <a:xfrm>
            <a:off x="6015881" y="474095"/>
            <a:ext cx="122039" cy="185673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25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16" name="Freeform 3416"/>
          <p:cNvSpPr/>
          <p:nvPr/>
        </p:nvSpPr>
        <p:spPr>
          <a:xfrm>
            <a:off x="6161423" y="474095"/>
            <a:ext cx="122039" cy="185673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25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17" name="Freeform 3417"/>
          <p:cNvSpPr/>
          <p:nvPr/>
        </p:nvSpPr>
        <p:spPr>
          <a:xfrm>
            <a:off x="6888336" y="476381"/>
            <a:ext cx="78628" cy="180847"/>
          </a:xfrm>
          <a:custGeom>
            <a:avLst/>
            <a:gdLst/>
            <a:ahLst/>
            <a:cxnLst/>
            <a:rect l="0" t="0" r="0" b="0"/>
            <a:pathLst>
              <a:path w="3931444" h="9042400">
                <a:moveTo>
                  <a:pt x="3931444" y="9042400"/>
                </a:moveTo>
                <a:lnTo>
                  <a:pt x="2139355" y="9042400"/>
                </a:lnTo>
                <a:lnTo>
                  <a:pt x="2139355" y="2128640"/>
                </a:lnTo>
                <a:lnTo>
                  <a:pt x="0" y="2790825"/>
                </a:lnTo>
                <a:lnTo>
                  <a:pt x="0" y="1333500"/>
                </a:lnTo>
                <a:lnTo>
                  <a:pt x="3739356" y="0"/>
                </a:lnTo>
                <a:lnTo>
                  <a:pt x="393144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25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18" name="Freeform 3418"/>
          <p:cNvSpPr/>
          <p:nvPr/>
        </p:nvSpPr>
        <p:spPr>
          <a:xfrm>
            <a:off x="7024948" y="474095"/>
            <a:ext cx="122039" cy="185673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25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19" name="Freeform 3419"/>
          <p:cNvSpPr/>
          <p:nvPr/>
        </p:nvSpPr>
        <p:spPr>
          <a:xfrm>
            <a:off x="7170490" y="474095"/>
            <a:ext cx="122039" cy="185673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25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20" name="Freeform 3420"/>
          <p:cNvSpPr/>
          <p:nvPr/>
        </p:nvSpPr>
        <p:spPr>
          <a:xfrm>
            <a:off x="7311317" y="507643"/>
            <a:ext cx="123777" cy="131464"/>
          </a:xfrm>
          <a:custGeom>
            <a:avLst/>
            <a:gdLst/>
            <a:ahLst/>
            <a:cxnLst/>
            <a:rect l="0" t="0" r="0" b="0"/>
            <a:pathLst>
              <a:path w="6188868" h="6573242">
                <a:moveTo>
                  <a:pt x="3950295" y="2424707"/>
                </a:moveTo>
                <a:lnTo>
                  <a:pt x="6188868" y="2424707"/>
                </a:lnTo>
                <a:lnTo>
                  <a:pt x="6188868" y="4043164"/>
                </a:lnTo>
                <a:lnTo>
                  <a:pt x="3950295" y="4043164"/>
                </a:lnTo>
                <a:lnTo>
                  <a:pt x="3950295" y="6573242"/>
                </a:lnTo>
                <a:lnTo>
                  <a:pt x="2244923" y="6573242"/>
                </a:lnTo>
                <a:lnTo>
                  <a:pt x="2244923" y="4043164"/>
                </a:lnTo>
                <a:lnTo>
                  <a:pt x="0" y="4043164"/>
                </a:lnTo>
                <a:lnTo>
                  <a:pt x="0" y="2424707"/>
                </a:lnTo>
                <a:lnTo>
                  <a:pt x="2244923" y="2424707"/>
                </a:lnTo>
                <a:lnTo>
                  <a:pt x="2244923" y="0"/>
                </a:lnTo>
                <a:lnTo>
                  <a:pt x="39502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25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21" name="Rectangle 3421"/>
          <p:cNvSpPr/>
          <p:nvPr/>
        </p:nvSpPr>
        <p:spPr>
          <a:xfrm>
            <a:off x="5751114" y="795406"/>
            <a:ext cx="1628023" cy="121919"/>
          </a:xfrm>
          <a:prstGeom prst="rect">
            <a:avLst/>
          </a:prstGeom>
        </p:spPr>
      </p:sp>
      <p:sp>
        <p:nvSpPr>
          <p:cNvPr id="3422" name="Freeform 3422"/>
          <p:cNvSpPr/>
          <p:nvPr/>
        </p:nvSpPr>
        <p:spPr>
          <a:xfrm>
            <a:off x="5758407" y="818672"/>
            <a:ext cx="55611" cy="74269"/>
          </a:xfrm>
          <a:custGeom>
            <a:avLst/>
            <a:gdLst/>
            <a:ahLst/>
            <a:cxnLst/>
            <a:rect l="0" t="0" r="0" b="0"/>
            <a:pathLst>
              <a:path w="6951464" h="9283700">
                <a:moveTo>
                  <a:pt x="1196777" y="6294636"/>
                </a:moveTo>
                <a:cubicBezTo>
                  <a:pt x="1312532" y="7038777"/>
                  <a:pt x="1547151" y="7560734"/>
                  <a:pt x="1900635" y="7860507"/>
                </a:cubicBezTo>
                <a:cubicBezTo>
                  <a:pt x="2254118" y="8160280"/>
                  <a:pt x="2761589" y="8310166"/>
                  <a:pt x="3423047" y="8310166"/>
                </a:cubicBezTo>
                <a:cubicBezTo>
                  <a:pt x="4138216" y="8310166"/>
                  <a:pt x="4703498" y="8030965"/>
                  <a:pt x="5118894" y="7472561"/>
                </a:cubicBezTo>
                <a:cubicBezTo>
                  <a:pt x="5534422" y="6914026"/>
                  <a:pt x="5746354" y="6138334"/>
                  <a:pt x="5754688" y="5145485"/>
                </a:cubicBezTo>
                <a:lnTo>
                  <a:pt x="2201466" y="5145485"/>
                </a:lnTo>
                <a:lnTo>
                  <a:pt x="2201466" y="4165600"/>
                </a:lnTo>
                <a:lnTo>
                  <a:pt x="5754688" y="4165600"/>
                </a:lnTo>
                <a:cubicBezTo>
                  <a:pt x="5754688" y="3184393"/>
                  <a:pt x="5540706" y="2408172"/>
                  <a:pt x="5112743" y="1836936"/>
                </a:cubicBezTo>
                <a:cubicBezTo>
                  <a:pt x="4684911" y="1265569"/>
                  <a:pt x="4086556" y="979885"/>
                  <a:pt x="3317677" y="979885"/>
                </a:cubicBezTo>
                <a:cubicBezTo>
                  <a:pt x="2697493" y="979885"/>
                  <a:pt x="2214761" y="1141149"/>
                  <a:pt x="1869480" y="1463675"/>
                </a:cubicBezTo>
                <a:cubicBezTo>
                  <a:pt x="1524331" y="1786071"/>
                  <a:pt x="1300097" y="2306902"/>
                  <a:pt x="1196777" y="3026172"/>
                </a:cubicBezTo>
                <a:lnTo>
                  <a:pt x="0" y="3026172"/>
                </a:lnTo>
                <a:cubicBezTo>
                  <a:pt x="95118" y="2079493"/>
                  <a:pt x="432065" y="1338461"/>
                  <a:pt x="1010841" y="803077"/>
                </a:cubicBezTo>
                <a:cubicBezTo>
                  <a:pt x="1589617" y="267693"/>
                  <a:pt x="2358562" y="0"/>
                  <a:pt x="3317677" y="0"/>
                </a:cubicBezTo>
                <a:cubicBezTo>
                  <a:pt x="4045281" y="0"/>
                  <a:pt x="4684978" y="172774"/>
                  <a:pt x="5236766" y="518319"/>
                </a:cubicBezTo>
                <a:cubicBezTo>
                  <a:pt x="5788687" y="863733"/>
                  <a:pt x="6212417" y="1356056"/>
                  <a:pt x="6507957" y="1995290"/>
                </a:cubicBezTo>
                <a:cubicBezTo>
                  <a:pt x="6803629" y="2634391"/>
                  <a:pt x="6951464" y="3369734"/>
                  <a:pt x="6951464" y="4201319"/>
                </a:cubicBezTo>
                <a:lnTo>
                  <a:pt x="6951464" y="5101035"/>
                </a:lnTo>
                <a:cubicBezTo>
                  <a:pt x="6951464" y="5932620"/>
                  <a:pt x="6804687" y="6666971"/>
                  <a:pt x="6511132" y="7304088"/>
                </a:cubicBezTo>
                <a:cubicBezTo>
                  <a:pt x="6217708" y="7941205"/>
                  <a:pt x="5803305" y="8430419"/>
                  <a:pt x="5267921" y="8771732"/>
                </a:cubicBezTo>
                <a:cubicBezTo>
                  <a:pt x="4732536" y="9113044"/>
                  <a:pt x="4117579" y="9283700"/>
                  <a:pt x="3423047" y="9283700"/>
                </a:cubicBezTo>
                <a:cubicBezTo>
                  <a:pt x="2439062" y="9283700"/>
                  <a:pt x="1650471" y="9024277"/>
                  <a:pt x="1057275" y="8505429"/>
                </a:cubicBezTo>
                <a:cubicBezTo>
                  <a:pt x="464080" y="7986581"/>
                  <a:pt x="111655" y="7249650"/>
                  <a:pt x="0" y="629463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23" name="Freeform 3423"/>
          <p:cNvSpPr/>
          <p:nvPr/>
        </p:nvSpPr>
        <p:spPr>
          <a:xfrm>
            <a:off x="5827230" y="838281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24" name="Freeform 3424"/>
          <p:cNvSpPr/>
          <p:nvPr/>
        </p:nvSpPr>
        <p:spPr>
          <a:xfrm>
            <a:off x="5878208" y="837265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25" name="Freeform 3425"/>
          <p:cNvSpPr/>
          <p:nvPr/>
        </p:nvSpPr>
        <p:spPr>
          <a:xfrm>
            <a:off x="5934519" y="83828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26" name="Freeform 3426"/>
          <p:cNvSpPr/>
          <p:nvPr/>
        </p:nvSpPr>
        <p:spPr>
          <a:xfrm>
            <a:off x="5990017" y="837265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27" name="Freeform 3427"/>
          <p:cNvSpPr/>
          <p:nvPr/>
        </p:nvSpPr>
        <p:spPr>
          <a:xfrm>
            <a:off x="6046095" y="837265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28" name="Freeform 3428"/>
          <p:cNvSpPr/>
          <p:nvPr/>
        </p:nvSpPr>
        <p:spPr>
          <a:xfrm>
            <a:off x="6094169" y="838281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29" name="Freeform 3429"/>
          <p:cNvSpPr/>
          <p:nvPr/>
        </p:nvSpPr>
        <p:spPr>
          <a:xfrm>
            <a:off x="6143436" y="83726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0" name="Freeform 3430"/>
          <p:cNvSpPr/>
          <p:nvPr/>
        </p:nvSpPr>
        <p:spPr>
          <a:xfrm>
            <a:off x="6204622" y="838281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1" name="Freeform 3431"/>
          <p:cNvSpPr/>
          <p:nvPr/>
        </p:nvSpPr>
        <p:spPr>
          <a:xfrm>
            <a:off x="6849692" y="819688"/>
            <a:ext cx="54717" cy="72237"/>
          </a:xfrm>
          <a:custGeom>
            <a:avLst/>
            <a:gdLst/>
            <a:ahLst/>
            <a:cxnLst/>
            <a:rect l="0" t="0" r="0" b="0"/>
            <a:pathLst>
              <a:path w="6839744" h="9029700">
                <a:moveTo>
                  <a:pt x="6839744" y="9029700"/>
                </a:moveTo>
                <a:lnTo>
                  <a:pt x="5642968" y="9029700"/>
                </a:lnTo>
                <a:lnTo>
                  <a:pt x="5642968" y="979885"/>
                </a:lnTo>
                <a:lnTo>
                  <a:pt x="1190625" y="97988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683974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2" name="Freeform 3432"/>
          <p:cNvSpPr/>
          <p:nvPr/>
        </p:nvSpPr>
        <p:spPr>
          <a:xfrm>
            <a:off x="6920246" y="837265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3" name="Freeform 3433"/>
          <p:cNvSpPr/>
          <p:nvPr/>
        </p:nvSpPr>
        <p:spPr>
          <a:xfrm>
            <a:off x="6974814" y="837265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4" name="Freeform 3434"/>
          <p:cNvSpPr/>
          <p:nvPr/>
        </p:nvSpPr>
        <p:spPr>
          <a:xfrm>
            <a:off x="7033172" y="815726"/>
            <a:ext cx="63747" cy="96824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5" name="Freeform 3435"/>
          <p:cNvSpPr/>
          <p:nvPr/>
        </p:nvSpPr>
        <p:spPr>
          <a:xfrm>
            <a:off x="7106484" y="837265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6" name="Freeform 3436"/>
          <p:cNvSpPr/>
          <p:nvPr/>
        </p:nvSpPr>
        <p:spPr>
          <a:xfrm>
            <a:off x="7160181" y="837265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7" name="Freeform 3437"/>
          <p:cNvSpPr/>
          <p:nvPr/>
        </p:nvSpPr>
        <p:spPr>
          <a:xfrm>
            <a:off x="7213318" y="837265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8" name="Freeform 3438"/>
          <p:cNvSpPr/>
          <p:nvPr/>
        </p:nvSpPr>
        <p:spPr>
          <a:xfrm>
            <a:off x="7269629" y="838281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39" name="Freeform 3439"/>
          <p:cNvSpPr/>
          <p:nvPr/>
        </p:nvSpPr>
        <p:spPr>
          <a:xfrm>
            <a:off x="7328253" y="818672"/>
            <a:ext cx="43110" cy="7325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40" name="Rectangle 3440"/>
          <p:cNvSpPr/>
          <p:nvPr/>
        </p:nvSpPr>
        <p:spPr>
          <a:xfrm>
            <a:off x="4100181" y="2508722"/>
            <a:ext cx="1078191" cy="137160"/>
          </a:xfrm>
          <a:prstGeom prst="rect">
            <a:avLst/>
          </a:prstGeom>
        </p:spPr>
      </p:sp>
      <p:sp>
        <p:nvSpPr>
          <p:cNvPr id="3441" name="Freeform 3441"/>
          <p:cNvSpPr/>
          <p:nvPr/>
        </p:nvSpPr>
        <p:spPr>
          <a:xfrm>
            <a:off x="4107548" y="2536040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7342188" y="9029700"/>
                </a:moveTo>
                <a:lnTo>
                  <a:pt x="5475685" y="9029700"/>
                </a:lnTo>
                <a:lnTo>
                  <a:pt x="5475685" y="1506935"/>
                </a:ln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734218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42" name="Freeform 3442"/>
          <p:cNvSpPr/>
          <p:nvPr/>
        </p:nvSpPr>
        <p:spPr>
          <a:xfrm>
            <a:off x="4188247" y="2536040"/>
            <a:ext cx="62227" cy="81267"/>
          </a:xfrm>
          <a:custGeom>
            <a:avLst/>
            <a:gdLst/>
            <a:ahLst/>
            <a:cxnLst/>
            <a:rect l="0" t="0" r="0" b="0"/>
            <a:pathLst>
              <a:path w="6914158" h="9029700">
                <a:moveTo>
                  <a:pt x="1860352" y="5850335"/>
                </a:move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3522266" y="0"/>
                </a:lnTo>
                <a:cubicBezTo>
                  <a:pt x="4200260" y="0"/>
                  <a:pt x="4796565" y="124090"/>
                  <a:pt x="5311180" y="372269"/>
                </a:cubicBezTo>
                <a:cubicBezTo>
                  <a:pt x="5825927" y="620449"/>
                  <a:pt x="6221744" y="973072"/>
                  <a:pt x="6498630" y="1430140"/>
                </a:cubicBezTo>
                <a:cubicBezTo>
                  <a:pt x="6775649" y="1887075"/>
                  <a:pt x="6914158" y="2407113"/>
                  <a:pt x="6914158" y="2990255"/>
                </a:cubicBezTo>
                <a:cubicBezTo>
                  <a:pt x="6914158" y="3875419"/>
                  <a:pt x="6611342" y="4573390"/>
                  <a:pt x="6005711" y="5084168"/>
                </a:cubicBezTo>
                <a:cubicBezTo>
                  <a:pt x="5400080" y="5594946"/>
                  <a:pt x="4561880" y="5850335"/>
                  <a:pt x="3491111" y="5850335"/>
                </a:cubicBezTo>
                <a:close/>
                <a:moveTo>
                  <a:pt x="1860352" y="4343400"/>
                </a:moveTo>
                <a:lnTo>
                  <a:pt x="3522266" y="4343400"/>
                </a:lnTo>
                <a:cubicBezTo>
                  <a:pt x="4014126" y="4343400"/>
                  <a:pt x="4389239" y="4227579"/>
                  <a:pt x="4647605" y="3995936"/>
                </a:cubicBezTo>
                <a:cubicBezTo>
                  <a:pt x="4906103" y="3764161"/>
                  <a:pt x="5035352" y="3433101"/>
                  <a:pt x="5035352" y="3002757"/>
                </a:cubicBezTo>
                <a:cubicBezTo>
                  <a:pt x="5035352" y="2559976"/>
                  <a:pt x="4905110" y="2202061"/>
                  <a:pt x="4644628" y="1929011"/>
                </a:cubicBezTo>
                <a:cubicBezTo>
                  <a:pt x="4384146" y="1655961"/>
                  <a:pt x="4024445" y="1515269"/>
                  <a:pt x="3565525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43" name="Freeform 3443"/>
          <p:cNvSpPr/>
          <p:nvPr/>
        </p:nvSpPr>
        <p:spPr>
          <a:xfrm>
            <a:off x="4259515" y="2534897"/>
            <a:ext cx="69205" cy="83553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44" name="Freeform 3444"/>
          <p:cNvSpPr/>
          <p:nvPr/>
        </p:nvSpPr>
        <p:spPr>
          <a:xfrm>
            <a:off x="4337655" y="2532725"/>
            <a:ext cx="85501" cy="87896"/>
          </a:xfrm>
          <a:custGeom>
            <a:avLst/>
            <a:gdLst/>
            <a:ahLst/>
            <a:cxnLst/>
            <a:rect l="0" t="0" r="0" b="0"/>
            <a:pathLst>
              <a:path w="9500196" h="9766300">
                <a:moveTo>
                  <a:pt x="5655469" y="1181100"/>
                </a:moveTo>
                <a:lnTo>
                  <a:pt x="5767190" y="1181100"/>
                </a:lnTo>
                <a:cubicBezTo>
                  <a:pt x="6474156" y="1181100"/>
                  <a:pt x="7113919" y="1336940"/>
                  <a:pt x="7686477" y="1648619"/>
                </a:cubicBezTo>
                <a:cubicBezTo>
                  <a:pt x="8259035" y="1960166"/>
                  <a:pt x="8704461" y="2402814"/>
                  <a:pt x="9022755" y="2976563"/>
                </a:cubicBezTo>
                <a:cubicBezTo>
                  <a:pt x="9341049" y="3550312"/>
                  <a:pt x="9500196" y="4202444"/>
                  <a:pt x="9500196" y="4932958"/>
                </a:cubicBezTo>
                <a:cubicBezTo>
                  <a:pt x="9500196" y="6014443"/>
                  <a:pt x="9153988" y="6897754"/>
                  <a:pt x="8461574" y="7582893"/>
                </a:cubicBezTo>
                <a:cubicBezTo>
                  <a:pt x="7769160" y="8268031"/>
                  <a:pt x="6833791" y="8610600"/>
                  <a:pt x="5655469" y="8610600"/>
                </a:cubicBezTo>
                <a:lnTo>
                  <a:pt x="5655469" y="9766300"/>
                </a:lnTo>
                <a:lnTo>
                  <a:pt x="3863380" y="9766300"/>
                </a:lnTo>
                <a:lnTo>
                  <a:pt x="3863380" y="8610600"/>
                </a:lnTo>
                <a:lnTo>
                  <a:pt x="3745508" y="8610600"/>
                </a:lnTo>
                <a:cubicBezTo>
                  <a:pt x="3030340" y="8610600"/>
                  <a:pt x="2385418" y="8456878"/>
                  <a:pt x="1810743" y="8149432"/>
                </a:cubicBezTo>
                <a:cubicBezTo>
                  <a:pt x="1236200" y="7841854"/>
                  <a:pt x="790774" y="7409458"/>
                  <a:pt x="474465" y="6852246"/>
                </a:cubicBezTo>
                <a:cubicBezTo>
                  <a:pt x="158155" y="6295033"/>
                  <a:pt x="0" y="5659438"/>
                  <a:pt x="0" y="4945460"/>
                </a:cubicBezTo>
                <a:cubicBezTo>
                  <a:pt x="0" y="4223147"/>
                  <a:pt x="157097" y="3577167"/>
                  <a:pt x="471290" y="3007519"/>
                </a:cubicBezTo>
                <a:cubicBezTo>
                  <a:pt x="785482" y="2437871"/>
                  <a:pt x="1225749" y="1993107"/>
                  <a:pt x="1792090" y="1673225"/>
                </a:cubicBezTo>
                <a:cubicBezTo>
                  <a:pt x="2358562" y="1353344"/>
                  <a:pt x="2991115" y="1189302"/>
                  <a:pt x="3689747" y="1181100"/>
                </a:cubicBezTo>
                <a:lnTo>
                  <a:pt x="3863380" y="1181100"/>
                </a:lnTo>
                <a:lnTo>
                  <a:pt x="3863380" y="0"/>
                </a:lnTo>
                <a:lnTo>
                  <a:pt x="5655469" y="0"/>
                </a:lnTo>
                <a:close/>
                <a:moveTo>
                  <a:pt x="3745508" y="2725143"/>
                </a:moveTo>
                <a:cubicBezTo>
                  <a:pt x="3129558" y="2725143"/>
                  <a:pt x="2644842" y="2918950"/>
                  <a:pt x="2291358" y="3306565"/>
                </a:cubicBezTo>
                <a:cubicBezTo>
                  <a:pt x="1937875" y="3694047"/>
                  <a:pt x="1761133" y="4240279"/>
                  <a:pt x="1761133" y="4945261"/>
                </a:cubicBezTo>
                <a:cubicBezTo>
                  <a:pt x="1761133" y="5605000"/>
                  <a:pt x="1936817" y="6123517"/>
                  <a:pt x="2288183" y="6500813"/>
                </a:cubicBezTo>
                <a:cubicBezTo>
                  <a:pt x="2639682" y="6877977"/>
                  <a:pt x="3133725" y="7066558"/>
                  <a:pt x="3770313" y="7066558"/>
                </a:cubicBezTo>
                <a:lnTo>
                  <a:pt x="3863380" y="7066558"/>
                </a:lnTo>
                <a:lnTo>
                  <a:pt x="3863380" y="2725143"/>
                </a:lnTo>
                <a:close/>
                <a:moveTo>
                  <a:pt x="5655469" y="2725143"/>
                </a:moveTo>
                <a:lnTo>
                  <a:pt x="5655469" y="7066558"/>
                </a:lnTo>
                <a:lnTo>
                  <a:pt x="5779493" y="7066558"/>
                </a:lnTo>
                <a:cubicBezTo>
                  <a:pt x="6387241" y="7066558"/>
                  <a:pt x="6865740" y="6875860"/>
                  <a:pt x="7214990" y="6494463"/>
                </a:cubicBezTo>
                <a:cubicBezTo>
                  <a:pt x="7564372" y="6113066"/>
                  <a:pt x="7739063" y="5592565"/>
                  <a:pt x="7739063" y="4932958"/>
                </a:cubicBezTo>
                <a:cubicBezTo>
                  <a:pt x="7739063" y="4244380"/>
                  <a:pt x="7567480" y="3704300"/>
                  <a:pt x="7224316" y="3312716"/>
                </a:cubicBezTo>
                <a:cubicBezTo>
                  <a:pt x="6881284" y="2921000"/>
                  <a:pt x="6389357" y="2725143"/>
                  <a:pt x="5748536" y="272514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45" name="Freeform 3445"/>
          <p:cNvSpPr/>
          <p:nvPr/>
        </p:nvSpPr>
        <p:spPr>
          <a:xfrm>
            <a:off x="4431651" y="2534897"/>
            <a:ext cx="69205" cy="83553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46" name="Freeform 3446"/>
          <p:cNvSpPr/>
          <p:nvPr/>
        </p:nvSpPr>
        <p:spPr>
          <a:xfrm>
            <a:off x="4512973" y="2536040"/>
            <a:ext cx="62227" cy="81267"/>
          </a:xfrm>
          <a:custGeom>
            <a:avLst/>
            <a:gdLst/>
            <a:ahLst/>
            <a:cxnLst/>
            <a:rect l="0" t="0" r="0" b="0"/>
            <a:pathLst>
              <a:path w="6914158" h="9029700">
                <a:moveTo>
                  <a:pt x="1860352" y="5850335"/>
                </a:move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3522266" y="0"/>
                </a:lnTo>
                <a:cubicBezTo>
                  <a:pt x="4200260" y="0"/>
                  <a:pt x="4796565" y="124090"/>
                  <a:pt x="5311180" y="372269"/>
                </a:cubicBezTo>
                <a:cubicBezTo>
                  <a:pt x="5825927" y="620449"/>
                  <a:pt x="6221744" y="973072"/>
                  <a:pt x="6498630" y="1430140"/>
                </a:cubicBezTo>
                <a:cubicBezTo>
                  <a:pt x="6775649" y="1887075"/>
                  <a:pt x="6914158" y="2407113"/>
                  <a:pt x="6914158" y="2990255"/>
                </a:cubicBezTo>
                <a:cubicBezTo>
                  <a:pt x="6914158" y="3875419"/>
                  <a:pt x="6611342" y="4573390"/>
                  <a:pt x="6005711" y="5084168"/>
                </a:cubicBezTo>
                <a:cubicBezTo>
                  <a:pt x="5400080" y="5594946"/>
                  <a:pt x="4561880" y="5850335"/>
                  <a:pt x="3491111" y="5850335"/>
                </a:cubicBezTo>
                <a:close/>
                <a:moveTo>
                  <a:pt x="1860352" y="4343400"/>
                </a:moveTo>
                <a:lnTo>
                  <a:pt x="3522266" y="4343400"/>
                </a:lnTo>
                <a:cubicBezTo>
                  <a:pt x="4014126" y="4343400"/>
                  <a:pt x="4389239" y="4227579"/>
                  <a:pt x="4647605" y="3995936"/>
                </a:cubicBezTo>
                <a:cubicBezTo>
                  <a:pt x="4906103" y="3764161"/>
                  <a:pt x="5035352" y="3433101"/>
                  <a:pt x="5035352" y="3002757"/>
                </a:cubicBezTo>
                <a:cubicBezTo>
                  <a:pt x="5035352" y="2559976"/>
                  <a:pt x="4905110" y="2202061"/>
                  <a:pt x="4644628" y="1929011"/>
                </a:cubicBezTo>
                <a:cubicBezTo>
                  <a:pt x="4384146" y="1655961"/>
                  <a:pt x="4024445" y="1515269"/>
                  <a:pt x="3565525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47" name="Freeform 3447"/>
          <p:cNvSpPr/>
          <p:nvPr/>
        </p:nvSpPr>
        <p:spPr>
          <a:xfrm>
            <a:off x="4586138" y="2536040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48" name="Freeform 3448"/>
          <p:cNvSpPr/>
          <p:nvPr/>
        </p:nvSpPr>
        <p:spPr>
          <a:xfrm>
            <a:off x="4666707" y="2536040"/>
            <a:ext cx="54471" cy="8126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49" name="Freeform 3449"/>
          <p:cNvSpPr/>
          <p:nvPr/>
        </p:nvSpPr>
        <p:spPr>
          <a:xfrm>
            <a:off x="4730943" y="2536040"/>
            <a:ext cx="66135" cy="8126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50" name="Freeform 3450"/>
          <p:cNvSpPr/>
          <p:nvPr/>
        </p:nvSpPr>
        <p:spPr>
          <a:xfrm>
            <a:off x="4805015" y="2536040"/>
            <a:ext cx="66192" cy="81267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51" name="Freeform 3451"/>
          <p:cNvSpPr/>
          <p:nvPr/>
        </p:nvSpPr>
        <p:spPr>
          <a:xfrm>
            <a:off x="4867182" y="2536040"/>
            <a:ext cx="76180" cy="8126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52" name="Freeform 3452"/>
          <p:cNvSpPr/>
          <p:nvPr/>
        </p:nvSpPr>
        <p:spPr>
          <a:xfrm>
            <a:off x="4950129" y="2536040"/>
            <a:ext cx="77186" cy="100812"/>
          </a:xfrm>
          <a:custGeom>
            <a:avLst/>
            <a:gdLst/>
            <a:ahLst/>
            <a:cxnLst/>
            <a:rect l="0" t="0" r="0" b="0"/>
            <a:pathLst>
              <a:path w="8576270" h="11201400">
                <a:moveTo>
                  <a:pt x="0" y="0"/>
                </a:moveTo>
                <a:lnTo>
                  <a:pt x="1860352" y="0"/>
                </a:lnTo>
                <a:lnTo>
                  <a:pt x="1860352" y="7535268"/>
                </a:lnTo>
                <a:lnTo>
                  <a:pt x="5475684" y="7535268"/>
                </a:lnTo>
                <a:lnTo>
                  <a:pt x="5475684" y="0"/>
                </a:lnTo>
                <a:lnTo>
                  <a:pt x="7342188" y="0"/>
                </a:lnTo>
                <a:lnTo>
                  <a:pt x="7342188" y="7535268"/>
                </a:lnTo>
                <a:lnTo>
                  <a:pt x="8576270" y="7535268"/>
                </a:lnTo>
                <a:lnTo>
                  <a:pt x="8452247" y="11201400"/>
                </a:lnTo>
                <a:lnTo>
                  <a:pt x="6715919" y="11201400"/>
                </a:lnTo>
                <a:lnTo>
                  <a:pt x="6715919" y="9029700"/>
                </a:lnTo>
                <a:lnTo>
                  <a:pt x="0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53" name="Freeform 3453"/>
          <p:cNvSpPr/>
          <p:nvPr/>
        </p:nvSpPr>
        <p:spPr>
          <a:xfrm>
            <a:off x="5036937" y="2536040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54" name="Freeform 3454"/>
          <p:cNvSpPr/>
          <p:nvPr/>
        </p:nvSpPr>
        <p:spPr>
          <a:xfrm>
            <a:off x="5108687" y="2536040"/>
            <a:ext cx="63177" cy="81267"/>
          </a:xfrm>
          <a:custGeom>
            <a:avLst/>
            <a:gdLst/>
            <a:ahLst/>
            <a:cxnLst/>
            <a:rect l="0" t="0" r="0" b="0"/>
            <a:pathLst>
              <a:path w="7019725" h="9029700">
                <a:moveTo>
                  <a:pt x="5153222" y="9029700"/>
                </a:moveTo>
                <a:lnTo>
                  <a:pt x="5153222" y="5776516"/>
                </a:lnTo>
                <a:lnTo>
                  <a:pt x="3640136" y="5776516"/>
                </a:lnTo>
                <a:lnTo>
                  <a:pt x="2009178" y="9029700"/>
                </a:lnTo>
                <a:lnTo>
                  <a:pt x="0" y="9029700"/>
                </a:lnTo>
                <a:lnTo>
                  <a:pt x="1928613" y="5181204"/>
                </a:lnTo>
                <a:cubicBezTo>
                  <a:pt x="998470" y="4668309"/>
                  <a:pt x="533399" y="3871979"/>
                  <a:pt x="533399" y="2792215"/>
                </a:cubicBezTo>
                <a:cubicBezTo>
                  <a:pt x="533399" y="1907051"/>
                  <a:pt x="822787" y="1222508"/>
                  <a:pt x="1401563" y="738585"/>
                </a:cubicBezTo>
                <a:cubicBezTo>
                  <a:pt x="1980339" y="254530"/>
                  <a:pt x="2788509" y="8335"/>
                  <a:pt x="3826072" y="0"/>
                </a:cubicBezTo>
                <a:lnTo>
                  <a:pt x="7019725" y="0"/>
                </a:lnTo>
                <a:lnTo>
                  <a:pt x="7019725" y="9029700"/>
                </a:lnTo>
                <a:close/>
                <a:moveTo>
                  <a:pt x="2393750" y="2928541"/>
                </a:moveTo>
                <a:cubicBezTo>
                  <a:pt x="2393750" y="3433498"/>
                  <a:pt x="2516715" y="3799814"/>
                  <a:pt x="2762646" y="4027488"/>
                </a:cubicBezTo>
                <a:cubicBezTo>
                  <a:pt x="3008576" y="4255030"/>
                  <a:pt x="3377537" y="4368800"/>
                  <a:pt x="3869530" y="4368800"/>
                </a:cubicBezTo>
                <a:lnTo>
                  <a:pt x="5153222" y="4368800"/>
                </a:lnTo>
                <a:lnTo>
                  <a:pt x="5153222" y="1506935"/>
                </a:lnTo>
                <a:lnTo>
                  <a:pt x="3869530" y="1506935"/>
                </a:lnTo>
                <a:cubicBezTo>
                  <a:pt x="2885677" y="1506935"/>
                  <a:pt x="2393750" y="1980804"/>
                  <a:pt x="2393750" y="29285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55" name="Rectangle 3455"/>
          <p:cNvSpPr/>
          <p:nvPr/>
        </p:nvSpPr>
        <p:spPr>
          <a:xfrm>
            <a:off x="6470706" y="1292032"/>
            <a:ext cx="815644" cy="270510"/>
          </a:xfrm>
          <a:prstGeom prst="rect">
            <a:avLst/>
          </a:prstGeom>
        </p:spPr>
      </p:sp>
      <p:sp>
        <p:nvSpPr>
          <p:cNvPr id="3456" name="Freeform 3456"/>
          <p:cNvSpPr/>
          <p:nvPr/>
        </p:nvSpPr>
        <p:spPr>
          <a:xfrm>
            <a:off x="6477962" y="1319350"/>
            <a:ext cx="85501" cy="81267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57" name="Freeform 3457"/>
          <p:cNvSpPr/>
          <p:nvPr/>
        </p:nvSpPr>
        <p:spPr>
          <a:xfrm>
            <a:off x="6578141" y="1319350"/>
            <a:ext cx="84776" cy="81267"/>
          </a:xfrm>
          <a:custGeom>
            <a:avLst/>
            <a:gdLst/>
            <a:ahLst/>
            <a:cxnLst/>
            <a:rect l="0" t="0" r="0" b="0"/>
            <a:pathLst>
              <a:path w="9419629" h="9029700">
                <a:moveTo>
                  <a:pt x="1872853" y="3251200"/>
                </a:moveTo>
                <a:lnTo>
                  <a:pt x="3323828" y="3251200"/>
                </a:lnTo>
                <a:cubicBezTo>
                  <a:pt x="4386394" y="3251200"/>
                  <a:pt x="5228762" y="3508772"/>
                  <a:pt x="5850929" y="4023916"/>
                </a:cubicBezTo>
                <a:cubicBezTo>
                  <a:pt x="6473097" y="4539060"/>
                  <a:pt x="6784181" y="5233194"/>
                  <a:pt x="6784181" y="6106319"/>
                </a:cubicBezTo>
                <a:cubicBezTo>
                  <a:pt x="6784181" y="6983545"/>
                  <a:pt x="6475148" y="7687998"/>
                  <a:pt x="5857081" y="8219679"/>
                </a:cubicBezTo>
                <a:cubicBezTo>
                  <a:pt x="5239014" y="8751359"/>
                  <a:pt x="4417351" y="9021366"/>
                  <a:pt x="3392090" y="9029700"/>
                </a:cubicBezTo>
                <a:lnTo>
                  <a:pt x="0" y="9029700"/>
                </a:lnTo>
                <a:lnTo>
                  <a:pt x="0" y="0"/>
                </a:lnTo>
                <a:lnTo>
                  <a:pt x="1872853" y="0"/>
                </a:lnTo>
                <a:close/>
                <a:moveTo>
                  <a:pt x="9419629" y="9029700"/>
                </a:moveTo>
                <a:lnTo>
                  <a:pt x="7559278" y="9029700"/>
                </a:lnTo>
                <a:lnTo>
                  <a:pt x="7559278" y="0"/>
                </a:lnTo>
                <a:lnTo>
                  <a:pt x="9419629" y="0"/>
                </a:lnTo>
                <a:close/>
                <a:moveTo>
                  <a:pt x="1872853" y="4751983"/>
                </a:moveTo>
                <a:lnTo>
                  <a:pt x="1872853" y="7535268"/>
                </a:lnTo>
                <a:lnTo>
                  <a:pt x="3354983" y="7535268"/>
                </a:lnTo>
                <a:cubicBezTo>
                  <a:pt x="3830307" y="7535268"/>
                  <a:pt x="4209587" y="7404828"/>
                  <a:pt x="4492823" y="7143949"/>
                </a:cubicBezTo>
                <a:cubicBezTo>
                  <a:pt x="4776060" y="6882938"/>
                  <a:pt x="4917678" y="6532960"/>
                  <a:pt x="4917678" y="6094016"/>
                </a:cubicBezTo>
                <a:cubicBezTo>
                  <a:pt x="4917678" y="5683912"/>
                  <a:pt x="4782277" y="5359797"/>
                  <a:pt x="4511476" y="5121672"/>
                </a:cubicBezTo>
                <a:cubicBezTo>
                  <a:pt x="4240675" y="4883547"/>
                  <a:pt x="3869597" y="4760318"/>
                  <a:pt x="3398242" y="475198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58" name="Freeform 3458"/>
          <p:cNvSpPr/>
          <p:nvPr/>
        </p:nvSpPr>
        <p:spPr>
          <a:xfrm>
            <a:off x="6677417" y="1319350"/>
            <a:ext cx="95213" cy="81267"/>
          </a:xfrm>
          <a:custGeom>
            <a:avLst/>
            <a:gdLst/>
            <a:ahLst/>
            <a:cxnLst/>
            <a:rect l="0" t="0" r="0" b="0"/>
            <a:pathLst>
              <a:path w="10579298" h="9029700">
                <a:moveTo>
                  <a:pt x="1866503" y="0"/>
                </a:moveTo>
                <a:lnTo>
                  <a:pt x="1866503" y="7535268"/>
                </a:lnTo>
                <a:lnTo>
                  <a:pt x="4371776" y="7535268"/>
                </a:lnTo>
                <a:lnTo>
                  <a:pt x="4371776" y="0"/>
                </a:lnTo>
                <a:lnTo>
                  <a:pt x="6238478" y="0"/>
                </a:lnTo>
                <a:lnTo>
                  <a:pt x="6238478" y="7535268"/>
                </a:lnTo>
                <a:lnTo>
                  <a:pt x="8718946" y="7535268"/>
                </a:lnTo>
                <a:lnTo>
                  <a:pt x="8718946" y="0"/>
                </a:lnTo>
                <a:lnTo>
                  <a:pt x="10579298" y="0"/>
                </a:lnTo>
                <a:lnTo>
                  <a:pt x="10579298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59" name="Freeform 3459"/>
          <p:cNvSpPr/>
          <p:nvPr/>
        </p:nvSpPr>
        <p:spPr>
          <a:xfrm>
            <a:off x="6782920" y="1319350"/>
            <a:ext cx="71103" cy="81267"/>
          </a:xfrm>
          <a:custGeom>
            <a:avLst/>
            <a:gdLst/>
            <a:ahLst/>
            <a:cxnLst/>
            <a:rect l="0" t="0" r="0" b="0"/>
            <a:pathLst>
              <a:path w="7900393" h="9029700">
                <a:moveTo>
                  <a:pt x="7900393" y="0"/>
                </a:moveTo>
                <a:lnTo>
                  <a:pt x="7900393" y="9029700"/>
                </a:lnTo>
                <a:lnTo>
                  <a:pt x="6033691" y="9029700"/>
                </a:lnTo>
                <a:lnTo>
                  <a:pt x="6033691" y="1506935"/>
                </a:lnTo>
                <a:lnTo>
                  <a:pt x="3627636" y="1506935"/>
                </a:lnTo>
                <a:lnTo>
                  <a:pt x="3478808" y="4694635"/>
                </a:lnTo>
                <a:cubicBezTo>
                  <a:pt x="3416896" y="5769637"/>
                  <a:pt x="3280503" y="6616238"/>
                  <a:pt x="3069630" y="7234436"/>
                </a:cubicBezTo>
                <a:cubicBezTo>
                  <a:pt x="2858757" y="7852503"/>
                  <a:pt x="2550716" y="8305205"/>
                  <a:pt x="2145507" y="8592543"/>
                </a:cubicBezTo>
                <a:cubicBezTo>
                  <a:pt x="1740430" y="8879880"/>
                  <a:pt x="1186524" y="9025599"/>
                  <a:pt x="483791" y="9029700"/>
                </a:cubicBezTo>
                <a:lnTo>
                  <a:pt x="0" y="9029700"/>
                </a:lnTo>
                <a:lnTo>
                  <a:pt x="0" y="7535268"/>
                </a:lnTo>
                <a:lnTo>
                  <a:pt x="310158" y="7504311"/>
                </a:lnTo>
                <a:cubicBezTo>
                  <a:pt x="777280" y="7442267"/>
                  <a:pt x="1111052" y="7172458"/>
                  <a:pt x="1311474" y="6694885"/>
                </a:cubicBezTo>
                <a:cubicBezTo>
                  <a:pt x="1512028" y="6217312"/>
                  <a:pt x="1639160" y="5366611"/>
                  <a:pt x="1692871" y="4142780"/>
                </a:cubicBezTo>
                <a:lnTo>
                  <a:pt x="184804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0" name="Freeform 3460"/>
          <p:cNvSpPr/>
          <p:nvPr/>
        </p:nvSpPr>
        <p:spPr>
          <a:xfrm>
            <a:off x="6868640" y="1319350"/>
            <a:ext cx="54471" cy="8126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1" name="Freeform 3461"/>
          <p:cNvSpPr/>
          <p:nvPr/>
        </p:nvSpPr>
        <p:spPr>
          <a:xfrm>
            <a:off x="6932876" y="1319350"/>
            <a:ext cx="66135" cy="8126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2" name="Freeform 3462"/>
          <p:cNvSpPr/>
          <p:nvPr/>
        </p:nvSpPr>
        <p:spPr>
          <a:xfrm>
            <a:off x="7013013" y="1319350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3" name="Freeform 3463"/>
          <p:cNvSpPr/>
          <p:nvPr/>
        </p:nvSpPr>
        <p:spPr>
          <a:xfrm>
            <a:off x="7093582" y="1319350"/>
            <a:ext cx="54471" cy="8126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4" name="Freeform 3464"/>
          <p:cNvSpPr/>
          <p:nvPr/>
        </p:nvSpPr>
        <p:spPr>
          <a:xfrm>
            <a:off x="7183824" y="1318207"/>
            <a:ext cx="69205" cy="83553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5" name="Freeform 3465"/>
          <p:cNvSpPr/>
          <p:nvPr/>
        </p:nvSpPr>
        <p:spPr>
          <a:xfrm>
            <a:off x="6477794" y="1452700"/>
            <a:ext cx="61112" cy="81267"/>
          </a:xfrm>
          <a:custGeom>
            <a:avLst/>
            <a:gdLst/>
            <a:ahLst/>
            <a:cxnLst/>
            <a:rect l="0" t="0" r="0" b="0"/>
            <a:pathLst>
              <a:path w="6790333" h="9029700">
                <a:moveTo>
                  <a:pt x="5909667" y="1506935"/>
                </a:moveTo>
                <a:lnTo>
                  <a:pt x="1879005" y="1506935"/>
                </a:lnTo>
                <a:lnTo>
                  <a:pt x="1879005" y="3251200"/>
                </a:lnTo>
                <a:lnTo>
                  <a:pt x="3329980" y="3251200"/>
                </a:lnTo>
                <a:cubicBezTo>
                  <a:pt x="4392414" y="3251200"/>
                  <a:pt x="5234715" y="3508772"/>
                  <a:pt x="5856883" y="4023916"/>
                </a:cubicBezTo>
                <a:cubicBezTo>
                  <a:pt x="6479183" y="4539060"/>
                  <a:pt x="6790333" y="5233194"/>
                  <a:pt x="6790333" y="6106319"/>
                </a:cubicBezTo>
                <a:cubicBezTo>
                  <a:pt x="6790333" y="6983545"/>
                  <a:pt x="6481300" y="7687998"/>
                  <a:pt x="5863233" y="8219679"/>
                </a:cubicBezTo>
                <a:cubicBezTo>
                  <a:pt x="5245166" y="8751359"/>
                  <a:pt x="4423502" y="9021366"/>
                  <a:pt x="3398242" y="9029700"/>
                </a:cubicBezTo>
                <a:lnTo>
                  <a:pt x="0" y="9029700"/>
                </a:lnTo>
                <a:lnTo>
                  <a:pt x="0" y="0"/>
                </a:lnTo>
                <a:lnTo>
                  <a:pt x="5909667" y="0"/>
                </a:lnTo>
                <a:close/>
                <a:moveTo>
                  <a:pt x="1879005" y="4751983"/>
                </a:moveTo>
                <a:lnTo>
                  <a:pt x="1879005" y="7535268"/>
                </a:lnTo>
                <a:lnTo>
                  <a:pt x="3360936" y="7535268"/>
                </a:lnTo>
                <a:cubicBezTo>
                  <a:pt x="3836392" y="7535268"/>
                  <a:pt x="4215672" y="7404828"/>
                  <a:pt x="4498777" y="7143949"/>
                </a:cubicBezTo>
                <a:cubicBezTo>
                  <a:pt x="4782013" y="6882938"/>
                  <a:pt x="4923631" y="6532960"/>
                  <a:pt x="4923631" y="6094016"/>
                </a:cubicBezTo>
                <a:cubicBezTo>
                  <a:pt x="4923631" y="5683912"/>
                  <a:pt x="4788231" y="5359797"/>
                  <a:pt x="4517430" y="5121672"/>
                </a:cubicBezTo>
                <a:cubicBezTo>
                  <a:pt x="4246761" y="4883547"/>
                  <a:pt x="3875749" y="4760318"/>
                  <a:pt x="3404394" y="475198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6" name="Freeform 3466"/>
          <p:cNvSpPr/>
          <p:nvPr/>
        </p:nvSpPr>
        <p:spPr>
          <a:xfrm>
            <a:off x="6543074" y="1452700"/>
            <a:ext cx="68869" cy="82410"/>
          </a:xfrm>
          <a:custGeom>
            <a:avLst/>
            <a:gdLst/>
            <a:ahLst/>
            <a:cxnLst/>
            <a:rect l="0" t="0" r="0" b="0"/>
            <a:pathLst>
              <a:path w="7652147" h="9156700">
                <a:moveTo>
                  <a:pt x="3999707" y="4265216"/>
                </a:moveTo>
                <a:lnTo>
                  <a:pt x="5642968" y="0"/>
                </a:lnTo>
                <a:lnTo>
                  <a:pt x="7652147" y="0"/>
                </a:lnTo>
                <a:lnTo>
                  <a:pt x="4495800" y="7445574"/>
                </a:lnTo>
                <a:lnTo>
                  <a:pt x="4241602" y="7935318"/>
                </a:lnTo>
                <a:cubicBezTo>
                  <a:pt x="3774480" y="8749573"/>
                  <a:pt x="3059245" y="9156700"/>
                  <a:pt x="2095897" y="9156700"/>
                </a:cubicBezTo>
                <a:lnTo>
                  <a:pt x="1444824" y="9131895"/>
                </a:lnTo>
                <a:lnTo>
                  <a:pt x="1426171" y="7637463"/>
                </a:lnTo>
                <a:cubicBezTo>
                  <a:pt x="1525390" y="7653999"/>
                  <a:pt x="1686653" y="7662268"/>
                  <a:pt x="1909961" y="7662268"/>
                </a:cubicBezTo>
                <a:cubicBezTo>
                  <a:pt x="2170444" y="7662268"/>
                  <a:pt x="2380258" y="7616825"/>
                  <a:pt x="2539405" y="7525941"/>
                </a:cubicBezTo>
                <a:cubicBezTo>
                  <a:pt x="2698552" y="7434924"/>
                  <a:pt x="2831836" y="7267509"/>
                  <a:pt x="2939257" y="7023696"/>
                </a:cubicBezTo>
                <a:lnTo>
                  <a:pt x="3168849" y="6434733"/>
                </a:lnTo>
                <a:lnTo>
                  <a:pt x="0" y="0"/>
                </a:lnTo>
                <a:lnTo>
                  <a:pt x="20030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7" name="Freeform 3467"/>
          <p:cNvSpPr/>
          <p:nvPr/>
        </p:nvSpPr>
        <p:spPr>
          <a:xfrm>
            <a:off x="6610289" y="1452700"/>
            <a:ext cx="82544" cy="101269"/>
          </a:xfrm>
          <a:custGeom>
            <a:avLst/>
            <a:gdLst/>
            <a:ahLst/>
            <a:cxnLst/>
            <a:rect l="0" t="0" r="0" b="0"/>
            <a:pathLst>
              <a:path w="9171583" h="11252200">
                <a:moveTo>
                  <a:pt x="9022755" y="11252200"/>
                </a:moveTo>
                <a:lnTo>
                  <a:pt x="7305080" y="11252200"/>
                </a:lnTo>
                <a:lnTo>
                  <a:pt x="7305080" y="9029700"/>
                </a:lnTo>
                <a:lnTo>
                  <a:pt x="1860352" y="9029700"/>
                </a:lnTo>
                <a:lnTo>
                  <a:pt x="1860352" y="11246048"/>
                </a:lnTo>
                <a:lnTo>
                  <a:pt x="99219" y="11246048"/>
                </a:lnTo>
                <a:lnTo>
                  <a:pt x="0" y="7535268"/>
                </a:lnTo>
                <a:lnTo>
                  <a:pt x="682228" y="7535268"/>
                </a:lnTo>
                <a:cubicBezTo>
                  <a:pt x="1050131" y="7229277"/>
                  <a:pt x="1334294" y="6779618"/>
                  <a:pt x="1534716" y="6186290"/>
                </a:cubicBezTo>
                <a:cubicBezTo>
                  <a:pt x="1735270" y="5592961"/>
                  <a:pt x="1870737" y="4858081"/>
                  <a:pt x="1941116" y="3981649"/>
                </a:cubicBezTo>
                <a:lnTo>
                  <a:pt x="2201466" y="0"/>
                </a:lnTo>
                <a:lnTo>
                  <a:pt x="8117483" y="0"/>
                </a:lnTo>
                <a:lnTo>
                  <a:pt x="8117483" y="7535268"/>
                </a:lnTo>
                <a:lnTo>
                  <a:pt x="9171583" y="7535268"/>
                </a:lnTo>
                <a:close/>
                <a:moveTo>
                  <a:pt x="2815431" y="7535268"/>
                </a:moveTo>
                <a:lnTo>
                  <a:pt x="6257131" y="7535268"/>
                </a:lnTo>
                <a:lnTo>
                  <a:pt x="6257131" y="1506935"/>
                </a:lnTo>
                <a:lnTo>
                  <a:pt x="3968750" y="1506935"/>
                </a:lnTo>
                <a:lnTo>
                  <a:pt x="3813771" y="3882232"/>
                </a:lnTo>
                <a:cubicBezTo>
                  <a:pt x="3689813" y="5474097"/>
                  <a:pt x="3357034" y="6691776"/>
                  <a:pt x="2815431" y="753526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8" name="Freeform 3468"/>
          <p:cNvSpPr/>
          <p:nvPr/>
        </p:nvSpPr>
        <p:spPr>
          <a:xfrm>
            <a:off x="6696008" y="1452700"/>
            <a:ext cx="68869" cy="82410"/>
          </a:xfrm>
          <a:custGeom>
            <a:avLst/>
            <a:gdLst/>
            <a:ahLst/>
            <a:cxnLst/>
            <a:rect l="0" t="0" r="0" b="0"/>
            <a:pathLst>
              <a:path w="7652147" h="9156700">
                <a:moveTo>
                  <a:pt x="3999707" y="4265216"/>
                </a:moveTo>
                <a:lnTo>
                  <a:pt x="5642968" y="0"/>
                </a:lnTo>
                <a:lnTo>
                  <a:pt x="7652147" y="0"/>
                </a:lnTo>
                <a:lnTo>
                  <a:pt x="4495800" y="7445574"/>
                </a:lnTo>
                <a:lnTo>
                  <a:pt x="4241602" y="7935318"/>
                </a:lnTo>
                <a:cubicBezTo>
                  <a:pt x="3774480" y="8749573"/>
                  <a:pt x="3059245" y="9156700"/>
                  <a:pt x="2095897" y="9156700"/>
                </a:cubicBezTo>
                <a:lnTo>
                  <a:pt x="1444824" y="9131895"/>
                </a:lnTo>
                <a:lnTo>
                  <a:pt x="1426171" y="7637463"/>
                </a:lnTo>
                <a:cubicBezTo>
                  <a:pt x="1525390" y="7653999"/>
                  <a:pt x="1686653" y="7662268"/>
                  <a:pt x="1909961" y="7662268"/>
                </a:cubicBezTo>
                <a:cubicBezTo>
                  <a:pt x="2170444" y="7662268"/>
                  <a:pt x="2380258" y="7616825"/>
                  <a:pt x="2539405" y="7525941"/>
                </a:cubicBezTo>
                <a:cubicBezTo>
                  <a:pt x="2698552" y="7434924"/>
                  <a:pt x="2831836" y="7267509"/>
                  <a:pt x="2939257" y="7023696"/>
                </a:cubicBezTo>
                <a:lnTo>
                  <a:pt x="3168849" y="6434733"/>
                </a:lnTo>
                <a:lnTo>
                  <a:pt x="0" y="0"/>
                </a:lnTo>
                <a:lnTo>
                  <a:pt x="20030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69" name="Freeform 3469"/>
          <p:cNvSpPr/>
          <p:nvPr/>
        </p:nvSpPr>
        <p:spPr>
          <a:xfrm>
            <a:off x="6773544" y="1452700"/>
            <a:ext cx="105929" cy="100812"/>
          </a:xfrm>
          <a:custGeom>
            <a:avLst/>
            <a:gdLst/>
            <a:ahLst/>
            <a:cxnLst/>
            <a:rect l="0" t="0" r="0" b="0"/>
            <a:pathLst>
              <a:path w="11769923" h="11201400">
                <a:moveTo>
                  <a:pt x="1866503" y="0"/>
                </a:moveTo>
                <a:lnTo>
                  <a:pt x="1866503" y="7535268"/>
                </a:lnTo>
                <a:lnTo>
                  <a:pt x="4371776" y="7535268"/>
                </a:lnTo>
                <a:lnTo>
                  <a:pt x="4371776" y="0"/>
                </a:lnTo>
                <a:lnTo>
                  <a:pt x="6238478" y="0"/>
                </a:lnTo>
                <a:lnTo>
                  <a:pt x="6238478" y="7535268"/>
                </a:lnTo>
                <a:lnTo>
                  <a:pt x="8718946" y="7535268"/>
                </a:lnTo>
                <a:lnTo>
                  <a:pt x="8718946" y="0"/>
                </a:lnTo>
                <a:lnTo>
                  <a:pt x="10579298" y="0"/>
                </a:lnTo>
                <a:lnTo>
                  <a:pt x="10579298" y="7591029"/>
                </a:lnTo>
                <a:lnTo>
                  <a:pt x="11769923" y="7591029"/>
                </a:lnTo>
                <a:lnTo>
                  <a:pt x="11645900" y="11201400"/>
                </a:lnTo>
                <a:lnTo>
                  <a:pt x="9983985" y="11201400"/>
                </a:lnTo>
                <a:lnTo>
                  <a:pt x="9983985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70" name="Freeform 3470"/>
          <p:cNvSpPr/>
          <p:nvPr/>
        </p:nvSpPr>
        <p:spPr>
          <a:xfrm>
            <a:off x="6890243" y="1452700"/>
            <a:ext cx="54471" cy="8126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71" name="Freeform 3471"/>
          <p:cNvSpPr/>
          <p:nvPr/>
        </p:nvSpPr>
        <p:spPr>
          <a:xfrm>
            <a:off x="6954479" y="1452700"/>
            <a:ext cx="85501" cy="81267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72" name="Rectangle 3472"/>
          <p:cNvSpPr/>
          <p:nvPr/>
        </p:nvSpPr>
        <p:spPr>
          <a:xfrm>
            <a:off x="6470706" y="1634805"/>
            <a:ext cx="755078" cy="255269"/>
          </a:xfrm>
          <a:prstGeom prst="rect">
            <a:avLst/>
          </a:prstGeom>
        </p:spPr>
      </p:sp>
      <p:sp>
        <p:nvSpPr>
          <p:cNvPr id="3473" name="Freeform 3473"/>
          <p:cNvSpPr/>
          <p:nvPr/>
        </p:nvSpPr>
        <p:spPr>
          <a:xfrm>
            <a:off x="6479040" y="1659087"/>
            <a:ext cx="52436" cy="72237"/>
          </a:xfrm>
          <a:custGeom>
            <a:avLst/>
            <a:gdLst/>
            <a:ahLst/>
            <a:cxnLst/>
            <a:rect l="0" t="0" r="0" b="0"/>
            <a:pathLst>
              <a:path w="6554589" h="9029700">
                <a:moveTo>
                  <a:pt x="3317677" y="5380435"/>
                </a:moveTo>
                <a:lnTo>
                  <a:pt x="1196777" y="5380435"/>
                </a:lnTo>
                <a:lnTo>
                  <a:pt x="1196777" y="9029700"/>
                </a:lnTo>
                <a:lnTo>
                  <a:pt x="0" y="9029700"/>
                </a:lnTo>
                <a:lnTo>
                  <a:pt x="0" y="0"/>
                </a:lnTo>
                <a:lnTo>
                  <a:pt x="2989064" y="0"/>
                </a:lnTo>
                <a:cubicBezTo>
                  <a:pt x="4005990" y="0"/>
                  <a:pt x="4788297" y="231710"/>
                  <a:pt x="5335985" y="695127"/>
                </a:cubicBezTo>
                <a:cubicBezTo>
                  <a:pt x="5883805" y="1158413"/>
                  <a:pt x="6157714" y="1832769"/>
                  <a:pt x="6157714" y="2718197"/>
                </a:cubicBezTo>
                <a:cubicBezTo>
                  <a:pt x="6157714" y="3280834"/>
                  <a:pt x="6005777" y="3771107"/>
                  <a:pt x="5701904" y="4189016"/>
                </a:cubicBezTo>
                <a:cubicBezTo>
                  <a:pt x="5398162" y="4606793"/>
                  <a:pt x="4975490" y="4919134"/>
                  <a:pt x="4433888" y="5126038"/>
                </a:cubicBezTo>
                <a:lnTo>
                  <a:pt x="6554589" y="8955286"/>
                </a:lnTo>
                <a:lnTo>
                  <a:pt x="6554589" y="9029700"/>
                </a:lnTo>
                <a:lnTo>
                  <a:pt x="5277247" y="9029700"/>
                </a:lnTo>
                <a:close/>
                <a:moveTo>
                  <a:pt x="1196777" y="4406900"/>
                </a:moveTo>
                <a:lnTo>
                  <a:pt x="3026172" y="4406900"/>
                </a:lnTo>
                <a:cubicBezTo>
                  <a:pt x="3617384" y="4406900"/>
                  <a:pt x="4087614" y="4253773"/>
                  <a:pt x="4436864" y="3947518"/>
                </a:cubicBezTo>
                <a:cubicBezTo>
                  <a:pt x="4786247" y="3641262"/>
                  <a:pt x="4960938" y="3231489"/>
                  <a:pt x="4960938" y="2718197"/>
                </a:cubicBezTo>
                <a:cubicBezTo>
                  <a:pt x="4960938" y="2159530"/>
                  <a:pt x="4794515" y="1731169"/>
                  <a:pt x="4461669" y="1433116"/>
                </a:cubicBezTo>
                <a:cubicBezTo>
                  <a:pt x="4128956" y="1135063"/>
                  <a:pt x="3648406" y="983986"/>
                  <a:pt x="3020021" y="979885"/>
                </a:cubicBezTo>
                <a:lnTo>
                  <a:pt x="1196777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74" name="Freeform 3474"/>
          <p:cNvSpPr/>
          <p:nvPr/>
        </p:nvSpPr>
        <p:spPr>
          <a:xfrm>
            <a:off x="6538597" y="1676664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75" name="Freeform 3475"/>
          <p:cNvSpPr/>
          <p:nvPr/>
        </p:nvSpPr>
        <p:spPr>
          <a:xfrm>
            <a:off x="6595304" y="1676664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76" name="Freeform 3476"/>
          <p:cNvSpPr/>
          <p:nvPr/>
        </p:nvSpPr>
        <p:spPr>
          <a:xfrm>
            <a:off x="6652351" y="1658121"/>
            <a:ext cx="10864" cy="73204"/>
          </a:xfrm>
          <a:custGeom>
            <a:avLst/>
            <a:gdLst/>
            <a:ahLst/>
            <a:cxnLst/>
            <a:rect l="0" t="0" r="0" b="0"/>
            <a:pathLst>
              <a:path w="1358106" h="9150548">
                <a:moveTo>
                  <a:pt x="1240235" y="9150548"/>
                </a:moveTo>
                <a:lnTo>
                  <a:pt x="93067" y="9150548"/>
                </a:lnTo>
                <a:lnTo>
                  <a:pt x="93067" y="2444948"/>
                </a:lnTo>
                <a:lnTo>
                  <a:pt x="1240235" y="2444948"/>
                </a:lnTo>
                <a:close/>
                <a:moveTo>
                  <a:pt x="0" y="663575"/>
                </a:moveTo>
                <a:cubicBezTo>
                  <a:pt x="0" y="477441"/>
                  <a:pt x="56819" y="320344"/>
                  <a:pt x="170458" y="192286"/>
                </a:cubicBezTo>
                <a:cubicBezTo>
                  <a:pt x="284229" y="64095"/>
                  <a:pt x="452702" y="0"/>
                  <a:pt x="675878" y="0"/>
                </a:cubicBezTo>
                <a:cubicBezTo>
                  <a:pt x="899187" y="0"/>
                  <a:pt x="1068718" y="64095"/>
                  <a:pt x="1184474" y="192286"/>
                </a:cubicBezTo>
                <a:cubicBezTo>
                  <a:pt x="1300229" y="320344"/>
                  <a:pt x="1358106" y="477441"/>
                  <a:pt x="1358106" y="663575"/>
                </a:cubicBezTo>
                <a:cubicBezTo>
                  <a:pt x="1358106" y="849577"/>
                  <a:pt x="1300229" y="1004623"/>
                  <a:pt x="1184474" y="1128713"/>
                </a:cubicBezTo>
                <a:cubicBezTo>
                  <a:pt x="1068718" y="1252670"/>
                  <a:pt x="899187" y="1314648"/>
                  <a:pt x="675878" y="1314648"/>
                </a:cubicBezTo>
                <a:cubicBezTo>
                  <a:pt x="452702" y="1314648"/>
                  <a:pt x="284229" y="1252670"/>
                  <a:pt x="170458" y="1128713"/>
                </a:cubicBezTo>
                <a:cubicBezTo>
                  <a:pt x="56819" y="1004623"/>
                  <a:pt x="0" y="849577"/>
                  <a:pt x="0" y="6635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77" name="Freeform 3477"/>
          <p:cNvSpPr/>
          <p:nvPr/>
        </p:nvSpPr>
        <p:spPr>
          <a:xfrm>
            <a:off x="6674657" y="1655125"/>
            <a:ext cx="45292" cy="77216"/>
          </a:xfrm>
          <a:custGeom>
            <a:avLst/>
            <a:gdLst/>
            <a:ahLst/>
            <a:cxnLst/>
            <a:rect l="0" t="0" r="0" b="0"/>
            <a:pathLst>
              <a:path w="5661621" h="9652000">
                <a:moveTo>
                  <a:pt x="0" y="6116440"/>
                </a:moveTo>
                <a:cubicBezTo>
                  <a:pt x="0" y="5086681"/>
                  <a:pt x="243880" y="4258601"/>
                  <a:pt x="731640" y="3632200"/>
                </a:cubicBezTo>
                <a:cubicBezTo>
                  <a:pt x="1219531" y="3005667"/>
                  <a:pt x="1858302" y="2692400"/>
                  <a:pt x="2647950" y="2692400"/>
                </a:cubicBezTo>
                <a:cubicBezTo>
                  <a:pt x="3433366" y="2692400"/>
                  <a:pt x="4055534" y="2961217"/>
                  <a:pt x="4514454" y="3498850"/>
                </a:cubicBezTo>
                <a:lnTo>
                  <a:pt x="4514454" y="0"/>
                </a:lnTo>
                <a:lnTo>
                  <a:pt x="5661621" y="0"/>
                </a:lnTo>
                <a:lnTo>
                  <a:pt x="5661621" y="9525000"/>
                </a:lnTo>
                <a:lnTo>
                  <a:pt x="4607521" y="9525000"/>
                </a:lnTo>
                <a:lnTo>
                  <a:pt x="4551561" y="8808443"/>
                </a:lnTo>
                <a:cubicBezTo>
                  <a:pt x="4092774" y="9370815"/>
                  <a:pt x="3454070" y="9652000"/>
                  <a:pt x="2635449" y="9652000"/>
                </a:cubicBezTo>
                <a:cubicBezTo>
                  <a:pt x="1858235" y="9652000"/>
                  <a:pt x="1224691" y="9333574"/>
                  <a:pt x="734815" y="8696722"/>
                </a:cubicBezTo>
                <a:cubicBezTo>
                  <a:pt x="244938" y="8059870"/>
                  <a:pt x="0" y="7228682"/>
                  <a:pt x="0" y="6203157"/>
                </a:cubicBezTo>
                <a:close/>
                <a:moveTo>
                  <a:pt x="1147168" y="6246615"/>
                </a:moveTo>
                <a:cubicBezTo>
                  <a:pt x="1147168" y="7007556"/>
                  <a:pt x="1304264" y="7603133"/>
                  <a:pt x="1618457" y="8033346"/>
                </a:cubicBezTo>
                <a:cubicBezTo>
                  <a:pt x="1932649" y="8463426"/>
                  <a:pt x="2366765" y="8678466"/>
                  <a:pt x="2920802" y="8678466"/>
                </a:cubicBezTo>
                <a:cubicBezTo>
                  <a:pt x="3648406" y="8678466"/>
                  <a:pt x="4179623" y="8351772"/>
                  <a:pt x="4514454" y="7698383"/>
                </a:cubicBezTo>
                <a:lnTo>
                  <a:pt x="4514454" y="4615061"/>
                </a:lnTo>
                <a:cubicBezTo>
                  <a:pt x="4171289" y="3982311"/>
                  <a:pt x="3644173" y="3665935"/>
                  <a:pt x="2933105" y="3665935"/>
                </a:cubicBezTo>
                <a:cubicBezTo>
                  <a:pt x="2370866" y="3665935"/>
                  <a:pt x="1932649" y="3883092"/>
                  <a:pt x="1618457" y="4317405"/>
                </a:cubicBezTo>
                <a:cubicBezTo>
                  <a:pt x="1304264" y="4751586"/>
                  <a:pt x="1147168" y="5394656"/>
                  <a:pt x="1147168" y="62466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78" name="Freeform 3478"/>
          <p:cNvSpPr/>
          <p:nvPr/>
        </p:nvSpPr>
        <p:spPr>
          <a:xfrm>
            <a:off x="6760624" y="1659087"/>
            <a:ext cx="44748" cy="72237"/>
          </a:xfrm>
          <a:custGeom>
            <a:avLst/>
            <a:gdLst/>
            <a:ahLst/>
            <a:cxnLst/>
            <a:rect l="0" t="0" r="0" b="0"/>
            <a:pathLst>
              <a:path w="5593556" h="9029700">
                <a:moveTo>
                  <a:pt x="4979591" y="5037535"/>
                </a:moveTo>
                <a:lnTo>
                  <a:pt x="1190625" y="503753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5593556" y="0"/>
                </a:lnTo>
                <a:lnTo>
                  <a:pt x="5593556" y="979885"/>
                </a:lnTo>
                <a:lnTo>
                  <a:pt x="1190625" y="979885"/>
                </a:lnTo>
                <a:lnTo>
                  <a:pt x="1190625" y="4064000"/>
                </a:lnTo>
                <a:lnTo>
                  <a:pt x="4979591" y="4064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79" name="Freeform 3479"/>
          <p:cNvSpPr/>
          <p:nvPr/>
        </p:nvSpPr>
        <p:spPr>
          <a:xfrm>
            <a:off x="6811822" y="1676664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0" name="Freeform 3480"/>
          <p:cNvSpPr/>
          <p:nvPr/>
        </p:nvSpPr>
        <p:spPr>
          <a:xfrm>
            <a:off x="6872165" y="1676664"/>
            <a:ext cx="25946" cy="54660"/>
          </a:xfrm>
          <a:custGeom>
            <a:avLst/>
            <a:gdLst/>
            <a:ahLst/>
            <a:cxnLst/>
            <a:rect l="0" t="0" r="0" b="0"/>
            <a:pathLst>
              <a:path w="3243262" h="6832600">
                <a:moveTo>
                  <a:pt x="3243262" y="1153518"/>
                </a:moveTo>
                <a:cubicBezTo>
                  <a:pt x="3069563" y="1124546"/>
                  <a:pt x="2881444" y="1110060"/>
                  <a:pt x="2678906" y="1110060"/>
                </a:cubicBezTo>
                <a:cubicBezTo>
                  <a:pt x="1926563" y="1110060"/>
                  <a:pt x="1415983" y="1430404"/>
                  <a:pt x="1147167" y="2071093"/>
                </a:cubicBezTo>
                <a:lnTo>
                  <a:pt x="1147167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116211" y="127000"/>
                </a:lnTo>
                <a:lnTo>
                  <a:pt x="1134864" y="899121"/>
                </a:lnTo>
                <a:cubicBezTo>
                  <a:pt x="1511101" y="299707"/>
                  <a:pt x="2044369" y="0"/>
                  <a:pt x="2734667" y="0"/>
                </a:cubicBezTo>
                <a:cubicBezTo>
                  <a:pt x="2957975" y="0"/>
                  <a:pt x="3127507" y="28972"/>
                  <a:pt x="3243262" y="869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1" name="Freeform 3481"/>
          <p:cNvSpPr/>
          <p:nvPr/>
        </p:nvSpPr>
        <p:spPr>
          <a:xfrm>
            <a:off x="6903258" y="1676664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2" name="Freeform 3482"/>
          <p:cNvSpPr/>
          <p:nvPr/>
        </p:nvSpPr>
        <p:spPr>
          <a:xfrm>
            <a:off x="6957105" y="1676664"/>
            <a:ext cx="42664" cy="55676"/>
          </a:xfrm>
          <a:custGeom>
            <a:avLst/>
            <a:gdLst/>
            <a:ahLst/>
            <a:cxnLst/>
            <a:rect l="0" t="0" r="0" b="0"/>
            <a:pathLst>
              <a:path w="5333008" h="6959600">
                <a:moveTo>
                  <a:pt x="4185841" y="5055394"/>
                </a:moveTo>
                <a:cubicBezTo>
                  <a:pt x="4185841" y="4745170"/>
                  <a:pt x="4069028" y="4504267"/>
                  <a:pt x="3835400" y="4332685"/>
                </a:cubicBezTo>
                <a:cubicBezTo>
                  <a:pt x="3601773" y="4161103"/>
                  <a:pt x="3194514" y="4013267"/>
                  <a:pt x="2613621" y="3889177"/>
                </a:cubicBezTo>
                <a:cubicBezTo>
                  <a:pt x="2032860" y="3765088"/>
                  <a:pt x="1571956" y="3616193"/>
                  <a:pt x="1230908" y="3442494"/>
                </a:cubicBezTo>
                <a:cubicBezTo>
                  <a:pt x="889860" y="3268795"/>
                  <a:pt x="637646" y="3062023"/>
                  <a:pt x="474266" y="2822179"/>
                </a:cubicBezTo>
                <a:cubicBezTo>
                  <a:pt x="311018" y="2582334"/>
                  <a:pt x="229394" y="2297047"/>
                  <a:pt x="229394" y="1966318"/>
                </a:cubicBezTo>
                <a:cubicBezTo>
                  <a:pt x="229394" y="1416249"/>
                  <a:pt x="461897" y="951045"/>
                  <a:pt x="926902" y="570707"/>
                </a:cubicBezTo>
                <a:cubicBezTo>
                  <a:pt x="1392040" y="190236"/>
                  <a:pt x="1986360" y="0"/>
                  <a:pt x="2709863" y="0"/>
                </a:cubicBezTo>
                <a:cubicBezTo>
                  <a:pt x="3470540" y="0"/>
                  <a:pt x="4087548" y="196388"/>
                  <a:pt x="4560888" y="589161"/>
                </a:cubicBezTo>
                <a:cubicBezTo>
                  <a:pt x="5034228" y="981936"/>
                  <a:pt x="5270897" y="1484247"/>
                  <a:pt x="5270897" y="2096096"/>
                </a:cubicBezTo>
                <a:lnTo>
                  <a:pt x="4117579" y="2096096"/>
                </a:lnTo>
                <a:cubicBezTo>
                  <a:pt x="4117579" y="1781903"/>
                  <a:pt x="3984229" y="1511102"/>
                  <a:pt x="3717529" y="1283693"/>
                </a:cubicBezTo>
                <a:cubicBezTo>
                  <a:pt x="3450961" y="1056283"/>
                  <a:pt x="3115072" y="942579"/>
                  <a:pt x="2709863" y="942579"/>
                </a:cubicBezTo>
                <a:cubicBezTo>
                  <a:pt x="2292350" y="942579"/>
                  <a:pt x="1965722" y="1033595"/>
                  <a:pt x="1729979" y="1215629"/>
                </a:cubicBezTo>
                <a:cubicBezTo>
                  <a:pt x="1494367" y="1397530"/>
                  <a:pt x="1376561" y="1635324"/>
                  <a:pt x="1376561" y="1929011"/>
                </a:cubicBezTo>
                <a:cubicBezTo>
                  <a:pt x="1376561" y="2206162"/>
                  <a:pt x="1486099" y="2415051"/>
                  <a:pt x="1705174" y="2555677"/>
                </a:cubicBezTo>
                <a:cubicBezTo>
                  <a:pt x="1924381" y="2696303"/>
                  <a:pt x="2320264" y="2830711"/>
                  <a:pt x="2892822" y="2958902"/>
                </a:cubicBezTo>
                <a:cubicBezTo>
                  <a:pt x="3465381" y="3087093"/>
                  <a:pt x="3929394" y="3240088"/>
                  <a:pt x="4284861" y="3417888"/>
                </a:cubicBezTo>
                <a:cubicBezTo>
                  <a:pt x="4640461" y="3595688"/>
                  <a:pt x="4904053" y="3809670"/>
                  <a:pt x="5075635" y="4059833"/>
                </a:cubicBezTo>
                <a:cubicBezTo>
                  <a:pt x="5247217" y="4309997"/>
                  <a:pt x="5333008" y="4614995"/>
                  <a:pt x="5333008" y="4974829"/>
                </a:cubicBezTo>
                <a:cubicBezTo>
                  <a:pt x="5333008" y="5574374"/>
                  <a:pt x="5093229" y="6055056"/>
                  <a:pt x="4613672" y="6416874"/>
                </a:cubicBezTo>
                <a:cubicBezTo>
                  <a:pt x="4134115" y="6778692"/>
                  <a:pt x="3511947" y="6959600"/>
                  <a:pt x="2747169" y="6959600"/>
                </a:cubicBezTo>
                <a:cubicBezTo>
                  <a:pt x="2209668" y="6959600"/>
                  <a:pt x="1734212" y="6864548"/>
                  <a:pt x="1320800" y="6674446"/>
                </a:cubicBezTo>
                <a:cubicBezTo>
                  <a:pt x="907389" y="6484210"/>
                  <a:pt x="583870" y="6218569"/>
                  <a:pt x="350243" y="5877521"/>
                </a:cubicBezTo>
                <a:cubicBezTo>
                  <a:pt x="116748" y="5536473"/>
                  <a:pt x="0" y="5167511"/>
                  <a:pt x="0" y="4770636"/>
                </a:cubicBezTo>
                <a:lnTo>
                  <a:pt x="1147168" y="4770636"/>
                </a:lnTo>
                <a:cubicBezTo>
                  <a:pt x="1167805" y="5155076"/>
                  <a:pt x="1321793" y="5459942"/>
                  <a:pt x="1609130" y="5685235"/>
                </a:cubicBezTo>
                <a:cubicBezTo>
                  <a:pt x="1896468" y="5910528"/>
                  <a:pt x="2275814" y="6023174"/>
                  <a:pt x="2747169" y="6023174"/>
                </a:cubicBezTo>
                <a:cubicBezTo>
                  <a:pt x="3181218" y="6023174"/>
                  <a:pt x="3529476" y="5935332"/>
                  <a:pt x="3791943" y="5759649"/>
                </a:cubicBezTo>
                <a:cubicBezTo>
                  <a:pt x="4054542" y="5583833"/>
                  <a:pt x="4185841" y="5349082"/>
                  <a:pt x="4185841" y="50553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3" name="Freeform 3483"/>
          <p:cNvSpPr/>
          <p:nvPr/>
        </p:nvSpPr>
        <p:spPr>
          <a:xfrm>
            <a:off x="7011711" y="1658121"/>
            <a:ext cx="10864" cy="73204"/>
          </a:xfrm>
          <a:custGeom>
            <a:avLst/>
            <a:gdLst/>
            <a:ahLst/>
            <a:cxnLst/>
            <a:rect l="0" t="0" r="0" b="0"/>
            <a:pathLst>
              <a:path w="1358106" h="9150548">
                <a:moveTo>
                  <a:pt x="1240235" y="9150548"/>
                </a:moveTo>
                <a:lnTo>
                  <a:pt x="93067" y="9150548"/>
                </a:lnTo>
                <a:lnTo>
                  <a:pt x="93067" y="2444948"/>
                </a:lnTo>
                <a:lnTo>
                  <a:pt x="1240235" y="2444948"/>
                </a:lnTo>
                <a:close/>
                <a:moveTo>
                  <a:pt x="0" y="663575"/>
                </a:moveTo>
                <a:cubicBezTo>
                  <a:pt x="0" y="477441"/>
                  <a:pt x="56819" y="320344"/>
                  <a:pt x="170458" y="192286"/>
                </a:cubicBezTo>
                <a:cubicBezTo>
                  <a:pt x="284229" y="64095"/>
                  <a:pt x="452702" y="0"/>
                  <a:pt x="675878" y="0"/>
                </a:cubicBezTo>
                <a:cubicBezTo>
                  <a:pt x="899187" y="0"/>
                  <a:pt x="1068718" y="64095"/>
                  <a:pt x="1184474" y="192286"/>
                </a:cubicBezTo>
                <a:cubicBezTo>
                  <a:pt x="1300229" y="320344"/>
                  <a:pt x="1358106" y="477441"/>
                  <a:pt x="1358106" y="663575"/>
                </a:cubicBezTo>
                <a:cubicBezTo>
                  <a:pt x="1358106" y="849577"/>
                  <a:pt x="1300229" y="1004623"/>
                  <a:pt x="1184474" y="1128713"/>
                </a:cubicBezTo>
                <a:cubicBezTo>
                  <a:pt x="1068718" y="1252670"/>
                  <a:pt x="899187" y="1314648"/>
                  <a:pt x="675878" y="1314648"/>
                </a:cubicBezTo>
                <a:cubicBezTo>
                  <a:pt x="452702" y="1314648"/>
                  <a:pt x="284229" y="1252670"/>
                  <a:pt x="170458" y="1128713"/>
                </a:cubicBezTo>
                <a:cubicBezTo>
                  <a:pt x="56819" y="1004623"/>
                  <a:pt x="0" y="849577"/>
                  <a:pt x="0" y="6635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4" name="Freeform 3484"/>
          <p:cNvSpPr/>
          <p:nvPr/>
        </p:nvSpPr>
        <p:spPr>
          <a:xfrm>
            <a:off x="7034065" y="1676664"/>
            <a:ext cx="45343" cy="75793"/>
          </a:xfrm>
          <a:custGeom>
            <a:avLst/>
            <a:gdLst/>
            <a:ahLst/>
            <a:cxnLst/>
            <a:rect l="0" t="0" r="0" b="0"/>
            <a:pathLst>
              <a:path w="5667970" h="9474200">
                <a:moveTo>
                  <a:pt x="0" y="3424040"/>
                </a:moveTo>
                <a:cubicBezTo>
                  <a:pt x="0" y="2377745"/>
                  <a:pt x="241829" y="1545498"/>
                  <a:pt x="725488" y="927299"/>
                </a:cubicBezTo>
                <a:cubicBezTo>
                  <a:pt x="1209278" y="309100"/>
                  <a:pt x="1850099" y="0"/>
                  <a:pt x="2647950" y="0"/>
                </a:cubicBezTo>
                <a:cubicBezTo>
                  <a:pt x="3466438" y="0"/>
                  <a:pt x="4105143" y="289455"/>
                  <a:pt x="4564063" y="868363"/>
                </a:cubicBezTo>
                <a:lnTo>
                  <a:pt x="4619823" y="127000"/>
                </a:lnTo>
                <a:lnTo>
                  <a:pt x="5667970" y="127000"/>
                </a:lnTo>
                <a:lnTo>
                  <a:pt x="5667970" y="6672461"/>
                </a:lnTo>
                <a:cubicBezTo>
                  <a:pt x="5667970" y="7540294"/>
                  <a:pt x="5410597" y="8224176"/>
                  <a:pt x="4895850" y="8724106"/>
                </a:cubicBezTo>
                <a:cubicBezTo>
                  <a:pt x="4381103" y="9224168"/>
                  <a:pt x="3689681" y="9474200"/>
                  <a:pt x="2821583" y="9474200"/>
                </a:cubicBezTo>
                <a:cubicBezTo>
                  <a:pt x="2337925" y="9474200"/>
                  <a:pt x="1864585" y="9370946"/>
                  <a:pt x="1401564" y="9164439"/>
                </a:cubicBezTo>
                <a:cubicBezTo>
                  <a:pt x="938543" y="8958064"/>
                  <a:pt x="585060" y="8675224"/>
                  <a:pt x="341114" y="8315920"/>
                </a:cubicBezTo>
                <a:lnTo>
                  <a:pt x="936427" y="7628532"/>
                </a:lnTo>
                <a:cubicBezTo>
                  <a:pt x="1428419" y="8234693"/>
                  <a:pt x="2029950" y="8537773"/>
                  <a:pt x="2741017" y="8537773"/>
                </a:cubicBezTo>
                <a:cubicBezTo>
                  <a:pt x="3299023" y="8537773"/>
                  <a:pt x="3734065" y="8380875"/>
                  <a:pt x="4046141" y="8067079"/>
                </a:cubicBezTo>
                <a:cubicBezTo>
                  <a:pt x="4358349" y="7753283"/>
                  <a:pt x="4514453" y="7311495"/>
                  <a:pt x="4514453" y="6741716"/>
                </a:cubicBezTo>
                <a:lnTo>
                  <a:pt x="4514453" y="6165652"/>
                </a:lnTo>
                <a:cubicBezTo>
                  <a:pt x="4055533" y="6694951"/>
                  <a:pt x="3429198" y="6959600"/>
                  <a:pt x="2635448" y="6959600"/>
                </a:cubicBezTo>
                <a:cubicBezTo>
                  <a:pt x="1850033" y="6959600"/>
                  <a:pt x="1214438" y="6643291"/>
                  <a:pt x="728663" y="6010672"/>
                </a:cubicBezTo>
                <a:cubicBezTo>
                  <a:pt x="242888" y="5377921"/>
                  <a:pt x="0" y="4515710"/>
                  <a:pt x="0" y="3424040"/>
                </a:cubicBezTo>
                <a:close/>
                <a:moveTo>
                  <a:pt x="1153517" y="3554215"/>
                </a:moveTo>
                <a:cubicBezTo>
                  <a:pt x="1153517" y="4311055"/>
                  <a:pt x="1308497" y="4905574"/>
                  <a:pt x="1618456" y="5337771"/>
                </a:cubicBezTo>
                <a:cubicBezTo>
                  <a:pt x="1928548" y="5769968"/>
                  <a:pt x="2362663" y="5986066"/>
                  <a:pt x="2920802" y="5986066"/>
                </a:cubicBezTo>
                <a:cubicBezTo>
                  <a:pt x="3644305" y="5986066"/>
                  <a:pt x="4175522" y="5657255"/>
                  <a:pt x="4514453" y="4999633"/>
                </a:cubicBezTo>
                <a:lnTo>
                  <a:pt x="4514453" y="1935163"/>
                </a:lnTo>
                <a:cubicBezTo>
                  <a:pt x="4163087" y="1294078"/>
                  <a:pt x="3635970" y="973535"/>
                  <a:pt x="2933105" y="973535"/>
                </a:cubicBezTo>
                <a:cubicBezTo>
                  <a:pt x="2375098" y="973535"/>
                  <a:pt x="1938999" y="1190692"/>
                  <a:pt x="1624806" y="1625005"/>
                </a:cubicBezTo>
                <a:cubicBezTo>
                  <a:pt x="1310614" y="2059186"/>
                  <a:pt x="1153517" y="2702256"/>
                  <a:pt x="1153517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5" name="Freeform 3485"/>
          <p:cNvSpPr/>
          <p:nvPr/>
        </p:nvSpPr>
        <p:spPr>
          <a:xfrm>
            <a:off x="7093246" y="1655125"/>
            <a:ext cx="42217" cy="76200"/>
          </a:xfrm>
          <a:custGeom>
            <a:avLst/>
            <a:gdLst/>
            <a:ahLst/>
            <a:cxnLst/>
            <a:rect l="0" t="0" r="0" b="0"/>
            <a:pathLst>
              <a:path w="5277246" h="9525000">
                <a:moveTo>
                  <a:pt x="1147167" y="3628629"/>
                </a:moveTo>
                <a:cubicBezTo>
                  <a:pt x="1655696" y="3004477"/>
                  <a:pt x="2317154" y="2692400"/>
                  <a:pt x="3131542" y="2692400"/>
                </a:cubicBezTo>
                <a:cubicBezTo>
                  <a:pt x="4549576" y="2692400"/>
                  <a:pt x="5264811" y="3492236"/>
                  <a:pt x="5277246" y="5091907"/>
                </a:cubicBezTo>
                <a:lnTo>
                  <a:pt x="5277246" y="9525000"/>
                </a:lnTo>
                <a:lnTo>
                  <a:pt x="4130079" y="9525000"/>
                </a:lnTo>
                <a:lnTo>
                  <a:pt x="4130079" y="5085755"/>
                </a:lnTo>
                <a:cubicBezTo>
                  <a:pt x="4125846" y="4602097"/>
                  <a:pt x="4015184" y="4244579"/>
                  <a:pt x="3798093" y="4013200"/>
                </a:cubicBezTo>
                <a:cubicBezTo>
                  <a:pt x="3581135" y="3781690"/>
                  <a:pt x="3243196" y="3665935"/>
                  <a:pt x="2784276" y="3665935"/>
                </a:cubicBezTo>
                <a:cubicBezTo>
                  <a:pt x="2412272" y="3665935"/>
                  <a:pt x="2085710" y="3765154"/>
                  <a:pt x="1804590" y="3963591"/>
                </a:cubicBezTo>
                <a:cubicBezTo>
                  <a:pt x="1523470" y="4161896"/>
                  <a:pt x="1304329" y="4422312"/>
                  <a:pt x="1147167" y="4744840"/>
                </a:cubicBezTo>
                <a:lnTo>
                  <a:pt x="1147167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16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6" name="Freeform 3486"/>
          <p:cNvSpPr/>
          <p:nvPr/>
        </p:nvSpPr>
        <p:spPr>
          <a:xfrm>
            <a:off x="7142627" y="1664675"/>
            <a:ext cx="29221" cy="67665"/>
          </a:xfrm>
          <a:custGeom>
            <a:avLst/>
            <a:gdLst/>
            <a:ahLst/>
            <a:cxnLst/>
            <a:rect l="0" t="0" r="0" b="0"/>
            <a:pathLst>
              <a:path w="3652640" h="8458200">
                <a:moveTo>
                  <a:pt x="2368947" y="0"/>
                </a:moveTo>
                <a:lnTo>
                  <a:pt x="2368947" y="1625600"/>
                </a:lnTo>
                <a:lnTo>
                  <a:pt x="3621485" y="1625600"/>
                </a:lnTo>
                <a:lnTo>
                  <a:pt x="3621485" y="2512418"/>
                </a:lnTo>
                <a:lnTo>
                  <a:pt x="2368947" y="2512418"/>
                </a:lnTo>
                <a:lnTo>
                  <a:pt x="2368947" y="6672461"/>
                </a:lnTo>
                <a:cubicBezTo>
                  <a:pt x="2368947" y="6941014"/>
                  <a:pt x="2424708" y="7142494"/>
                  <a:pt x="2536230" y="7276902"/>
                </a:cubicBezTo>
                <a:cubicBezTo>
                  <a:pt x="2647884" y="7411178"/>
                  <a:pt x="2838120" y="7478316"/>
                  <a:pt x="3106936" y="7478316"/>
                </a:cubicBezTo>
                <a:cubicBezTo>
                  <a:pt x="3239228" y="7478316"/>
                  <a:pt x="3421129" y="7453511"/>
                  <a:pt x="3652640" y="7403902"/>
                </a:cubicBezTo>
                <a:lnTo>
                  <a:pt x="3652640" y="8334176"/>
                </a:lnTo>
                <a:cubicBezTo>
                  <a:pt x="3350750" y="8416858"/>
                  <a:pt x="3057195" y="8458200"/>
                  <a:pt x="2771974" y="8458200"/>
                </a:cubicBezTo>
                <a:cubicBezTo>
                  <a:pt x="2259344" y="8458200"/>
                  <a:pt x="1872787" y="8303221"/>
                  <a:pt x="1612305" y="7993261"/>
                </a:cubicBezTo>
                <a:cubicBezTo>
                  <a:pt x="1351955" y="7683170"/>
                  <a:pt x="1221780" y="7242969"/>
                  <a:pt x="1221780" y="6672660"/>
                </a:cubicBezTo>
                <a:lnTo>
                  <a:pt x="1221780" y="2512418"/>
                </a:lnTo>
                <a:lnTo>
                  <a:pt x="0" y="2512418"/>
                </a:lnTo>
                <a:lnTo>
                  <a:pt x="0" y="1625600"/>
                </a:lnTo>
                <a:lnTo>
                  <a:pt x="1221780" y="1625600"/>
                </a:lnTo>
                <a:lnTo>
                  <a:pt x="122178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7" name="Freeform 3487"/>
          <p:cNvSpPr/>
          <p:nvPr/>
        </p:nvSpPr>
        <p:spPr>
          <a:xfrm>
            <a:off x="6479040" y="1792437"/>
            <a:ext cx="52436" cy="72237"/>
          </a:xfrm>
          <a:custGeom>
            <a:avLst/>
            <a:gdLst/>
            <a:ahLst/>
            <a:cxnLst/>
            <a:rect l="0" t="0" r="0" b="0"/>
            <a:pathLst>
              <a:path w="6554589" h="9029700">
                <a:moveTo>
                  <a:pt x="3317677" y="5380435"/>
                </a:moveTo>
                <a:lnTo>
                  <a:pt x="1196777" y="5380435"/>
                </a:lnTo>
                <a:lnTo>
                  <a:pt x="1196777" y="9029700"/>
                </a:lnTo>
                <a:lnTo>
                  <a:pt x="0" y="9029700"/>
                </a:lnTo>
                <a:lnTo>
                  <a:pt x="0" y="0"/>
                </a:lnTo>
                <a:lnTo>
                  <a:pt x="2989064" y="0"/>
                </a:lnTo>
                <a:cubicBezTo>
                  <a:pt x="4005990" y="0"/>
                  <a:pt x="4788297" y="231710"/>
                  <a:pt x="5335985" y="695127"/>
                </a:cubicBezTo>
                <a:cubicBezTo>
                  <a:pt x="5883805" y="1158413"/>
                  <a:pt x="6157714" y="1832769"/>
                  <a:pt x="6157714" y="2718197"/>
                </a:cubicBezTo>
                <a:cubicBezTo>
                  <a:pt x="6157714" y="3280834"/>
                  <a:pt x="6005777" y="3771107"/>
                  <a:pt x="5701904" y="4189016"/>
                </a:cubicBezTo>
                <a:cubicBezTo>
                  <a:pt x="5398162" y="4606793"/>
                  <a:pt x="4975490" y="4919134"/>
                  <a:pt x="4433888" y="5126038"/>
                </a:cubicBezTo>
                <a:lnTo>
                  <a:pt x="6554589" y="8955286"/>
                </a:lnTo>
                <a:lnTo>
                  <a:pt x="6554589" y="9029700"/>
                </a:lnTo>
                <a:lnTo>
                  <a:pt x="5277247" y="9029700"/>
                </a:lnTo>
                <a:close/>
                <a:moveTo>
                  <a:pt x="1196777" y="4406900"/>
                </a:moveTo>
                <a:lnTo>
                  <a:pt x="3026172" y="4406900"/>
                </a:lnTo>
                <a:cubicBezTo>
                  <a:pt x="3617384" y="4406900"/>
                  <a:pt x="4087614" y="4253773"/>
                  <a:pt x="4436864" y="3947518"/>
                </a:cubicBezTo>
                <a:cubicBezTo>
                  <a:pt x="4786247" y="3641262"/>
                  <a:pt x="4960938" y="3231489"/>
                  <a:pt x="4960938" y="2718197"/>
                </a:cubicBezTo>
                <a:cubicBezTo>
                  <a:pt x="4960938" y="2159530"/>
                  <a:pt x="4794515" y="1731169"/>
                  <a:pt x="4461669" y="1433116"/>
                </a:cubicBezTo>
                <a:cubicBezTo>
                  <a:pt x="4128956" y="1135063"/>
                  <a:pt x="3648406" y="983986"/>
                  <a:pt x="3020021" y="979885"/>
                </a:cubicBezTo>
                <a:lnTo>
                  <a:pt x="1196777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8" name="Freeform 3488"/>
          <p:cNvSpPr/>
          <p:nvPr/>
        </p:nvSpPr>
        <p:spPr>
          <a:xfrm>
            <a:off x="6541573" y="1792437"/>
            <a:ext cx="44748" cy="72237"/>
          </a:xfrm>
          <a:custGeom>
            <a:avLst/>
            <a:gdLst/>
            <a:ahLst/>
            <a:cxnLst/>
            <a:rect l="0" t="0" r="0" b="0"/>
            <a:pathLst>
              <a:path w="5593556" h="9029700">
                <a:moveTo>
                  <a:pt x="4979591" y="5037535"/>
                </a:moveTo>
                <a:lnTo>
                  <a:pt x="1190625" y="503753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5593556" y="0"/>
                </a:lnTo>
                <a:lnTo>
                  <a:pt x="5593556" y="979885"/>
                </a:lnTo>
                <a:lnTo>
                  <a:pt x="1190625" y="979885"/>
                </a:lnTo>
                <a:lnTo>
                  <a:pt x="1190625" y="4064000"/>
                </a:lnTo>
                <a:lnTo>
                  <a:pt x="4979591" y="4064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89" name="Freeform 3489"/>
          <p:cNvSpPr/>
          <p:nvPr/>
        </p:nvSpPr>
        <p:spPr>
          <a:xfrm>
            <a:off x="6618982" y="1791421"/>
            <a:ext cx="48717" cy="73253"/>
          </a:xfrm>
          <a:custGeom>
            <a:avLst/>
            <a:gdLst/>
            <a:ahLst/>
            <a:cxnLst/>
            <a:rect l="0" t="0" r="0" b="0"/>
            <a:pathLst>
              <a:path w="6089650" h="9156700">
                <a:moveTo>
                  <a:pt x="6089650" y="9156700"/>
                </a:moveTo>
                <a:lnTo>
                  <a:pt x="173633" y="9156700"/>
                </a:lnTo>
                <a:lnTo>
                  <a:pt x="173633" y="8331994"/>
                </a:lnTo>
                <a:lnTo>
                  <a:pt x="3299023" y="4857750"/>
                </a:lnTo>
                <a:cubicBezTo>
                  <a:pt x="3762044" y="4332420"/>
                  <a:pt x="4081396" y="3905317"/>
                  <a:pt x="4257080" y="3576440"/>
                </a:cubicBezTo>
                <a:cubicBezTo>
                  <a:pt x="4432895" y="3247562"/>
                  <a:pt x="4520803" y="2907375"/>
                  <a:pt x="4520803" y="2555875"/>
                </a:cubicBezTo>
                <a:cubicBezTo>
                  <a:pt x="4520803" y="2084255"/>
                  <a:pt x="4378126" y="1697501"/>
                  <a:pt x="4092773" y="1395611"/>
                </a:cubicBezTo>
                <a:cubicBezTo>
                  <a:pt x="3807552" y="1093590"/>
                  <a:pt x="3427214" y="942579"/>
                  <a:pt x="2951758" y="942579"/>
                </a:cubicBezTo>
                <a:cubicBezTo>
                  <a:pt x="2381316" y="942579"/>
                  <a:pt x="1937941" y="1104835"/>
                  <a:pt x="1621631" y="1429346"/>
                </a:cubicBezTo>
                <a:cubicBezTo>
                  <a:pt x="1305454" y="1753857"/>
                  <a:pt x="1147366" y="2205501"/>
                  <a:pt x="1147366" y="2784277"/>
                </a:cubicBezTo>
                <a:lnTo>
                  <a:pt x="0" y="2784277"/>
                </a:lnTo>
                <a:cubicBezTo>
                  <a:pt x="0" y="1953353"/>
                  <a:pt x="267692" y="1281576"/>
                  <a:pt x="803076" y="768946"/>
                </a:cubicBezTo>
                <a:cubicBezTo>
                  <a:pt x="1338461" y="256316"/>
                  <a:pt x="2054688" y="0"/>
                  <a:pt x="2951758" y="0"/>
                </a:cubicBezTo>
                <a:cubicBezTo>
                  <a:pt x="3791016" y="0"/>
                  <a:pt x="4454525" y="220266"/>
                  <a:pt x="4942284" y="660797"/>
                </a:cubicBezTo>
                <a:cubicBezTo>
                  <a:pt x="5430176" y="1101196"/>
                  <a:pt x="5674122" y="1687447"/>
                  <a:pt x="5674122" y="2419549"/>
                </a:cubicBezTo>
                <a:cubicBezTo>
                  <a:pt x="5674122" y="3308814"/>
                  <a:pt x="5107781" y="4367610"/>
                  <a:pt x="3975100" y="5595938"/>
                </a:cubicBezTo>
                <a:lnTo>
                  <a:pt x="1556544" y="8220274"/>
                </a:lnTo>
                <a:lnTo>
                  <a:pt x="6089650" y="8220274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90" name="Freeform 3490"/>
          <p:cNvSpPr/>
          <p:nvPr/>
        </p:nvSpPr>
        <p:spPr>
          <a:xfrm>
            <a:off x="6677071" y="1791421"/>
            <a:ext cx="45591" cy="74269"/>
          </a:xfrm>
          <a:custGeom>
            <a:avLst/>
            <a:gdLst/>
            <a:ahLst/>
            <a:cxnLst/>
            <a:rect l="0" t="0" r="0" b="0"/>
            <a:pathLst>
              <a:path w="5698926" h="9283700">
                <a:moveTo>
                  <a:pt x="5698926" y="5305822"/>
                </a:moveTo>
                <a:cubicBezTo>
                  <a:pt x="5698926" y="6650435"/>
                  <a:pt x="5469466" y="7649568"/>
                  <a:pt x="5010547" y="8303221"/>
                </a:cubicBezTo>
                <a:cubicBezTo>
                  <a:pt x="4551627" y="8956874"/>
                  <a:pt x="3834341" y="9283700"/>
                  <a:pt x="2858691" y="9283700"/>
                </a:cubicBezTo>
                <a:cubicBezTo>
                  <a:pt x="1895475" y="9283700"/>
                  <a:pt x="1182357" y="8964150"/>
                  <a:pt x="719336" y="8325049"/>
                </a:cubicBezTo>
                <a:cubicBezTo>
                  <a:pt x="256315" y="7685816"/>
                  <a:pt x="16536" y="6731133"/>
                  <a:pt x="0" y="5461000"/>
                </a:cubicBezTo>
                <a:lnTo>
                  <a:pt x="0" y="3928269"/>
                </a:lnTo>
                <a:cubicBezTo>
                  <a:pt x="0" y="2600193"/>
                  <a:pt x="229394" y="1613496"/>
                  <a:pt x="688181" y="968177"/>
                </a:cubicBezTo>
                <a:cubicBezTo>
                  <a:pt x="1147101" y="322726"/>
                  <a:pt x="1866503" y="0"/>
                  <a:pt x="2846387" y="0"/>
                </a:cubicBezTo>
                <a:cubicBezTo>
                  <a:pt x="3817805" y="0"/>
                  <a:pt x="4532974" y="311349"/>
                  <a:pt x="4991894" y="934046"/>
                </a:cubicBezTo>
                <a:cubicBezTo>
                  <a:pt x="5450813" y="1556610"/>
                  <a:pt x="5686491" y="2517445"/>
                  <a:pt x="5698926" y="3816549"/>
                </a:cubicBezTo>
                <a:close/>
                <a:moveTo>
                  <a:pt x="4551561" y="3735586"/>
                </a:moveTo>
                <a:cubicBezTo>
                  <a:pt x="4551561" y="2763243"/>
                  <a:pt x="4415102" y="2054688"/>
                  <a:pt x="4142184" y="1609924"/>
                </a:cubicBezTo>
                <a:cubicBezTo>
                  <a:pt x="3869399" y="1165027"/>
                  <a:pt x="3437466" y="942579"/>
                  <a:pt x="2846387" y="942579"/>
                </a:cubicBezTo>
                <a:cubicBezTo>
                  <a:pt x="2259277" y="942579"/>
                  <a:pt x="1831380" y="1163969"/>
                  <a:pt x="1562695" y="1606749"/>
                </a:cubicBezTo>
                <a:cubicBezTo>
                  <a:pt x="1294011" y="2049529"/>
                  <a:pt x="1155501" y="2730170"/>
                  <a:pt x="1147167" y="3648671"/>
                </a:cubicBezTo>
                <a:lnTo>
                  <a:pt x="1147167" y="5486004"/>
                </a:lnTo>
                <a:cubicBezTo>
                  <a:pt x="1147167" y="6462448"/>
                  <a:pt x="1288719" y="7183438"/>
                  <a:pt x="1571823" y="7648972"/>
                </a:cubicBezTo>
                <a:cubicBezTo>
                  <a:pt x="1855060" y="8114507"/>
                  <a:pt x="2284016" y="8347274"/>
                  <a:pt x="2858691" y="8347274"/>
                </a:cubicBezTo>
                <a:cubicBezTo>
                  <a:pt x="3425031" y="8347274"/>
                  <a:pt x="3845652" y="8128000"/>
                  <a:pt x="4120555" y="7689454"/>
                </a:cubicBezTo>
                <a:cubicBezTo>
                  <a:pt x="4395589" y="7250774"/>
                  <a:pt x="4539258" y="6559749"/>
                  <a:pt x="4551561" y="561637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91" name="Freeform 3491"/>
          <p:cNvSpPr/>
          <p:nvPr/>
        </p:nvSpPr>
        <p:spPr>
          <a:xfrm>
            <a:off x="6735508" y="1854269"/>
            <a:ext cx="11410" cy="10914"/>
          </a:xfrm>
          <a:custGeom>
            <a:avLst/>
            <a:gdLst/>
            <a:ahLst/>
            <a:cxnLst/>
            <a:rect l="0" t="0" r="0" b="0"/>
            <a:pathLst>
              <a:path w="1426369" h="1364257">
                <a:moveTo>
                  <a:pt x="0" y="694531"/>
                </a:moveTo>
                <a:cubicBezTo>
                  <a:pt x="0" y="496093"/>
                  <a:pt x="58870" y="330729"/>
                  <a:pt x="176610" y="198437"/>
                </a:cubicBezTo>
                <a:cubicBezTo>
                  <a:pt x="294482" y="66146"/>
                  <a:pt x="471223" y="0"/>
                  <a:pt x="706835" y="0"/>
                </a:cubicBezTo>
                <a:cubicBezTo>
                  <a:pt x="942578" y="0"/>
                  <a:pt x="1121437" y="66146"/>
                  <a:pt x="1243410" y="198437"/>
                </a:cubicBezTo>
                <a:cubicBezTo>
                  <a:pt x="1365383" y="330729"/>
                  <a:pt x="1426369" y="496093"/>
                  <a:pt x="1426369" y="694531"/>
                </a:cubicBezTo>
                <a:cubicBezTo>
                  <a:pt x="1426369" y="884634"/>
                  <a:pt x="1365383" y="1043781"/>
                  <a:pt x="1243410" y="1171972"/>
                </a:cubicBezTo>
                <a:cubicBezTo>
                  <a:pt x="1121437" y="1300162"/>
                  <a:pt x="942578" y="1364257"/>
                  <a:pt x="706835" y="1364257"/>
                </a:cubicBezTo>
                <a:cubicBezTo>
                  <a:pt x="471223" y="1364257"/>
                  <a:pt x="294482" y="1300162"/>
                  <a:pt x="176610" y="1171972"/>
                </a:cubicBezTo>
                <a:cubicBezTo>
                  <a:pt x="58870" y="1043781"/>
                  <a:pt x="0" y="884634"/>
                  <a:pt x="0" y="69453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92" name="Freeform 3492"/>
          <p:cNvSpPr/>
          <p:nvPr/>
        </p:nvSpPr>
        <p:spPr>
          <a:xfrm>
            <a:off x="6759749" y="1791421"/>
            <a:ext cx="45788" cy="74269"/>
          </a:xfrm>
          <a:custGeom>
            <a:avLst/>
            <a:gdLst/>
            <a:ahLst/>
            <a:cxnLst/>
            <a:rect l="0" t="0" r="0" b="0"/>
            <a:pathLst>
              <a:path w="5723533" h="9283700">
                <a:moveTo>
                  <a:pt x="1835547" y="4089400"/>
                </a:moveTo>
                <a:lnTo>
                  <a:pt x="2697361" y="4089400"/>
                </a:lnTo>
                <a:cubicBezTo>
                  <a:pt x="3238963" y="4081066"/>
                  <a:pt x="3664810" y="3938059"/>
                  <a:pt x="3974901" y="3660379"/>
                </a:cubicBezTo>
                <a:cubicBezTo>
                  <a:pt x="4284993" y="3382566"/>
                  <a:pt x="4440039" y="3007321"/>
                  <a:pt x="4440039" y="2534643"/>
                </a:cubicBezTo>
                <a:cubicBezTo>
                  <a:pt x="4440039" y="1473266"/>
                  <a:pt x="3912923" y="942579"/>
                  <a:pt x="2858691" y="942579"/>
                </a:cubicBezTo>
                <a:cubicBezTo>
                  <a:pt x="2362597" y="942579"/>
                  <a:pt x="1966714" y="1084197"/>
                  <a:pt x="1671042" y="1367433"/>
                </a:cubicBezTo>
                <a:cubicBezTo>
                  <a:pt x="1375503" y="1650670"/>
                  <a:pt x="1227733" y="2025849"/>
                  <a:pt x="1227733" y="2492971"/>
                </a:cubicBezTo>
                <a:lnTo>
                  <a:pt x="80566" y="2492971"/>
                </a:lnTo>
                <a:cubicBezTo>
                  <a:pt x="80566" y="1777802"/>
                  <a:pt x="342040" y="1183548"/>
                  <a:pt x="864989" y="710208"/>
                </a:cubicBezTo>
                <a:cubicBezTo>
                  <a:pt x="1387938" y="236736"/>
                  <a:pt x="2052505" y="0"/>
                  <a:pt x="2858691" y="0"/>
                </a:cubicBezTo>
                <a:cubicBezTo>
                  <a:pt x="3710252" y="0"/>
                  <a:pt x="4377862" y="225756"/>
                  <a:pt x="4861520" y="677268"/>
                </a:cubicBezTo>
                <a:cubicBezTo>
                  <a:pt x="5345311" y="1128779"/>
                  <a:pt x="5587206" y="1756371"/>
                  <a:pt x="5587206" y="2560043"/>
                </a:cubicBezTo>
                <a:cubicBezTo>
                  <a:pt x="5587206" y="2953611"/>
                  <a:pt x="5460074" y="3334743"/>
                  <a:pt x="5205809" y="3703440"/>
                </a:cubicBezTo>
                <a:cubicBezTo>
                  <a:pt x="4951545" y="4072004"/>
                  <a:pt x="4605337" y="4347436"/>
                  <a:pt x="4167187" y="4529733"/>
                </a:cubicBezTo>
                <a:cubicBezTo>
                  <a:pt x="4663281" y="4686764"/>
                  <a:pt x="5046662" y="4947114"/>
                  <a:pt x="5317331" y="5310783"/>
                </a:cubicBezTo>
                <a:cubicBezTo>
                  <a:pt x="5588132" y="5674321"/>
                  <a:pt x="5723533" y="6118490"/>
                  <a:pt x="5723533" y="6643291"/>
                </a:cubicBezTo>
                <a:cubicBezTo>
                  <a:pt x="5723533" y="7453181"/>
                  <a:pt x="5458949" y="8095721"/>
                  <a:pt x="4929783" y="8570913"/>
                </a:cubicBezTo>
                <a:cubicBezTo>
                  <a:pt x="4400616" y="9046105"/>
                  <a:pt x="3712302" y="9283700"/>
                  <a:pt x="2864842" y="9283700"/>
                </a:cubicBezTo>
                <a:cubicBezTo>
                  <a:pt x="2017382" y="9283700"/>
                  <a:pt x="1328010" y="9054241"/>
                  <a:pt x="796726" y="8595321"/>
                </a:cubicBezTo>
                <a:cubicBezTo>
                  <a:pt x="265575" y="8136401"/>
                  <a:pt x="0" y="7530770"/>
                  <a:pt x="0" y="6778427"/>
                </a:cubicBezTo>
                <a:lnTo>
                  <a:pt x="1153319" y="6778427"/>
                </a:lnTo>
                <a:cubicBezTo>
                  <a:pt x="1153319" y="7253883"/>
                  <a:pt x="1308364" y="7634222"/>
                  <a:pt x="1618456" y="7919443"/>
                </a:cubicBezTo>
                <a:cubicBezTo>
                  <a:pt x="1928548" y="8204664"/>
                  <a:pt x="2344010" y="8347274"/>
                  <a:pt x="2864842" y="8347274"/>
                </a:cubicBezTo>
                <a:cubicBezTo>
                  <a:pt x="3418880" y="8347274"/>
                  <a:pt x="3842610" y="8202679"/>
                  <a:pt x="4136033" y="7913490"/>
                </a:cubicBezTo>
                <a:cubicBezTo>
                  <a:pt x="4429588" y="7624300"/>
                  <a:pt x="4576366" y="7209103"/>
                  <a:pt x="4576366" y="6667897"/>
                </a:cubicBezTo>
                <a:cubicBezTo>
                  <a:pt x="4576366" y="6143229"/>
                  <a:pt x="4415102" y="5740467"/>
                  <a:pt x="4092575" y="5459611"/>
                </a:cubicBezTo>
                <a:cubicBezTo>
                  <a:pt x="3770180" y="5178624"/>
                  <a:pt x="3305109" y="5034029"/>
                  <a:pt x="2697361" y="5025827"/>
                </a:cubicBezTo>
                <a:lnTo>
                  <a:pt x="1835547" y="5025827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93" name="Freeform 3493"/>
          <p:cNvSpPr/>
          <p:nvPr/>
        </p:nvSpPr>
        <p:spPr>
          <a:xfrm>
            <a:off x="6819723" y="1792437"/>
            <a:ext cx="45391" cy="73253"/>
          </a:xfrm>
          <a:custGeom>
            <a:avLst/>
            <a:gdLst/>
            <a:ahLst/>
            <a:cxnLst/>
            <a:rect l="0" t="0" r="0" b="0"/>
            <a:pathLst>
              <a:path w="5673924" h="9156700">
                <a:moveTo>
                  <a:pt x="322461" y="4507111"/>
                </a:moveTo>
                <a:lnTo>
                  <a:pt x="781249" y="0"/>
                </a:lnTo>
                <a:lnTo>
                  <a:pt x="5407422" y="0"/>
                </a:lnTo>
                <a:lnTo>
                  <a:pt x="5407422" y="1060450"/>
                </a:lnTo>
                <a:lnTo>
                  <a:pt x="1754783" y="1060450"/>
                </a:lnTo>
                <a:lnTo>
                  <a:pt x="1481931" y="3527624"/>
                </a:lnTo>
                <a:cubicBezTo>
                  <a:pt x="1924315" y="3267142"/>
                  <a:pt x="2426626" y="3136900"/>
                  <a:pt x="2988866" y="3136900"/>
                </a:cubicBezTo>
                <a:cubicBezTo>
                  <a:pt x="3811588" y="3136900"/>
                  <a:pt x="4464778" y="3408694"/>
                  <a:pt x="4948436" y="3952280"/>
                </a:cubicBezTo>
                <a:cubicBezTo>
                  <a:pt x="5432095" y="4495734"/>
                  <a:pt x="5673924" y="5230350"/>
                  <a:pt x="5673924" y="6156127"/>
                </a:cubicBezTo>
                <a:cubicBezTo>
                  <a:pt x="5673924" y="7086005"/>
                  <a:pt x="5422768" y="7818570"/>
                  <a:pt x="4920456" y="8353822"/>
                </a:cubicBezTo>
                <a:cubicBezTo>
                  <a:pt x="4418277" y="8889074"/>
                  <a:pt x="3716536" y="9156700"/>
                  <a:pt x="2815233" y="9156700"/>
                </a:cubicBezTo>
                <a:cubicBezTo>
                  <a:pt x="2017382" y="9156700"/>
                  <a:pt x="1366242" y="8935509"/>
                  <a:pt x="861814" y="8493125"/>
                </a:cubicBezTo>
                <a:cubicBezTo>
                  <a:pt x="357518" y="8050742"/>
                  <a:pt x="70247" y="7438893"/>
                  <a:pt x="0" y="6657579"/>
                </a:cubicBezTo>
                <a:lnTo>
                  <a:pt x="1085056" y="6657579"/>
                </a:lnTo>
                <a:cubicBezTo>
                  <a:pt x="1155436" y="7174310"/>
                  <a:pt x="1339453" y="7563975"/>
                  <a:pt x="1637110" y="7826574"/>
                </a:cubicBezTo>
                <a:cubicBezTo>
                  <a:pt x="1934766" y="8089041"/>
                  <a:pt x="2327474" y="8220274"/>
                  <a:pt x="2815233" y="8220274"/>
                </a:cubicBezTo>
                <a:cubicBezTo>
                  <a:pt x="3348501" y="8220274"/>
                  <a:pt x="3767071" y="8038439"/>
                  <a:pt x="4070946" y="7674769"/>
                </a:cubicBezTo>
                <a:cubicBezTo>
                  <a:pt x="4374820" y="7311099"/>
                  <a:pt x="4526756" y="6809053"/>
                  <a:pt x="4526756" y="6168629"/>
                </a:cubicBezTo>
                <a:cubicBezTo>
                  <a:pt x="4526756" y="5565246"/>
                  <a:pt x="4362384" y="5080728"/>
                  <a:pt x="4033639" y="4715074"/>
                </a:cubicBezTo>
                <a:cubicBezTo>
                  <a:pt x="3705027" y="4349287"/>
                  <a:pt x="3267869" y="4166394"/>
                  <a:pt x="2722166" y="4166394"/>
                </a:cubicBezTo>
                <a:cubicBezTo>
                  <a:pt x="2221971" y="4166394"/>
                  <a:pt x="1829263" y="4275932"/>
                  <a:pt x="1544042" y="4495007"/>
                </a:cubicBezTo>
                <a:lnTo>
                  <a:pt x="1240235" y="4743054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94" name="Rectangle 3494"/>
          <p:cNvSpPr/>
          <p:nvPr/>
        </p:nvSpPr>
        <p:spPr>
          <a:xfrm>
            <a:off x="4860472" y="1340646"/>
            <a:ext cx="859193" cy="137160"/>
          </a:xfrm>
          <a:prstGeom prst="rect">
            <a:avLst/>
          </a:prstGeom>
        </p:spPr>
      </p:sp>
      <p:sp>
        <p:nvSpPr>
          <p:cNvPr id="3495" name="Freeform 3495"/>
          <p:cNvSpPr/>
          <p:nvPr/>
        </p:nvSpPr>
        <p:spPr>
          <a:xfrm>
            <a:off x="4867839" y="1367964"/>
            <a:ext cx="67308" cy="81267"/>
          </a:xfrm>
          <a:custGeom>
            <a:avLst/>
            <a:gdLst/>
            <a:ahLst/>
            <a:cxnLst/>
            <a:rect l="0" t="0" r="0" b="0"/>
            <a:pathLst>
              <a:path w="7478713" h="9029700">
                <a:moveTo>
                  <a:pt x="2933105" y="5343525"/>
                </a:moveTo>
                <a:lnTo>
                  <a:pt x="1860352" y="534352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19500"/>
                </a:lnTo>
                <a:lnTo>
                  <a:pt x="2709863" y="3619500"/>
                </a:lnTo>
                <a:lnTo>
                  <a:pt x="4917480" y="0"/>
                </a:lnTo>
                <a:lnTo>
                  <a:pt x="7187208" y="0"/>
                </a:lnTo>
                <a:lnTo>
                  <a:pt x="4402931" y="4276924"/>
                </a:lnTo>
                <a:lnTo>
                  <a:pt x="7478713" y="9029700"/>
                </a:lnTo>
                <a:lnTo>
                  <a:pt x="5258594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96" name="Freeform 3496"/>
          <p:cNvSpPr/>
          <p:nvPr/>
        </p:nvSpPr>
        <p:spPr>
          <a:xfrm>
            <a:off x="4937282" y="1366821"/>
            <a:ext cx="69205" cy="83553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97" name="Freeform 3497"/>
          <p:cNvSpPr/>
          <p:nvPr/>
        </p:nvSpPr>
        <p:spPr>
          <a:xfrm>
            <a:off x="5018605" y="1367964"/>
            <a:ext cx="85501" cy="81267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98" name="Freeform 3498"/>
          <p:cNvSpPr/>
          <p:nvPr/>
        </p:nvSpPr>
        <p:spPr>
          <a:xfrm>
            <a:off x="5118728" y="1367964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7342188" y="9029700"/>
                </a:moveTo>
                <a:lnTo>
                  <a:pt x="5475685" y="9029700"/>
                </a:lnTo>
                <a:lnTo>
                  <a:pt x="5475685" y="1506935"/>
                </a:ln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734218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499" name="Freeform 3499"/>
          <p:cNvSpPr/>
          <p:nvPr/>
        </p:nvSpPr>
        <p:spPr>
          <a:xfrm>
            <a:off x="5199427" y="1367964"/>
            <a:ext cx="54471" cy="8126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00" name="Freeform 3500"/>
          <p:cNvSpPr/>
          <p:nvPr/>
        </p:nvSpPr>
        <p:spPr>
          <a:xfrm>
            <a:off x="5259668" y="1367964"/>
            <a:ext cx="66192" cy="81267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01" name="Freeform 3501"/>
          <p:cNvSpPr/>
          <p:nvPr/>
        </p:nvSpPr>
        <p:spPr>
          <a:xfrm>
            <a:off x="5335330" y="1367964"/>
            <a:ext cx="54471" cy="8126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02" name="Freeform 3502"/>
          <p:cNvSpPr/>
          <p:nvPr/>
        </p:nvSpPr>
        <p:spPr>
          <a:xfrm>
            <a:off x="5399566" y="1367964"/>
            <a:ext cx="66135" cy="8126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03" name="Freeform 3503"/>
          <p:cNvSpPr/>
          <p:nvPr/>
        </p:nvSpPr>
        <p:spPr>
          <a:xfrm>
            <a:off x="5479535" y="1367964"/>
            <a:ext cx="77186" cy="100812"/>
          </a:xfrm>
          <a:custGeom>
            <a:avLst/>
            <a:gdLst/>
            <a:ahLst/>
            <a:cxnLst/>
            <a:rect l="0" t="0" r="0" b="0"/>
            <a:pathLst>
              <a:path w="8576270" h="11201400">
                <a:moveTo>
                  <a:pt x="0" y="0"/>
                </a:moveTo>
                <a:lnTo>
                  <a:pt x="1860352" y="0"/>
                </a:lnTo>
                <a:lnTo>
                  <a:pt x="1860352" y="7535268"/>
                </a:lnTo>
                <a:lnTo>
                  <a:pt x="5475684" y="7535268"/>
                </a:lnTo>
                <a:lnTo>
                  <a:pt x="5475684" y="0"/>
                </a:lnTo>
                <a:lnTo>
                  <a:pt x="7342188" y="0"/>
                </a:lnTo>
                <a:lnTo>
                  <a:pt x="7342188" y="7535268"/>
                </a:lnTo>
                <a:lnTo>
                  <a:pt x="8576270" y="7535268"/>
                </a:lnTo>
                <a:lnTo>
                  <a:pt x="8452247" y="11201400"/>
                </a:lnTo>
                <a:lnTo>
                  <a:pt x="6715919" y="11201400"/>
                </a:lnTo>
                <a:lnTo>
                  <a:pt x="6715919" y="9029700"/>
                </a:lnTo>
                <a:lnTo>
                  <a:pt x="0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04" name="Freeform 3504"/>
          <p:cNvSpPr/>
          <p:nvPr/>
        </p:nvSpPr>
        <p:spPr>
          <a:xfrm>
            <a:off x="5566343" y="1367964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05" name="Freeform 3505"/>
          <p:cNvSpPr/>
          <p:nvPr/>
        </p:nvSpPr>
        <p:spPr>
          <a:xfrm>
            <a:off x="5646353" y="1367964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06" name="Rectangle 3506"/>
          <p:cNvSpPr/>
          <p:nvPr/>
        </p:nvSpPr>
        <p:spPr>
          <a:xfrm>
            <a:off x="4847772" y="1550069"/>
            <a:ext cx="1181304" cy="255269"/>
          </a:xfrm>
          <a:prstGeom prst="rect">
            <a:avLst/>
          </a:prstGeom>
        </p:spPr>
      </p:sp>
      <p:sp>
        <p:nvSpPr>
          <p:cNvPr id="3507" name="Freeform 3507"/>
          <p:cNvSpPr/>
          <p:nvPr/>
        </p:nvSpPr>
        <p:spPr>
          <a:xfrm>
            <a:off x="4856156" y="1574352"/>
            <a:ext cx="55513" cy="72237"/>
          </a:xfrm>
          <a:custGeom>
            <a:avLst/>
            <a:gdLst/>
            <a:ahLst/>
            <a:cxnLst/>
            <a:rect l="0" t="0" r="0" b="0"/>
            <a:pathLst>
              <a:path w="6939161" h="9029700">
                <a:moveTo>
                  <a:pt x="6939161" y="9029700"/>
                </a:moveTo>
                <a:lnTo>
                  <a:pt x="5742384" y="9029700"/>
                </a:lnTo>
                <a:lnTo>
                  <a:pt x="5742384" y="4859735"/>
                </a:lnTo>
                <a:lnTo>
                  <a:pt x="1190625" y="485973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886200"/>
                </a:lnTo>
                <a:lnTo>
                  <a:pt x="5742384" y="3886200"/>
                </a:lnTo>
                <a:lnTo>
                  <a:pt x="5742384" y="0"/>
                </a:lnTo>
                <a:lnTo>
                  <a:pt x="693916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08" name="Freeform 3508"/>
          <p:cNvSpPr/>
          <p:nvPr/>
        </p:nvSpPr>
        <p:spPr>
          <a:xfrm>
            <a:off x="4925519" y="1591928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09" name="Freeform 3509"/>
          <p:cNvSpPr/>
          <p:nvPr/>
        </p:nvSpPr>
        <p:spPr>
          <a:xfrm>
            <a:off x="4977563" y="1592944"/>
            <a:ext cx="55810" cy="69392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0" name="Freeform 3510"/>
          <p:cNvSpPr/>
          <p:nvPr/>
        </p:nvSpPr>
        <p:spPr>
          <a:xfrm>
            <a:off x="5044284" y="1592944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1" name="Freeform 3511"/>
          <p:cNvSpPr/>
          <p:nvPr/>
        </p:nvSpPr>
        <p:spPr>
          <a:xfrm>
            <a:off x="5102114" y="1591928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2" name="Freeform 3512"/>
          <p:cNvSpPr/>
          <p:nvPr/>
        </p:nvSpPr>
        <p:spPr>
          <a:xfrm>
            <a:off x="5156680" y="1591928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3" name="Freeform 3513"/>
          <p:cNvSpPr/>
          <p:nvPr/>
        </p:nvSpPr>
        <p:spPr>
          <a:xfrm>
            <a:off x="5215039" y="1570389"/>
            <a:ext cx="63747" cy="96824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4" name="Freeform 3514"/>
          <p:cNvSpPr/>
          <p:nvPr/>
        </p:nvSpPr>
        <p:spPr>
          <a:xfrm>
            <a:off x="5288351" y="1591928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5" name="Freeform 3515"/>
          <p:cNvSpPr/>
          <p:nvPr/>
        </p:nvSpPr>
        <p:spPr>
          <a:xfrm>
            <a:off x="5342048" y="1591928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6" name="Freeform 3516"/>
          <p:cNvSpPr/>
          <p:nvPr/>
        </p:nvSpPr>
        <p:spPr>
          <a:xfrm>
            <a:off x="5395185" y="1591928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7" name="Freeform 3517"/>
          <p:cNvSpPr/>
          <p:nvPr/>
        </p:nvSpPr>
        <p:spPr>
          <a:xfrm>
            <a:off x="5451497" y="1592944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8" name="Freeform 3518"/>
          <p:cNvSpPr/>
          <p:nvPr/>
        </p:nvSpPr>
        <p:spPr>
          <a:xfrm>
            <a:off x="5506896" y="1591928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19" name="Freeform 3519"/>
          <p:cNvSpPr/>
          <p:nvPr/>
        </p:nvSpPr>
        <p:spPr>
          <a:xfrm>
            <a:off x="5568032" y="1592944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0" name="Freeform 3520"/>
          <p:cNvSpPr/>
          <p:nvPr/>
        </p:nvSpPr>
        <p:spPr>
          <a:xfrm>
            <a:off x="5624222" y="1591928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1" name="Freeform 3521"/>
          <p:cNvSpPr/>
          <p:nvPr/>
        </p:nvSpPr>
        <p:spPr>
          <a:xfrm>
            <a:off x="5676166" y="1592944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2" name="Freeform 3522"/>
          <p:cNvSpPr/>
          <p:nvPr/>
        </p:nvSpPr>
        <p:spPr>
          <a:xfrm>
            <a:off x="5740496" y="1592944"/>
            <a:ext cx="42862" cy="53644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3" name="Freeform 3523"/>
          <p:cNvSpPr/>
          <p:nvPr/>
        </p:nvSpPr>
        <p:spPr>
          <a:xfrm>
            <a:off x="5795515" y="1592944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4" name="Freeform 3524"/>
          <p:cNvSpPr/>
          <p:nvPr/>
        </p:nvSpPr>
        <p:spPr>
          <a:xfrm>
            <a:off x="5854085" y="1592944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5" name="Freeform 3525"/>
          <p:cNvSpPr/>
          <p:nvPr/>
        </p:nvSpPr>
        <p:spPr>
          <a:xfrm>
            <a:off x="5929752" y="1591928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6" name="Freeform 3526"/>
          <p:cNvSpPr/>
          <p:nvPr/>
        </p:nvSpPr>
        <p:spPr>
          <a:xfrm>
            <a:off x="4855511" y="1726294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7" name="Freeform 3527"/>
          <p:cNvSpPr/>
          <p:nvPr/>
        </p:nvSpPr>
        <p:spPr>
          <a:xfrm>
            <a:off x="4911701" y="1725278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8" name="Freeform 3528"/>
          <p:cNvSpPr/>
          <p:nvPr/>
        </p:nvSpPr>
        <p:spPr>
          <a:xfrm>
            <a:off x="4969251" y="1726294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29" name="Freeform 3529"/>
          <p:cNvSpPr/>
          <p:nvPr/>
        </p:nvSpPr>
        <p:spPr>
          <a:xfrm>
            <a:off x="5027264" y="1726294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30" name="Freeform 3530"/>
          <p:cNvSpPr/>
          <p:nvPr/>
        </p:nvSpPr>
        <p:spPr>
          <a:xfrm>
            <a:off x="5106057" y="1726294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31" name="Freeform 3531"/>
          <p:cNvSpPr/>
          <p:nvPr/>
        </p:nvSpPr>
        <p:spPr>
          <a:xfrm>
            <a:off x="5160921" y="1726294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32" name="Rectangle 3532"/>
          <p:cNvSpPr/>
          <p:nvPr/>
        </p:nvSpPr>
        <p:spPr>
          <a:xfrm>
            <a:off x="4847772" y="1816769"/>
            <a:ext cx="653278" cy="255269"/>
          </a:xfrm>
          <a:prstGeom prst="rect">
            <a:avLst/>
          </a:prstGeom>
        </p:spPr>
      </p:sp>
      <p:sp>
        <p:nvSpPr>
          <p:cNvPr id="3533" name="Freeform 3533"/>
          <p:cNvSpPr/>
          <p:nvPr/>
        </p:nvSpPr>
        <p:spPr>
          <a:xfrm>
            <a:off x="4856603" y="1841052"/>
            <a:ext cx="56107" cy="72237"/>
          </a:xfrm>
          <a:custGeom>
            <a:avLst/>
            <a:gdLst/>
            <a:ahLst/>
            <a:cxnLst/>
            <a:rect l="0" t="0" r="0" b="0"/>
            <a:pathLst>
              <a:path w="7013377" h="9029700">
                <a:moveTo>
                  <a:pt x="2288183" y="4967288"/>
                </a:moveTo>
                <a:lnTo>
                  <a:pt x="1190625" y="49672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975100"/>
                </a:lnTo>
                <a:lnTo>
                  <a:pt x="2120702" y="3975100"/>
                </a:lnTo>
                <a:lnTo>
                  <a:pt x="5277049" y="0"/>
                </a:lnTo>
                <a:lnTo>
                  <a:pt x="6759178" y="0"/>
                </a:lnTo>
                <a:lnTo>
                  <a:pt x="3311327" y="4371975"/>
                </a:lnTo>
                <a:lnTo>
                  <a:pt x="7013377" y="9029700"/>
                </a:lnTo>
                <a:lnTo>
                  <a:pt x="5556250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34" name="Freeform 3534"/>
          <p:cNvSpPr/>
          <p:nvPr/>
        </p:nvSpPr>
        <p:spPr>
          <a:xfrm>
            <a:off x="4916194" y="1858628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35" name="Freeform 3535"/>
          <p:cNvSpPr/>
          <p:nvPr/>
        </p:nvSpPr>
        <p:spPr>
          <a:xfrm>
            <a:off x="4977330" y="1859644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36" name="Freeform 3536"/>
          <p:cNvSpPr/>
          <p:nvPr/>
        </p:nvSpPr>
        <p:spPr>
          <a:xfrm>
            <a:off x="5032676" y="1858628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37" name="Freeform 3537"/>
          <p:cNvSpPr/>
          <p:nvPr/>
        </p:nvSpPr>
        <p:spPr>
          <a:xfrm>
            <a:off x="5083233" y="1859644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38" name="Freeform 3538"/>
          <p:cNvSpPr/>
          <p:nvPr/>
        </p:nvSpPr>
        <p:spPr>
          <a:xfrm>
            <a:off x="5136962" y="1858628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39" name="Freeform 3539"/>
          <p:cNvSpPr/>
          <p:nvPr/>
        </p:nvSpPr>
        <p:spPr>
          <a:xfrm>
            <a:off x="5187599" y="1859644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0" name="Freeform 3540"/>
          <p:cNvSpPr/>
          <p:nvPr/>
        </p:nvSpPr>
        <p:spPr>
          <a:xfrm>
            <a:off x="5242302" y="1859644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1" name="Freeform 3541"/>
          <p:cNvSpPr/>
          <p:nvPr/>
        </p:nvSpPr>
        <p:spPr>
          <a:xfrm>
            <a:off x="5291412" y="1859644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2" name="Freeform 3542"/>
          <p:cNvSpPr/>
          <p:nvPr/>
        </p:nvSpPr>
        <p:spPr>
          <a:xfrm>
            <a:off x="5340678" y="1858628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3" name="Freeform 3543"/>
          <p:cNvSpPr/>
          <p:nvPr/>
        </p:nvSpPr>
        <p:spPr>
          <a:xfrm>
            <a:off x="5401021" y="1858628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4" name="Freeform 3544"/>
          <p:cNvSpPr/>
          <p:nvPr/>
        </p:nvSpPr>
        <p:spPr>
          <a:xfrm>
            <a:off x="4855511" y="1992994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5" name="Freeform 3545"/>
          <p:cNvSpPr/>
          <p:nvPr/>
        </p:nvSpPr>
        <p:spPr>
          <a:xfrm>
            <a:off x="4906135" y="1991978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6" name="Freeform 3546"/>
          <p:cNvSpPr/>
          <p:nvPr/>
        </p:nvSpPr>
        <p:spPr>
          <a:xfrm>
            <a:off x="4967320" y="1992994"/>
            <a:ext cx="59780" cy="53644"/>
          </a:xfrm>
          <a:custGeom>
            <a:avLst/>
            <a:gdLst/>
            <a:ahLst/>
            <a:cxnLst/>
            <a:rect l="0" t="0" r="0" b="0"/>
            <a:pathLst>
              <a:path w="7472561" h="6705600">
                <a:moveTo>
                  <a:pt x="3758009" y="5187157"/>
                </a:moveTo>
                <a:lnTo>
                  <a:pt x="6040041" y="0"/>
                </a:lnTo>
                <a:lnTo>
                  <a:pt x="7472561" y="0"/>
                </a:lnTo>
                <a:lnTo>
                  <a:pt x="7472561" y="6705600"/>
                </a:lnTo>
                <a:lnTo>
                  <a:pt x="6325195" y="6705600"/>
                </a:lnTo>
                <a:lnTo>
                  <a:pt x="6325195" y="1828205"/>
                </a:lnTo>
                <a:lnTo>
                  <a:pt x="4154884" y="6705600"/>
                </a:lnTo>
                <a:lnTo>
                  <a:pt x="3361134" y="6705600"/>
                </a:lnTo>
                <a:lnTo>
                  <a:pt x="1147366" y="1722835"/>
                </a:lnTo>
                <a:lnTo>
                  <a:pt x="1147366" y="6705600"/>
                </a:lnTo>
                <a:lnTo>
                  <a:pt x="0" y="6705600"/>
                </a:lnTo>
                <a:lnTo>
                  <a:pt x="0" y="0"/>
                </a:lnTo>
                <a:lnTo>
                  <a:pt x="1488281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7" name="Freeform 3547"/>
          <p:cNvSpPr/>
          <p:nvPr/>
        </p:nvSpPr>
        <p:spPr>
          <a:xfrm>
            <a:off x="5042557" y="1992994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8" name="Freeform 3548"/>
          <p:cNvSpPr/>
          <p:nvPr/>
        </p:nvSpPr>
        <p:spPr>
          <a:xfrm>
            <a:off x="5098054" y="1991978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49" name="Freeform 3549"/>
          <p:cNvSpPr/>
          <p:nvPr/>
        </p:nvSpPr>
        <p:spPr>
          <a:xfrm>
            <a:off x="5148664" y="1992994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50" name="Freeform 3550"/>
          <p:cNvSpPr/>
          <p:nvPr/>
        </p:nvSpPr>
        <p:spPr>
          <a:xfrm>
            <a:off x="5196098" y="1991978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51" name="Freeform 3551"/>
          <p:cNvSpPr/>
          <p:nvPr/>
        </p:nvSpPr>
        <p:spPr>
          <a:xfrm>
            <a:off x="5252970" y="1992994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52" name="Freeform 3552"/>
          <p:cNvSpPr/>
          <p:nvPr/>
        </p:nvSpPr>
        <p:spPr>
          <a:xfrm>
            <a:off x="5311492" y="1992994"/>
            <a:ext cx="49510" cy="69596"/>
          </a:xfrm>
          <a:custGeom>
            <a:avLst/>
            <a:gdLst/>
            <a:ahLst/>
            <a:cxnLst/>
            <a:rect l="0" t="0" r="0" b="0"/>
            <a:pathLst>
              <a:path w="6188869" h="8699500">
                <a:moveTo>
                  <a:pt x="0" y="0"/>
                </a:moveTo>
                <a:lnTo>
                  <a:pt x="1153518" y="0"/>
                </a:lnTo>
                <a:lnTo>
                  <a:pt x="1153518" y="5769174"/>
                </a:lnTo>
                <a:lnTo>
                  <a:pt x="4241602" y="5769174"/>
                </a:lnTo>
                <a:lnTo>
                  <a:pt x="4241602" y="0"/>
                </a:lnTo>
                <a:lnTo>
                  <a:pt x="5388769" y="0"/>
                </a:lnTo>
                <a:lnTo>
                  <a:pt x="5388769" y="5769174"/>
                </a:lnTo>
                <a:lnTo>
                  <a:pt x="6188869" y="5769174"/>
                </a:lnTo>
                <a:lnTo>
                  <a:pt x="6077149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53" name="Freeform 3553"/>
          <p:cNvSpPr/>
          <p:nvPr/>
        </p:nvSpPr>
        <p:spPr>
          <a:xfrm>
            <a:off x="5371639" y="1992994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54" name="Freeform 3554"/>
          <p:cNvSpPr/>
          <p:nvPr/>
        </p:nvSpPr>
        <p:spPr>
          <a:xfrm>
            <a:off x="5430263" y="1973386"/>
            <a:ext cx="43110" cy="7325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55" name="Rectangle 3555"/>
          <p:cNvSpPr/>
          <p:nvPr/>
        </p:nvSpPr>
        <p:spPr>
          <a:xfrm>
            <a:off x="4908137" y="3644593"/>
            <a:ext cx="1041283" cy="245744"/>
          </a:xfrm>
          <a:prstGeom prst="rect">
            <a:avLst/>
          </a:prstGeom>
        </p:spPr>
      </p:sp>
      <p:sp>
        <p:nvSpPr>
          <p:cNvPr id="3556" name="Freeform 3556"/>
          <p:cNvSpPr/>
          <p:nvPr/>
        </p:nvSpPr>
        <p:spPr>
          <a:xfrm>
            <a:off x="4912404" y="3667859"/>
            <a:ext cx="61515" cy="74269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57" name="Freeform 3557"/>
          <p:cNvSpPr/>
          <p:nvPr/>
        </p:nvSpPr>
        <p:spPr>
          <a:xfrm>
            <a:off x="4984542" y="3668875"/>
            <a:ext cx="54322" cy="72237"/>
          </a:xfrm>
          <a:custGeom>
            <a:avLst/>
            <a:gdLst/>
            <a:ahLst/>
            <a:cxnLst/>
            <a:rect l="0" t="0" r="0" b="0"/>
            <a:pathLst>
              <a:path w="6790333" h="9029700">
                <a:moveTo>
                  <a:pt x="5909667" y="1506935"/>
                </a:moveTo>
                <a:lnTo>
                  <a:pt x="1879005" y="1506935"/>
                </a:lnTo>
                <a:lnTo>
                  <a:pt x="1879005" y="3251200"/>
                </a:lnTo>
                <a:lnTo>
                  <a:pt x="3329980" y="3251200"/>
                </a:lnTo>
                <a:cubicBezTo>
                  <a:pt x="4392414" y="3251200"/>
                  <a:pt x="5234715" y="3508772"/>
                  <a:pt x="5856883" y="4023916"/>
                </a:cubicBezTo>
                <a:cubicBezTo>
                  <a:pt x="6479183" y="4539060"/>
                  <a:pt x="6790333" y="5233194"/>
                  <a:pt x="6790333" y="6106319"/>
                </a:cubicBezTo>
                <a:cubicBezTo>
                  <a:pt x="6790333" y="6983545"/>
                  <a:pt x="6481300" y="7687998"/>
                  <a:pt x="5863233" y="8219679"/>
                </a:cubicBezTo>
                <a:cubicBezTo>
                  <a:pt x="5245166" y="8751359"/>
                  <a:pt x="4423502" y="9021366"/>
                  <a:pt x="3398242" y="9029700"/>
                </a:cubicBezTo>
                <a:lnTo>
                  <a:pt x="0" y="9029700"/>
                </a:lnTo>
                <a:lnTo>
                  <a:pt x="0" y="0"/>
                </a:lnTo>
                <a:lnTo>
                  <a:pt x="5909667" y="0"/>
                </a:lnTo>
                <a:close/>
                <a:moveTo>
                  <a:pt x="1879005" y="4751983"/>
                </a:moveTo>
                <a:lnTo>
                  <a:pt x="1879005" y="7535268"/>
                </a:lnTo>
                <a:lnTo>
                  <a:pt x="3360936" y="7535268"/>
                </a:lnTo>
                <a:cubicBezTo>
                  <a:pt x="3836392" y="7535268"/>
                  <a:pt x="4215672" y="7404828"/>
                  <a:pt x="4498777" y="7143949"/>
                </a:cubicBezTo>
                <a:cubicBezTo>
                  <a:pt x="4782013" y="6882938"/>
                  <a:pt x="4923631" y="6532960"/>
                  <a:pt x="4923631" y="6094016"/>
                </a:cubicBezTo>
                <a:cubicBezTo>
                  <a:pt x="4923631" y="5683912"/>
                  <a:pt x="4788231" y="5359797"/>
                  <a:pt x="4517430" y="5121672"/>
                </a:cubicBezTo>
                <a:cubicBezTo>
                  <a:pt x="4246761" y="4883547"/>
                  <a:pt x="3875749" y="4760318"/>
                  <a:pt x="3404394" y="475198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58" name="Freeform 3558"/>
          <p:cNvSpPr/>
          <p:nvPr/>
        </p:nvSpPr>
        <p:spPr>
          <a:xfrm>
            <a:off x="5048293" y="3668875"/>
            <a:ext cx="55313" cy="72237"/>
          </a:xfrm>
          <a:custGeom>
            <a:avLst/>
            <a:gdLst/>
            <a:ahLst/>
            <a:cxnLst/>
            <a:rect l="0" t="0" r="0" b="0"/>
            <a:pathLst>
              <a:path w="6914158" h="9029700">
                <a:moveTo>
                  <a:pt x="1860352" y="5850335"/>
                </a:move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3522266" y="0"/>
                </a:lnTo>
                <a:cubicBezTo>
                  <a:pt x="4200260" y="0"/>
                  <a:pt x="4796565" y="124090"/>
                  <a:pt x="5311180" y="372269"/>
                </a:cubicBezTo>
                <a:cubicBezTo>
                  <a:pt x="5825927" y="620449"/>
                  <a:pt x="6221744" y="973072"/>
                  <a:pt x="6498630" y="1430140"/>
                </a:cubicBezTo>
                <a:cubicBezTo>
                  <a:pt x="6775649" y="1887075"/>
                  <a:pt x="6914158" y="2407113"/>
                  <a:pt x="6914158" y="2990255"/>
                </a:cubicBezTo>
                <a:cubicBezTo>
                  <a:pt x="6914158" y="3875419"/>
                  <a:pt x="6611342" y="4573390"/>
                  <a:pt x="6005711" y="5084168"/>
                </a:cubicBezTo>
                <a:cubicBezTo>
                  <a:pt x="5400080" y="5594946"/>
                  <a:pt x="4561880" y="5850335"/>
                  <a:pt x="3491111" y="5850335"/>
                </a:cubicBezTo>
                <a:close/>
                <a:moveTo>
                  <a:pt x="1860352" y="4343400"/>
                </a:moveTo>
                <a:lnTo>
                  <a:pt x="3522266" y="4343400"/>
                </a:lnTo>
                <a:cubicBezTo>
                  <a:pt x="4014126" y="4343400"/>
                  <a:pt x="4389239" y="4227579"/>
                  <a:pt x="4647605" y="3995936"/>
                </a:cubicBezTo>
                <a:cubicBezTo>
                  <a:pt x="4906103" y="3764161"/>
                  <a:pt x="5035352" y="3433101"/>
                  <a:pt x="5035352" y="3002757"/>
                </a:cubicBezTo>
                <a:cubicBezTo>
                  <a:pt x="5035352" y="2559976"/>
                  <a:pt x="4905110" y="2202061"/>
                  <a:pt x="4644628" y="1929011"/>
                </a:cubicBezTo>
                <a:cubicBezTo>
                  <a:pt x="4384146" y="1655961"/>
                  <a:pt x="4024445" y="1515269"/>
                  <a:pt x="3565525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59" name="Freeform 3559"/>
          <p:cNvSpPr/>
          <p:nvPr/>
        </p:nvSpPr>
        <p:spPr>
          <a:xfrm>
            <a:off x="5098985" y="3668875"/>
            <a:ext cx="67716" cy="7223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0" name="Freeform 3560"/>
          <p:cNvSpPr/>
          <p:nvPr/>
        </p:nvSpPr>
        <p:spPr>
          <a:xfrm>
            <a:off x="5170237" y="3667961"/>
            <a:ext cx="54817" cy="74066"/>
          </a:xfrm>
          <a:custGeom>
            <a:avLst/>
            <a:gdLst/>
            <a:ahLst/>
            <a:cxnLst/>
            <a:rect l="0" t="0" r="0" b="0"/>
            <a:pathLst>
              <a:path w="6852245" h="9258300">
                <a:moveTo>
                  <a:pt x="4843065" y="2602707"/>
                </a:moveTo>
                <a:cubicBezTo>
                  <a:pt x="4843065" y="2260204"/>
                  <a:pt x="4708723" y="1990924"/>
                  <a:pt x="4440039" y="1794868"/>
                </a:cubicBezTo>
                <a:cubicBezTo>
                  <a:pt x="4171354" y="1598811"/>
                  <a:pt x="3815821" y="1500783"/>
                  <a:pt x="3373437" y="1500783"/>
                </a:cubicBezTo>
                <a:cubicBezTo>
                  <a:pt x="2976562" y="1500783"/>
                  <a:pt x="2646825" y="1598944"/>
                  <a:pt x="2384226" y="1795265"/>
                </a:cubicBezTo>
                <a:cubicBezTo>
                  <a:pt x="2121759" y="1991585"/>
                  <a:pt x="1990526" y="2246842"/>
                  <a:pt x="1990526" y="2561035"/>
                </a:cubicBezTo>
                <a:lnTo>
                  <a:pt x="130175" y="2561035"/>
                </a:lnTo>
                <a:cubicBezTo>
                  <a:pt x="130175" y="2073275"/>
                  <a:pt x="267626" y="1634067"/>
                  <a:pt x="542528" y="1243410"/>
                </a:cubicBezTo>
                <a:cubicBezTo>
                  <a:pt x="817430" y="852752"/>
                  <a:pt x="1208087" y="547886"/>
                  <a:pt x="1714500" y="328811"/>
                </a:cubicBezTo>
                <a:cubicBezTo>
                  <a:pt x="2221044" y="109604"/>
                  <a:pt x="2774024" y="0"/>
                  <a:pt x="3373437" y="0"/>
                </a:cubicBezTo>
                <a:cubicBezTo>
                  <a:pt x="4415234" y="0"/>
                  <a:pt x="5231672" y="223044"/>
                  <a:pt x="5822751" y="669132"/>
                </a:cubicBezTo>
                <a:cubicBezTo>
                  <a:pt x="6413962" y="1115219"/>
                  <a:pt x="6709568" y="1747243"/>
                  <a:pt x="6709568" y="2565202"/>
                </a:cubicBezTo>
                <a:cubicBezTo>
                  <a:pt x="6709568" y="2965914"/>
                  <a:pt x="6588654" y="3337719"/>
                  <a:pt x="6346825" y="3680619"/>
                </a:cubicBezTo>
                <a:cubicBezTo>
                  <a:pt x="6104995" y="4023387"/>
                  <a:pt x="5760839" y="4298025"/>
                  <a:pt x="5314354" y="4504532"/>
                </a:cubicBezTo>
                <a:cubicBezTo>
                  <a:pt x="5810448" y="4678098"/>
                  <a:pt x="6190787" y="4941557"/>
                  <a:pt x="6455370" y="5294908"/>
                </a:cubicBezTo>
                <a:cubicBezTo>
                  <a:pt x="6719953" y="5648127"/>
                  <a:pt x="6852245" y="6087071"/>
                  <a:pt x="6852245" y="6611740"/>
                </a:cubicBezTo>
                <a:cubicBezTo>
                  <a:pt x="6852245" y="7421629"/>
                  <a:pt x="6534943" y="8065228"/>
                  <a:pt x="5900340" y="8542536"/>
                </a:cubicBezTo>
                <a:cubicBezTo>
                  <a:pt x="5265737" y="9019712"/>
                  <a:pt x="4423436" y="9258300"/>
                  <a:pt x="3373437" y="9258300"/>
                </a:cubicBezTo>
                <a:cubicBezTo>
                  <a:pt x="2716080" y="9258300"/>
                  <a:pt x="2124868" y="9145653"/>
                  <a:pt x="1599803" y="8920361"/>
                </a:cubicBezTo>
                <a:cubicBezTo>
                  <a:pt x="1074869" y="8695069"/>
                  <a:pt x="677002" y="8387094"/>
                  <a:pt x="406201" y="7996436"/>
                </a:cubicBezTo>
                <a:cubicBezTo>
                  <a:pt x="135400" y="7605647"/>
                  <a:pt x="0" y="7151886"/>
                  <a:pt x="0" y="6635155"/>
                </a:cubicBezTo>
                <a:lnTo>
                  <a:pt x="1872654" y="6635155"/>
                </a:lnTo>
                <a:cubicBezTo>
                  <a:pt x="1872654" y="6957550"/>
                  <a:pt x="2013214" y="7227293"/>
                  <a:pt x="2294334" y="7444383"/>
                </a:cubicBezTo>
                <a:cubicBezTo>
                  <a:pt x="2575454" y="7661474"/>
                  <a:pt x="2935155" y="7770019"/>
                  <a:pt x="3373437" y="7770019"/>
                </a:cubicBezTo>
                <a:cubicBezTo>
                  <a:pt x="3869531" y="7770019"/>
                  <a:pt x="4261247" y="7658497"/>
                  <a:pt x="4548584" y="7435454"/>
                </a:cubicBezTo>
                <a:cubicBezTo>
                  <a:pt x="4835922" y="7212410"/>
                  <a:pt x="4979590" y="6929504"/>
                  <a:pt x="4979590" y="6586736"/>
                </a:cubicBezTo>
                <a:cubicBezTo>
                  <a:pt x="4979590" y="6116043"/>
                  <a:pt x="4851400" y="5778500"/>
                  <a:pt x="4595018" y="5574110"/>
                </a:cubicBezTo>
                <a:cubicBezTo>
                  <a:pt x="4338769" y="5369587"/>
                  <a:pt x="3964649" y="5267325"/>
                  <a:pt x="3472656" y="5267325"/>
                </a:cubicBezTo>
                <a:lnTo>
                  <a:pt x="2362597" y="5267325"/>
                </a:lnTo>
                <a:lnTo>
                  <a:pt x="2362597" y="3810000"/>
                </a:lnTo>
                <a:lnTo>
                  <a:pt x="3509764" y="3810000"/>
                </a:lnTo>
                <a:cubicBezTo>
                  <a:pt x="4398632" y="3797565"/>
                  <a:pt x="4843065" y="3395134"/>
                  <a:pt x="4843065" y="260270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1" name="Freeform 3561"/>
          <p:cNvSpPr/>
          <p:nvPr/>
        </p:nvSpPr>
        <p:spPr>
          <a:xfrm>
            <a:off x="5233765" y="3667859"/>
            <a:ext cx="61515" cy="74269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2" name="Freeform 3562"/>
          <p:cNvSpPr/>
          <p:nvPr/>
        </p:nvSpPr>
        <p:spPr>
          <a:xfrm>
            <a:off x="5306052" y="3668875"/>
            <a:ext cx="53676" cy="72237"/>
          </a:xfrm>
          <a:custGeom>
            <a:avLst/>
            <a:gdLst/>
            <a:ahLst/>
            <a:cxnLst/>
            <a:rect l="0" t="0" r="0" b="0"/>
            <a:pathLst>
              <a:path w="6709569" h="9029700">
                <a:moveTo>
                  <a:pt x="0" y="9029700"/>
                </a:moveTo>
                <a:lnTo>
                  <a:pt x="0" y="0"/>
                </a:lnTo>
                <a:lnTo>
                  <a:pt x="3162499" y="0"/>
                </a:lnTo>
                <a:cubicBezTo>
                  <a:pt x="4258006" y="0"/>
                  <a:pt x="5088930" y="209881"/>
                  <a:pt x="5655270" y="629643"/>
                </a:cubicBezTo>
                <a:cubicBezTo>
                  <a:pt x="6221744" y="1049404"/>
                  <a:pt x="6504980" y="1664627"/>
                  <a:pt x="6504980" y="2475310"/>
                </a:cubicBezTo>
                <a:cubicBezTo>
                  <a:pt x="6504980" y="2917825"/>
                  <a:pt x="6391275" y="3307623"/>
                  <a:pt x="6163866" y="3644702"/>
                </a:cubicBezTo>
                <a:cubicBezTo>
                  <a:pt x="5936456" y="3981781"/>
                  <a:pt x="5620213" y="4228902"/>
                  <a:pt x="5215136" y="4386065"/>
                </a:cubicBezTo>
                <a:cubicBezTo>
                  <a:pt x="5678157" y="4501820"/>
                  <a:pt x="6042951" y="4735381"/>
                  <a:pt x="6309519" y="5086747"/>
                </a:cubicBezTo>
                <a:cubicBezTo>
                  <a:pt x="6576219" y="5437982"/>
                  <a:pt x="6709569" y="5867797"/>
                  <a:pt x="6709569" y="6376194"/>
                </a:cubicBezTo>
                <a:cubicBezTo>
                  <a:pt x="6709569" y="7244160"/>
                  <a:pt x="6432550" y="7901385"/>
                  <a:pt x="5878513" y="8347869"/>
                </a:cubicBezTo>
                <a:cubicBezTo>
                  <a:pt x="5324607" y="8794221"/>
                  <a:pt x="4535024" y="9021498"/>
                  <a:pt x="3509764" y="9029700"/>
                </a:cubicBezTo>
                <a:close/>
                <a:moveTo>
                  <a:pt x="1860352" y="5099249"/>
                </a:moveTo>
                <a:lnTo>
                  <a:pt x="1860352" y="7535268"/>
                </a:lnTo>
                <a:lnTo>
                  <a:pt x="3454003" y="7535268"/>
                </a:lnTo>
                <a:cubicBezTo>
                  <a:pt x="3892153" y="7535268"/>
                  <a:pt x="4234193" y="7430956"/>
                  <a:pt x="4480124" y="7222332"/>
                </a:cubicBezTo>
                <a:cubicBezTo>
                  <a:pt x="4726186" y="7013575"/>
                  <a:pt x="4849217" y="6725312"/>
                  <a:pt x="4849217" y="6357541"/>
                </a:cubicBezTo>
                <a:cubicBezTo>
                  <a:pt x="4849217" y="5531115"/>
                  <a:pt x="4421320" y="5111684"/>
                  <a:pt x="3565525" y="5099249"/>
                </a:cubicBezTo>
                <a:close/>
                <a:moveTo>
                  <a:pt x="1860352" y="3784600"/>
                </a:moveTo>
                <a:lnTo>
                  <a:pt x="3236913" y="3784600"/>
                </a:lnTo>
                <a:cubicBezTo>
                  <a:pt x="4175390" y="3768064"/>
                  <a:pt x="4644628" y="3393612"/>
                  <a:pt x="4644628" y="2661246"/>
                </a:cubicBezTo>
                <a:cubicBezTo>
                  <a:pt x="4644628" y="2251671"/>
                  <a:pt x="4525764" y="1956925"/>
                  <a:pt x="4288036" y="1777008"/>
                </a:cubicBezTo>
                <a:cubicBezTo>
                  <a:pt x="4050308" y="1596960"/>
                  <a:pt x="3675129" y="1506935"/>
                  <a:pt x="3162499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3" name="Freeform 3563"/>
          <p:cNvSpPr/>
          <p:nvPr/>
        </p:nvSpPr>
        <p:spPr>
          <a:xfrm>
            <a:off x="5364770" y="3668875"/>
            <a:ext cx="67716" cy="7223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4" name="Freeform 3564"/>
          <p:cNvSpPr/>
          <p:nvPr/>
        </p:nvSpPr>
        <p:spPr>
          <a:xfrm>
            <a:off x="5428789" y="3668875"/>
            <a:ext cx="58837" cy="72237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5" name="Freeform 3565"/>
          <p:cNvSpPr/>
          <p:nvPr/>
        </p:nvSpPr>
        <p:spPr>
          <a:xfrm>
            <a:off x="5496044" y="3668875"/>
            <a:ext cx="48418" cy="7223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6" name="Freeform 3566"/>
          <p:cNvSpPr/>
          <p:nvPr/>
        </p:nvSpPr>
        <p:spPr>
          <a:xfrm>
            <a:off x="5548677" y="3668875"/>
            <a:ext cx="63203" cy="72237"/>
          </a:xfrm>
          <a:custGeom>
            <a:avLst/>
            <a:gdLst/>
            <a:ahLst/>
            <a:cxnLst/>
            <a:rect l="0" t="0" r="0" b="0"/>
            <a:pathLst>
              <a:path w="7900393" h="9029700">
                <a:moveTo>
                  <a:pt x="7900393" y="0"/>
                </a:moveTo>
                <a:lnTo>
                  <a:pt x="7900393" y="9029700"/>
                </a:lnTo>
                <a:lnTo>
                  <a:pt x="6033691" y="9029700"/>
                </a:lnTo>
                <a:lnTo>
                  <a:pt x="6033691" y="1506935"/>
                </a:lnTo>
                <a:lnTo>
                  <a:pt x="3627636" y="1506935"/>
                </a:lnTo>
                <a:lnTo>
                  <a:pt x="3478808" y="4694635"/>
                </a:lnTo>
                <a:cubicBezTo>
                  <a:pt x="3416896" y="5769637"/>
                  <a:pt x="3280503" y="6616238"/>
                  <a:pt x="3069630" y="7234436"/>
                </a:cubicBezTo>
                <a:cubicBezTo>
                  <a:pt x="2858757" y="7852503"/>
                  <a:pt x="2550716" y="8305205"/>
                  <a:pt x="2145507" y="8592543"/>
                </a:cubicBezTo>
                <a:cubicBezTo>
                  <a:pt x="1740430" y="8879880"/>
                  <a:pt x="1186524" y="9025599"/>
                  <a:pt x="483791" y="9029700"/>
                </a:cubicBezTo>
                <a:lnTo>
                  <a:pt x="0" y="9029700"/>
                </a:lnTo>
                <a:lnTo>
                  <a:pt x="0" y="7535268"/>
                </a:lnTo>
                <a:lnTo>
                  <a:pt x="310158" y="7504311"/>
                </a:lnTo>
                <a:cubicBezTo>
                  <a:pt x="777280" y="7442267"/>
                  <a:pt x="1111052" y="7172458"/>
                  <a:pt x="1311474" y="6694885"/>
                </a:cubicBezTo>
                <a:cubicBezTo>
                  <a:pt x="1512028" y="6217312"/>
                  <a:pt x="1639160" y="5366611"/>
                  <a:pt x="1692871" y="4142780"/>
                </a:cubicBezTo>
                <a:lnTo>
                  <a:pt x="184804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7" name="Freeform 3567"/>
          <p:cNvSpPr/>
          <p:nvPr/>
        </p:nvSpPr>
        <p:spPr>
          <a:xfrm>
            <a:off x="5624773" y="3668875"/>
            <a:ext cx="54273" cy="72237"/>
          </a:xfrm>
          <a:custGeom>
            <a:avLst/>
            <a:gdLst/>
            <a:ahLst/>
            <a:cxnLst/>
            <a:rect l="0" t="0" r="0" b="0"/>
            <a:pathLst>
              <a:path w="6784181" h="9029700">
                <a:moveTo>
                  <a:pt x="1872853" y="3251200"/>
                </a:moveTo>
                <a:lnTo>
                  <a:pt x="3323828" y="3251200"/>
                </a:lnTo>
                <a:cubicBezTo>
                  <a:pt x="4386262" y="3251200"/>
                  <a:pt x="5228563" y="3508772"/>
                  <a:pt x="5850731" y="4023916"/>
                </a:cubicBezTo>
                <a:cubicBezTo>
                  <a:pt x="6473031" y="4539060"/>
                  <a:pt x="6784181" y="5233194"/>
                  <a:pt x="6784181" y="6106319"/>
                </a:cubicBezTo>
                <a:cubicBezTo>
                  <a:pt x="6784181" y="6983545"/>
                  <a:pt x="6475148" y="7687998"/>
                  <a:pt x="5857081" y="8219679"/>
                </a:cubicBezTo>
                <a:cubicBezTo>
                  <a:pt x="5239014" y="8751359"/>
                  <a:pt x="4417350" y="9021366"/>
                  <a:pt x="3392090" y="9029700"/>
                </a:cubicBezTo>
                <a:lnTo>
                  <a:pt x="0" y="9029700"/>
                </a:lnTo>
                <a:lnTo>
                  <a:pt x="0" y="0"/>
                </a:lnTo>
                <a:lnTo>
                  <a:pt x="1872853" y="0"/>
                </a:lnTo>
                <a:close/>
                <a:moveTo>
                  <a:pt x="1872853" y="4751983"/>
                </a:moveTo>
                <a:lnTo>
                  <a:pt x="1872853" y="7535268"/>
                </a:lnTo>
                <a:lnTo>
                  <a:pt x="3354784" y="7535268"/>
                </a:lnTo>
                <a:cubicBezTo>
                  <a:pt x="3830240" y="7535268"/>
                  <a:pt x="4209520" y="7404828"/>
                  <a:pt x="4492625" y="7143949"/>
                </a:cubicBezTo>
                <a:cubicBezTo>
                  <a:pt x="4775861" y="6882938"/>
                  <a:pt x="4917479" y="6532960"/>
                  <a:pt x="4917479" y="6094016"/>
                </a:cubicBezTo>
                <a:cubicBezTo>
                  <a:pt x="4917479" y="5683912"/>
                  <a:pt x="4782079" y="5359797"/>
                  <a:pt x="4511278" y="5121672"/>
                </a:cubicBezTo>
                <a:cubicBezTo>
                  <a:pt x="4240609" y="4883547"/>
                  <a:pt x="3869597" y="4760318"/>
                  <a:pt x="3398242" y="475198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8" name="Freeform 3568"/>
          <p:cNvSpPr/>
          <p:nvPr/>
        </p:nvSpPr>
        <p:spPr>
          <a:xfrm>
            <a:off x="5688373" y="3668875"/>
            <a:ext cx="58786" cy="7223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69" name="Freeform 3569"/>
          <p:cNvSpPr/>
          <p:nvPr/>
        </p:nvSpPr>
        <p:spPr>
          <a:xfrm>
            <a:off x="5760250" y="3668875"/>
            <a:ext cx="75357" cy="72237"/>
          </a:xfrm>
          <a:custGeom>
            <a:avLst/>
            <a:gdLst/>
            <a:ahLst/>
            <a:cxnLst/>
            <a:rect l="0" t="0" r="0" b="0"/>
            <a:pathLst>
              <a:path w="9419629" h="9029700">
                <a:moveTo>
                  <a:pt x="1872853" y="3251200"/>
                </a:moveTo>
                <a:lnTo>
                  <a:pt x="3323828" y="3251200"/>
                </a:lnTo>
                <a:cubicBezTo>
                  <a:pt x="4386394" y="3251200"/>
                  <a:pt x="5228762" y="3508772"/>
                  <a:pt x="5850929" y="4023916"/>
                </a:cubicBezTo>
                <a:cubicBezTo>
                  <a:pt x="6473097" y="4539060"/>
                  <a:pt x="6784181" y="5233194"/>
                  <a:pt x="6784181" y="6106319"/>
                </a:cubicBezTo>
                <a:cubicBezTo>
                  <a:pt x="6784181" y="6983545"/>
                  <a:pt x="6475148" y="7687998"/>
                  <a:pt x="5857081" y="8219679"/>
                </a:cubicBezTo>
                <a:cubicBezTo>
                  <a:pt x="5239014" y="8751359"/>
                  <a:pt x="4417351" y="9021366"/>
                  <a:pt x="3392090" y="9029700"/>
                </a:cubicBezTo>
                <a:lnTo>
                  <a:pt x="0" y="9029700"/>
                </a:lnTo>
                <a:lnTo>
                  <a:pt x="0" y="0"/>
                </a:lnTo>
                <a:lnTo>
                  <a:pt x="1872853" y="0"/>
                </a:lnTo>
                <a:close/>
                <a:moveTo>
                  <a:pt x="9419629" y="9029700"/>
                </a:moveTo>
                <a:lnTo>
                  <a:pt x="7559278" y="9029700"/>
                </a:lnTo>
                <a:lnTo>
                  <a:pt x="7559278" y="0"/>
                </a:lnTo>
                <a:lnTo>
                  <a:pt x="9419629" y="0"/>
                </a:lnTo>
                <a:close/>
                <a:moveTo>
                  <a:pt x="1872853" y="4751983"/>
                </a:moveTo>
                <a:lnTo>
                  <a:pt x="1872853" y="7535268"/>
                </a:lnTo>
                <a:lnTo>
                  <a:pt x="3354983" y="7535268"/>
                </a:lnTo>
                <a:cubicBezTo>
                  <a:pt x="3830307" y="7535268"/>
                  <a:pt x="4209587" y="7404828"/>
                  <a:pt x="4492823" y="7143949"/>
                </a:cubicBezTo>
                <a:cubicBezTo>
                  <a:pt x="4776060" y="6882938"/>
                  <a:pt x="4917678" y="6532960"/>
                  <a:pt x="4917678" y="6094016"/>
                </a:cubicBezTo>
                <a:cubicBezTo>
                  <a:pt x="4917678" y="5683912"/>
                  <a:pt x="4782277" y="5359797"/>
                  <a:pt x="4511476" y="5121672"/>
                </a:cubicBezTo>
                <a:cubicBezTo>
                  <a:pt x="4240675" y="4883547"/>
                  <a:pt x="3869597" y="4760318"/>
                  <a:pt x="3398242" y="475198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0" name="Freeform 3570"/>
          <p:cNvSpPr/>
          <p:nvPr/>
        </p:nvSpPr>
        <p:spPr>
          <a:xfrm>
            <a:off x="5848596" y="3668875"/>
            <a:ext cx="48418" cy="7223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1" name="Freeform 3571"/>
          <p:cNvSpPr/>
          <p:nvPr/>
        </p:nvSpPr>
        <p:spPr>
          <a:xfrm>
            <a:off x="4914686" y="3792700"/>
            <a:ext cx="58737" cy="7223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7342188" y="9029700"/>
                </a:moveTo>
                <a:lnTo>
                  <a:pt x="5475685" y="9029700"/>
                </a:lnTo>
                <a:lnTo>
                  <a:pt x="5475685" y="1506935"/>
                </a:ln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734218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2" name="Freeform 3572"/>
          <p:cNvSpPr/>
          <p:nvPr/>
        </p:nvSpPr>
        <p:spPr>
          <a:xfrm>
            <a:off x="4986418" y="3792700"/>
            <a:ext cx="55313" cy="72237"/>
          </a:xfrm>
          <a:custGeom>
            <a:avLst/>
            <a:gdLst/>
            <a:ahLst/>
            <a:cxnLst/>
            <a:rect l="0" t="0" r="0" b="0"/>
            <a:pathLst>
              <a:path w="6914158" h="9029700">
                <a:moveTo>
                  <a:pt x="1860352" y="5850335"/>
                </a:move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3522266" y="0"/>
                </a:lnTo>
                <a:cubicBezTo>
                  <a:pt x="4200260" y="0"/>
                  <a:pt x="4796565" y="124090"/>
                  <a:pt x="5311180" y="372269"/>
                </a:cubicBezTo>
                <a:cubicBezTo>
                  <a:pt x="5825927" y="620449"/>
                  <a:pt x="6221744" y="973072"/>
                  <a:pt x="6498630" y="1430140"/>
                </a:cubicBezTo>
                <a:cubicBezTo>
                  <a:pt x="6775649" y="1887075"/>
                  <a:pt x="6914158" y="2407113"/>
                  <a:pt x="6914158" y="2990255"/>
                </a:cubicBezTo>
                <a:cubicBezTo>
                  <a:pt x="6914158" y="3875419"/>
                  <a:pt x="6611342" y="4573390"/>
                  <a:pt x="6005711" y="5084168"/>
                </a:cubicBezTo>
                <a:cubicBezTo>
                  <a:pt x="5400080" y="5594946"/>
                  <a:pt x="4561880" y="5850335"/>
                  <a:pt x="3491111" y="5850335"/>
                </a:cubicBezTo>
                <a:close/>
                <a:moveTo>
                  <a:pt x="1860352" y="4343400"/>
                </a:moveTo>
                <a:lnTo>
                  <a:pt x="3522266" y="4343400"/>
                </a:lnTo>
                <a:cubicBezTo>
                  <a:pt x="4014126" y="4343400"/>
                  <a:pt x="4389239" y="4227579"/>
                  <a:pt x="4647605" y="3995936"/>
                </a:cubicBezTo>
                <a:cubicBezTo>
                  <a:pt x="4906103" y="3764161"/>
                  <a:pt x="5035352" y="3433101"/>
                  <a:pt x="5035352" y="3002757"/>
                </a:cubicBezTo>
                <a:cubicBezTo>
                  <a:pt x="5035352" y="2559976"/>
                  <a:pt x="4905110" y="2202061"/>
                  <a:pt x="4644628" y="1929011"/>
                </a:cubicBezTo>
                <a:cubicBezTo>
                  <a:pt x="4384146" y="1655961"/>
                  <a:pt x="4024445" y="1515269"/>
                  <a:pt x="3565525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3" name="Freeform 3573"/>
          <p:cNvSpPr/>
          <p:nvPr/>
        </p:nvSpPr>
        <p:spPr>
          <a:xfrm>
            <a:off x="5049768" y="3791684"/>
            <a:ext cx="61515" cy="74269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4" name="Freeform 3574"/>
          <p:cNvSpPr/>
          <p:nvPr/>
        </p:nvSpPr>
        <p:spPr>
          <a:xfrm>
            <a:off x="5122153" y="3792700"/>
            <a:ext cx="47277" cy="72237"/>
          </a:xfrm>
          <a:custGeom>
            <a:avLst/>
            <a:gdLst/>
            <a:ahLst/>
            <a:cxnLst/>
            <a:rect l="0" t="0" r="0" b="0"/>
            <a:pathLst>
              <a:path w="5909667" h="9029700">
                <a:moveTo>
                  <a:pt x="5909667" y="1506935"/>
                </a:move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590966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5" name="Freeform 3575"/>
          <p:cNvSpPr/>
          <p:nvPr/>
        </p:nvSpPr>
        <p:spPr>
          <a:xfrm>
            <a:off x="5178645" y="3792700"/>
            <a:ext cx="55313" cy="72237"/>
          </a:xfrm>
          <a:custGeom>
            <a:avLst/>
            <a:gdLst/>
            <a:ahLst/>
            <a:cxnLst/>
            <a:rect l="0" t="0" r="0" b="0"/>
            <a:pathLst>
              <a:path w="6914158" h="9029700">
                <a:moveTo>
                  <a:pt x="1860352" y="5850335"/>
                </a:move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3522266" y="0"/>
                </a:lnTo>
                <a:cubicBezTo>
                  <a:pt x="4200260" y="0"/>
                  <a:pt x="4796565" y="124090"/>
                  <a:pt x="5311180" y="372269"/>
                </a:cubicBezTo>
                <a:cubicBezTo>
                  <a:pt x="5825927" y="620449"/>
                  <a:pt x="6221744" y="973072"/>
                  <a:pt x="6498630" y="1430140"/>
                </a:cubicBezTo>
                <a:cubicBezTo>
                  <a:pt x="6775649" y="1887075"/>
                  <a:pt x="6914158" y="2407113"/>
                  <a:pt x="6914158" y="2990255"/>
                </a:cubicBezTo>
                <a:cubicBezTo>
                  <a:pt x="6914158" y="3875419"/>
                  <a:pt x="6611342" y="4573390"/>
                  <a:pt x="6005711" y="5084168"/>
                </a:cubicBezTo>
                <a:cubicBezTo>
                  <a:pt x="5400080" y="5594946"/>
                  <a:pt x="4561880" y="5850335"/>
                  <a:pt x="3491111" y="5850335"/>
                </a:cubicBezTo>
                <a:close/>
                <a:moveTo>
                  <a:pt x="1860352" y="4343400"/>
                </a:moveTo>
                <a:lnTo>
                  <a:pt x="3522266" y="4343400"/>
                </a:lnTo>
                <a:cubicBezTo>
                  <a:pt x="4014126" y="4343400"/>
                  <a:pt x="4389239" y="4227579"/>
                  <a:pt x="4647605" y="3995936"/>
                </a:cubicBezTo>
                <a:cubicBezTo>
                  <a:pt x="4906103" y="3764161"/>
                  <a:pt x="5035352" y="3433101"/>
                  <a:pt x="5035352" y="3002757"/>
                </a:cubicBezTo>
                <a:cubicBezTo>
                  <a:pt x="5035352" y="2559976"/>
                  <a:pt x="4905110" y="2202061"/>
                  <a:pt x="4644628" y="1929011"/>
                </a:cubicBezTo>
                <a:cubicBezTo>
                  <a:pt x="4384146" y="1655961"/>
                  <a:pt x="4024445" y="1515269"/>
                  <a:pt x="3565525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6" name="Freeform 3576"/>
          <p:cNvSpPr/>
          <p:nvPr/>
        </p:nvSpPr>
        <p:spPr>
          <a:xfrm>
            <a:off x="5229338" y="3792700"/>
            <a:ext cx="67716" cy="7223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7" name="Freeform 3577"/>
          <p:cNvSpPr/>
          <p:nvPr/>
        </p:nvSpPr>
        <p:spPr>
          <a:xfrm>
            <a:off x="5303715" y="3792700"/>
            <a:ext cx="76001" cy="72237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8" name="Freeform 3578"/>
          <p:cNvSpPr/>
          <p:nvPr/>
        </p:nvSpPr>
        <p:spPr>
          <a:xfrm>
            <a:off x="5392615" y="3792700"/>
            <a:ext cx="76001" cy="72237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79" name="Freeform 3579"/>
          <p:cNvSpPr/>
          <p:nvPr/>
        </p:nvSpPr>
        <p:spPr>
          <a:xfrm>
            <a:off x="5481663" y="3792700"/>
            <a:ext cx="75357" cy="72237"/>
          </a:xfrm>
          <a:custGeom>
            <a:avLst/>
            <a:gdLst/>
            <a:ahLst/>
            <a:cxnLst/>
            <a:rect l="0" t="0" r="0" b="0"/>
            <a:pathLst>
              <a:path w="9419629" h="9029700">
                <a:moveTo>
                  <a:pt x="1872853" y="3251200"/>
                </a:moveTo>
                <a:lnTo>
                  <a:pt x="3323828" y="3251200"/>
                </a:lnTo>
                <a:cubicBezTo>
                  <a:pt x="4386394" y="3251200"/>
                  <a:pt x="5228762" y="3508772"/>
                  <a:pt x="5850929" y="4023916"/>
                </a:cubicBezTo>
                <a:cubicBezTo>
                  <a:pt x="6473097" y="4539060"/>
                  <a:pt x="6784181" y="5233194"/>
                  <a:pt x="6784181" y="6106319"/>
                </a:cubicBezTo>
                <a:cubicBezTo>
                  <a:pt x="6784181" y="6983545"/>
                  <a:pt x="6475148" y="7687998"/>
                  <a:pt x="5857081" y="8219679"/>
                </a:cubicBezTo>
                <a:cubicBezTo>
                  <a:pt x="5239014" y="8751359"/>
                  <a:pt x="4417351" y="9021366"/>
                  <a:pt x="3392090" y="9029700"/>
                </a:cubicBezTo>
                <a:lnTo>
                  <a:pt x="0" y="9029700"/>
                </a:lnTo>
                <a:lnTo>
                  <a:pt x="0" y="0"/>
                </a:lnTo>
                <a:lnTo>
                  <a:pt x="1872853" y="0"/>
                </a:lnTo>
                <a:close/>
                <a:moveTo>
                  <a:pt x="9419629" y="9029700"/>
                </a:moveTo>
                <a:lnTo>
                  <a:pt x="7559278" y="9029700"/>
                </a:lnTo>
                <a:lnTo>
                  <a:pt x="7559278" y="0"/>
                </a:lnTo>
                <a:lnTo>
                  <a:pt x="9419629" y="0"/>
                </a:lnTo>
                <a:close/>
                <a:moveTo>
                  <a:pt x="1872853" y="4751983"/>
                </a:moveTo>
                <a:lnTo>
                  <a:pt x="1872853" y="7535268"/>
                </a:lnTo>
                <a:lnTo>
                  <a:pt x="3354983" y="7535268"/>
                </a:lnTo>
                <a:cubicBezTo>
                  <a:pt x="3830307" y="7535268"/>
                  <a:pt x="4209587" y="7404828"/>
                  <a:pt x="4492823" y="7143949"/>
                </a:cubicBezTo>
                <a:cubicBezTo>
                  <a:pt x="4776060" y="6882938"/>
                  <a:pt x="4917678" y="6532960"/>
                  <a:pt x="4917678" y="6094016"/>
                </a:cubicBezTo>
                <a:cubicBezTo>
                  <a:pt x="4917678" y="5683912"/>
                  <a:pt x="4782277" y="5359797"/>
                  <a:pt x="4511476" y="5121672"/>
                </a:cubicBezTo>
                <a:cubicBezTo>
                  <a:pt x="4240675" y="4883547"/>
                  <a:pt x="3869597" y="4760318"/>
                  <a:pt x="3398242" y="475198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80" name="Rectangle 3580"/>
          <p:cNvSpPr/>
          <p:nvPr/>
        </p:nvSpPr>
        <p:spPr>
          <a:xfrm>
            <a:off x="4908137" y="3955743"/>
            <a:ext cx="727252" cy="258444"/>
          </a:xfrm>
          <a:prstGeom prst="rect">
            <a:avLst/>
          </a:prstGeom>
        </p:spPr>
      </p:sp>
      <p:sp>
        <p:nvSpPr>
          <p:cNvPr id="3581" name="Freeform 3581"/>
          <p:cNvSpPr/>
          <p:nvPr/>
        </p:nvSpPr>
        <p:spPr>
          <a:xfrm>
            <a:off x="4911957" y="3980025"/>
            <a:ext cx="57051" cy="73253"/>
          </a:xfrm>
          <a:custGeom>
            <a:avLst/>
            <a:gdLst/>
            <a:ahLst/>
            <a:cxnLst/>
            <a:rect l="0" t="0" r="0" b="0"/>
            <a:pathLst>
              <a:path w="7131447" h="9156700">
                <a:moveTo>
                  <a:pt x="3671094" y="5238552"/>
                </a:moveTo>
                <a:lnTo>
                  <a:pt x="5748536" y="0"/>
                </a:lnTo>
                <a:lnTo>
                  <a:pt x="7131447" y="0"/>
                </a:lnTo>
                <a:lnTo>
                  <a:pt x="3937794" y="7519988"/>
                </a:lnTo>
                <a:cubicBezTo>
                  <a:pt x="3722820" y="7999413"/>
                  <a:pt x="3522332" y="8339403"/>
                  <a:pt x="3336330" y="8539957"/>
                </a:cubicBezTo>
                <a:cubicBezTo>
                  <a:pt x="3150328" y="8740379"/>
                  <a:pt x="2932245" y="8893308"/>
                  <a:pt x="2682081" y="8998744"/>
                </a:cubicBezTo>
                <a:cubicBezTo>
                  <a:pt x="2431918" y="9104047"/>
                  <a:pt x="2118783" y="9156700"/>
                  <a:pt x="1742678" y="9156700"/>
                </a:cubicBezTo>
                <a:cubicBezTo>
                  <a:pt x="1416050" y="9156700"/>
                  <a:pt x="1207228" y="9138113"/>
                  <a:pt x="1116211" y="9100939"/>
                </a:cubicBezTo>
                <a:lnTo>
                  <a:pt x="1153517" y="8158361"/>
                </a:lnTo>
                <a:lnTo>
                  <a:pt x="1717874" y="8183166"/>
                </a:lnTo>
                <a:cubicBezTo>
                  <a:pt x="2151922" y="8183166"/>
                  <a:pt x="2474383" y="7974476"/>
                  <a:pt x="2685256" y="7557096"/>
                </a:cubicBezTo>
                <a:lnTo>
                  <a:pt x="2840236" y="7234833"/>
                </a:lnTo>
                <a:lnTo>
                  <a:pt x="3075781" y="6683177"/>
                </a:lnTo>
                <a:lnTo>
                  <a:pt x="0" y="0"/>
                </a:lnTo>
                <a:lnTo>
                  <a:pt x="1333302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82" name="Freeform 3582"/>
          <p:cNvSpPr/>
          <p:nvPr/>
        </p:nvSpPr>
        <p:spPr>
          <a:xfrm>
            <a:off x="4974702" y="3998618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83" name="Freeform 3583"/>
          <p:cNvSpPr/>
          <p:nvPr/>
        </p:nvSpPr>
        <p:spPr>
          <a:xfrm>
            <a:off x="5033224" y="3998618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84" name="Freeform 3584"/>
          <p:cNvSpPr/>
          <p:nvPr/>
        </p:nvSpPr>
        <p:spPr>
          <a:xfrm>
            <a:off x="5091896" y="3998618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85" name="Freeform 3585"/>
          <p:cNvSpPr/>
          <p:nvPr/>
        </p:nvSpPr>
        <p:spPr>
          <a:xfrm>
            <a:off x="5146735" y="3997602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86" name="Freeform 3586"/>
          <p:cNvSpPr/>
          <p:nvPr/>
        </p:nvSpPr>
        <p:spPr>
          <a:xfrm>
            <a:off x="5202814" y="3997602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87" name="Freeform 3587"/>
          <p:cNvSpPr/>
          <p:nvPr/>
        </p:nvSpPr>
        <p:spPr>
          <a:xfrm>
            <a:off x="5257430" y="3997602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88" name="Freeform 3588"/>
          <p:cNvSpPr/>
          <p:nvPr/>
        </p:nvSpPr>
        <p:spPr>
          <a:xfrm>
            <a:off x="5313742" y="3998618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89" name="Freeform 3589"/>
          <p:cNvSpPr/>
          <p:nvPr/>
        </p:nvSpPr>
        <p:spPr>
          <a:xfrm>
            <a:off x="5366610" y="3998618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0" name="Freeform 3590"/>
          <p:cNvSpPr/>
          <p:nvPr/>
        </p:nvSpPr>
        <p:spPr>
          <a:xfrm>
            <a:off x="5414045" y="3997602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1" name="Freeform 3591"/>
          <p:cNvSpPr/>
          <p:nvPr/>
        </p:nvSpPr>
        <p:spPr>
          <a:xfrm>
            <a:off x="5464654" y="3998618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2" name="Freeform 3592"/>
          <p:cNvSpPr/>
          <p:nvPr/>
        </p:nvSpPr>
        <p:spPr>
          <a:xfrm>
            <a:off x="5519226" y="3998618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3" name="Freeform 3593"/>
          <p:cNvSpPr/>
          <p:nvPr/>
        </p:nvSpPr>
        <p:spPr>
          <a:xfrm>
            <a:off x="5591718" y="4041398"/>
            <a:ext cx="13841" cy="25292"/>
          </a:xfrm>
          <a:custGeom>
            <a:avLst/>
            <a:gdLst/>
            <a:ahLst/>
            <a:cxnLst/>
            <a:rect l="0" t="0" r="0" b="0"/>
            <a:pathLst>
              <a:path w="1730176" h="3161506">
                <a:moveTo>
                  <a:pt x="651272" y="3161506"/>
                </a:moveTo>
                <a:lnTo>
                  <a:pt x="0" y="2714227"/>
                </a:lnTo>
                <a:cubicBezTo>
                  <a:pt x="388673" y="2171832"/>
                  <a:pt x="591277" y="1612833"/>
                  <a:pt x="607814" y="1037233"/>
                </a:cubicBezTo>
                <a:lnTo>
                  <a:pt x="607814" y="0"/>
                </a:lnTo>
                <a:lnTo>
                  <a:pt x="1730176" y="0"/>
                </a:lnTo>
                <a:lnTo>
                  <a:pt x="1730176" y="900708"/>
                </a:lnTo>
                <a:cubicBezTo>
                  <a:pt x="1730176" y="1318882"/>
                  <a:pt x="1627849" y="1737055"/>
                  <a:pt x="1423194" y="2155229"/>
                </a:cubicBezTo>
                <a:cubicBezTo>
                  <a:pt x="1218538" y="2573535"/>
                  <a:pt x="961231" y="2908961"/>
                  <a:pt x="651272" y="316150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4" name="Freeform 3594"/>
          <p:cNvSpPr/>
          <p:nvPr/>
        </p:nvSpPr>
        <p:spPr>
          <a:xfrm>
            <a:off x="4916868" y="4116550"/>
            <a:ext cx="78135" cy="72237"/>
          </a:xfrm>
          <a:custGeom>
            <a:avLst/>
            <a:gdLst/>
            <a:ahLst/>
            <a:cxnLst/>
            <a:rect l="0" t="0" r="0" b="0"/>
            <a:pathLst>
              <a:path w="9766895" h="9029700">
                <a:moveTo>
                  <a:pt x="1196776" y="0"/>
                </a:moveTo>
                <a:lnTo>
                  <a:pt x="1196776" y="8056166"/>
                </a:lnTo>
                <a:lnTo>
                  <a:pt x="4303712" y="8056166"/>
                </a:lnTo>
                <a:lnTo>
                  <a:pt x="4303712" y="0"/>
                </a:lnTo>
                <a:lnTo>
                  <a:pt x="5487987" y="0"/>
                </a:lnTo>
                <a:lnTo>
                  <a:pt x="5487987" y="8056166"/>
                </a:lnTo>
                <a:lnTo>
                  <a:pt x="8576270" y="8056166"/>
                </a:lnTo>
                <a:lnTo>
                  <a:pt x="8576270" y="0"/>
                </a:lnTo>
                <a:lnTo>
                  <a:pt x="9766895" y="0"/>
                </a:lnTo>
                <a:lnTo>
                  <a:pt x="9766895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5" name="Freeform 3595"/>
          <p:cNvSpPr/>
          <p:nvPr/>
        </p:nvSpPr>
        <p:spPr>
          <a:xfrm>
            <a:off x="5011380" y="4135143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6" name="Freeform 3596"/>
          <p:cNvSpPr/>
          <p:nvPr/>
        </p:nvSpPr>
        <p:spPr>
          <a:xfrm>
            <a:off x="5062004" y="4134127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7" name="Freeform 3597"/>
          <p:cNvSpPr/>
          <p:nvPr/>
        </p:nvSpPr>
        <p:spPr>
          <a:xfrm>
            <a:off x="5116873" y="4135143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8" name="Freeform 3598"/>
          <p:cNvSpPr/>
          <p:nvPr/>
        </p:nvSpPr>
        <p:spPr>
          <a:xfrm>
            <a:off x="5181203" y="4135143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99" name="Freeform 3599"/>
          <p:cNvSpPr/>
          <p:nvPr/>
        </p:nvSpPr>
        <p:spPr>
          <a:xfrm>
            <a:off x="5253695" y="4177923"/>
            <a:ext cx="13841" cy="25292"/>
          </a:xfrm>
          <a:custGeom>
            <a:avLst/>
            <a:gdLst/>
            <a:ahLst/>
            <a:cxnLst/>
            <a:rect l="0" t="0" r="0" b="0"/>
            <a:pathLst>
              <a:path w="1730176" h="3161506">
                <a:moveTo>
                  <a:pt x="651272" y="3161506"/>
                </a:moveTo>
                <a:lnTo>
                  <a:pt x="0" y="2714227"/>
                </a:lnTo>
                <a:cubicBezTo>
                  <a:pt x="388673" y="2171832"/>
                  <a:pt x="591277" y="1612833"/>
                  <a:pt x="607814" y="1037233"/>
                </a:cubicBezTo>
                <a:lnTo>
                  <a:pt x="607814" y="0"/>
                </a:lnTo>
                <a:lnTo>
                  <a:pt x="1730176" y="0"/>
                </a:lnTo>
                <a:lnTo>
                  <a:pt x="1730176" y="900708"/>
                </a:lnTo>
                <a:cubicBezTo>
                  <a:pt x="1730176" y="1318882"/>
                  <a:pt x="1627849" y="1737055"/>
                  <a:pt x="1423194" y="2155229"/>
                </a:cubicBezTo>
                <a:cubicBezTo>
                  <a:pt x="1218538" y="2573535"/>
                  <a:pt x="961231" y="2908961"/>
                  <a:pt x="651272" y="316150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00" name="Freeform 3600"/>
          <p:cNvSpPr/>
          <p:nvPr/>
        </p:nvSpPr>
        <p:spPr>
          <a:xfrm>
            <a:off x="5297765" y="4116550"/>
            <a:ext cx="55860" cy="72237"/>
          </a:xfrm>
          <a:custGeom>
            <a:avLst/>
            <a:gdLst/>
            <a:ahLst/>
            <a:cxnLst/>
            <a:rect l="0" t="0" r="0" b="0"/>
            <a:pathLst>
              <a:path w="6982619" h="9029700">
                <a:moveTo>
                  <a:pt x="6982619" y="979885"/>
                </a:moveTo>
                <a:lnTo>
                  <a:pt x="4080471" y="979885"/>
                </a:lnTo>
                <a:lnTo>
                  <a:pt x="4080471" y="9029700"/>
                </a:lnTo>
                <a:lnTo>
                  <a:pt x="2895997" y="9029700"/>
                </a:lnTo>
                <a:lnTo>
                  <a:pt x="2895997" y="979885"/>
                </a:lnTo>
                <a:lnTo>
                  <a:pt x="0" y="979885"/>
                </a:lnTo>
                <a:lnTo>
                  <a:pt x="0" y="0"/>
                </a:lnTo>
                <a:lnTo>
                  <a:pt x="698261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01" name="Freeform 3601"/>
          <p:cNvSpPr/>
          <p:nvPr/>
        </p:nvSpPr>
        <p:spPr>
          <a:xfrm>
            <a:off x="5358243" y="4135143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02" name="Freeform 3602"/>
          <p:cNvSpPr/>
          <p:nvPr/>
        </p:nvSpPr>
        <p:spPr>
          <a:xfrm>
            <a:off x="5417958" y="4116550"/>
            <a:ext cx="54717" cy="72237"/>
          </a:xfrm>
          <a:custGeom>
            <a:avLst/>
            <a:gdLst/>
            <a:ahLst/>
            <a:cxnLst/>
            <a:rect l="0" t="0" r="0" b="0"/>
            <a:pathLst>
              <a:path w="6839744" h="9029700">
                <a:moveTo>
                  <a:pt x="6839744" y="9029700"/>
                </a:moveTo>
                <a:lnTo>
                  <a:pt x="5642968" y="9029700"/>
                </a:lnTo>
                <a:lnTo>
                  <a:pt x="5642968" y="979885"/>
                </a:lnTo>
                <a:lnTo>
                  <a:pt x="1190625" y="97988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6839744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03" name="Freeform 3603"/>
          <p:cNvSpPr/>
          <p:nvPr/>
        </p:nvSpPr>
        <p:spPr>
          <a:xfrm>
            <a:off x="5487422" y="4115534"/>
            <a:ext cx="58091" cy="74269"/>
          </a:xfrm>
          <a:custGeom>
            <a:avLst/>
            <a:gdLst/>
            <a:ahLst/>
            <a:cxnLst/>
            <a:rect l="0" t="0" r="0" b="0"/>
            <a:pathLst>
              <a:path w="7261423" h="9283700">
                <a:moveTo>
                  <a:pt x="7261423" y="4933554"/>
                </a:moveTo>
                <a:cubicBezTo>
                  <a:pt x="7261423" y="5818850"/>
                  <a:pt x="7112595" y="6591433"/>
                  <a:pt x="6814939" y="7251304"/>
                </a:cubicBezTo>
                <a:cubicBezTo>
                  <a:pt x="6517283" y="7911174"/>
                  <a:pt x="6095603" y="8414875"/>
                  <a:pt x="5549900" y="8762405"/>
                </a:cubicBezTo>
                <a:cubicBezTo>
                  <a:pt x="5004197" y="9109935"/>
                  <a:pt x="4367543" y="9283700"/>
                  <a:pt x="3639939" y="9283700"/>
                </a:cubicBezTo>
                <a:cubicBezTo>
                  <a:pt x="2928871" y="9283700"/>
                  <a:pt x="2298435" y="9108943"/>
                  <a:pt x="1748631" y="8759429"/>
                </a:cubicBezTo>
                <a:cubicBezTo>
                  <a:pt x="1198827" y="8409782"/>
                  <a:pt x="771988" y="7911241"/>
                  <a:pt x="468114" y="7263805"/>
                </a:cubicBezTo>
                <a:cubicBezTo>
                  <a:pt x="164240" y="6616370"/>
                  <a:pt x="8202" y="5866475"/>
                  <a:pt x="0" y="5014119"/>
                </a:cubicBezTo>
                <a:lnTo>
                  <a:pt x="0" y="4362649"/>
                </a:lnTo>
                <a:cubicBezTo>
                  <a:pt x="0" y="3493757"/>
                  <a:pt x="150879" y="2726333"/>
                  <a:pt x="452636" y="2060377"/>
                </a:cubicBezTo>
                <a:cubicBezTo>
                  <a:pt x="754393" y="1394288"/>
                  <a:pt x="1181232" y="884371"/>
                  <a:pt x="1733153" y="530622"/>
                </a:cubicBezTo>
                <a:cubicBezTo>
                  <a:pt x="2285074" y="176874"/>
                  <a:pt x="2916568" y="0"/>
                  <a:pt x="3627636" y="0"/>
                </a:cubicBezTo>
                <a:cubicBezTo>
                  <a:pt x="4351139" y="0"/>
                  <a:pt x="4988785" y="174824"/>
                  <a:pt x="5540573" y="524471"/>
                </a:cubicBezTo>
                <a:cubicBezTo>
                  <a:pt x="6092494" y="873985"/>
                  <a:pt x="6517283" y="1380795"/>
                  <a:pt x="6814939" y="2044899"/>
                </a:cubicBezTo>
                <a:cubicBezTo>
                  <a:pt x="7112595" y="2708871"/>
                  <a:pt x="7261423" y="3481454"/>
                  <a:pt x="7261423" y="4362649"/>
                </a:cubicBezTo>
                <a:close/>
                <a:moveTo>
                  <a:pt x="6077148" y="4350147"/>
                </a:moveTo>
                <a:cubicBezTo>
                  <a:pt x="6077148" y="3278320"/>
                  <a:pt x="5862175" y="2455863"/>
                  <a:pt x="5432227" y="1882775"/>
                </a:cubicBezTo>
                <a:cubicBezTo>
                  <a:pt x="5002279" y="1309688"/>
                  <a:pt x="4400748" y="1023144"/>
                  <a:pt x="3627636" y="1023144"/>
                </a:cubicBezTo>
                <a:cubicBezTo>
                  <a:pt x="2875161" y="1023144"/>
                  <a:pt x="2282891" y="1309688"/>
                  <a:pt x="1850827" y="1882775"/>
                </a:cubicBezTo>
                <a:cubicBezTo>
                  <a:pt x="1418894" y="2455863"/>
                  <a:pt x="1196710" y="3251399"/>
                  <a:pt x="1184275" y="4269383"/>
                </a:cubicBezTo>
                <a:lnTo>
                  <a:pt x="1184275" y="4933554"/>
                </a:lnTo>
                <a:cubicBezTo>
                  <a:pt x="1184275" y="5972175"/>
                  <a:pt x="1402358" y="6788415"/>
                  <a:pt x="1838523" y="7382272"/>
                </a:cubicBezTo>
                <a:cubicBezTo>
                  <a:pt x="2274689" y="7975997"/>
                  <a:pt x="2875161" y="8272860"/>
                  <a:pt x="3639939" y="8272860"/>
                </a:cubicBezTo>
                <a:cubicBezTo>
                  <a:pt x="4408951" y="8272860"/>
                  <a:pt x="5004263" y="7992534"/>
                  <a:pt x="5425877" y="7431882"/>
                </a:cubicBezTo>
                <a:cubicBezTo>
                  <a:pt x="5847622" y="6871097"/>
                  <a:pt x="6064713" y="6067293"/>
                  <a:pt x="6077148" y="502046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04" name="Rectangle 3604"/>
          <p:cNvSpPr/>
          <p:nvPr/>
        </p:nvSpPr>
        <p:spPr>
          <a:xfrm>
            <a:off x="6427327" y="3644593"/>
            <a:ext cx="849201" cy="245744"/>
          </a:xfrm>
          <a:prstGeom prst="rect">
            <a:avLst/>
          </a:prstGeom>
        </p:spPr>
      </p:sp>
      <p:sp>
        <p:nvSpPr>
          <p:cNvPr id="3605" name="Freeform 3605"/>
          <p:cNvSpPr/>
          <p:nvPr/>
        </p:nvSpPr>
        <p:spPr>
          <a:xfrm>
            <a:off x="6433777" y="3668875"/>
            <a:ext cx="55313" cy="72237"/>
          </a:xfrm>
          <a:custGeom>
            <a:avLst/>
            <a:gdLst/>
            <a:ahLst/>
            <a:cxnLst/>
            <a:rect l="0" t="0" r="0" b="0"/>
            <a:pathLst>
              <a:path w="6914158" h="9029700">
                <a:moveTo>
                  <a:pt x="1860352" y="5850335"/>
                </a:move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3522266" y="0"/>
                </a:lnTo>
                <a:cubicBezTo>
                  <a:pt x="4200260" y="0"/>
                  <a:pt x="4796565" y="124090"/>
                  <a:pt x="5311180" y="372269"/>
                </a:cubicBezTo>
                <a:cubicBezTo>
                  <a:pt x="5825927" y="620449"/>
                  <a:pt x="6221744" y="973072"/>
                  <a:pt x="6498630" y="1430140"/>
                </a:cubicBezTo>
                <a:cubicBezTo>
                  <a:pt x="6775649" y="1887075"/>
                  <a:pt x="6914158" y="2407113"/>
                  <a:pt x="6914158" y="2990255"/>
                </a:cubicBezTo>
                <a:cubicBezTo>
                  <a:pt x="6914158" y="3875419"/>
                  <a:pt x="6611342" y="4573390"/>
                  <a:pt x="6005711" y="5084168"/>
                </a:cubicBezTo>
                <a:cubicBezTo>
                  <a:pt x="5400080" y="5594946"/>
                  <a:pt x="4561880" y="5850335"/>
                  <a:pt x="3491111" y="5850335"/>
                </a:cubicBezTo>
                <a:close/>
                <a:moveTo>
                  <a:pt x="1860352" y="4343400"/>
                </a:moveTo>
                <a:lnTo>
                  <a:pt x="3522266" y="4343400"/>
                </a:lnTo>
                <a:cubicBezTo>
                  <a:pt x="4014126" y="4343400"/>
                  <a:pt x="4389239" y="4227579"/>
                  <a:pt x="4647605" y="3995936"/>
                </a:cubicBezTo>
                <a:cubicBezTo>
                  <a:pt x="4906103" y="3764161"/>
                  <a:pt x="5035352" y="3433101"/>
                  <a:pt x="5035352" y="3002757"/>
                </a:cubicBezTo>
                <a:cubicBezTo>
                  <a:pt x="5035352" y="2559976"/>
                  <a:pt x="4905110" y="2202061"/>
                  <a:pt x="4644628" y="1929011"/>
                </a:cubicBezTo>
                <a:cubicBezTo>
                  <a:pt x="4384146" y="1655961"/>
                  <a:pt x="4024445" y="1515269"/>
                  <a:pt x="3565525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06" name="Freeform 3606"/>
          <p:cNvSpPr/>
          <p:nvPr/>
        </p:nvSpPr>
        <p:spPr>
          <a:xfrm>
            <a:off x="6499309" y="3668875"/>
            <a:ext cx="48418" cy="7223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07" name="Freeform 3607"/>
          <p:cNvSpPr/>
          <p:nvPr/>
        </p:nvSpPr>
        <p:spPr>
          <a:xfrm>
            <a:off x="6556506" y="3668875"/>
            <a:ext cx="47277" cy="72237"/>
          </a:xfrm>
          <a:custGeom>
            <a:avLst/>
            <a:gdLst/>
            <a:ahLst/>
            <a:cxnLst/>
            <a:rect l="0" t="0" r="0" b="0"/>
            <a:pathLst>
              <a:path w="5909667" h="9029700">
                <a:moveTo>
                  <a:pt x="5909667" y="1506935"/>
                </a:move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590966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08" name="Freeform 3608"/>
          <p:cNvSpPr/>
          <p:nvPr/>
        </p:nvSpPr>
        <p:spPr>
          <a:xfrm>
            <a:off x="6612503" y="3668875"/>
            <a:ext cx="58737" cy="7223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09" name="Freeform 3609"/>
          <p:cNvSpPr/>
          <p:nvPr/>
        </p:nvSpPr>
        <p:spPr>
          <a:xfrm>
            <a:off x="6681937" y="3667859"/>
            <a:ext cx="61515" cy="74269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0" name="Freeform 3610"/>
          <p:cNvSpPr/>
          <p:nvPr/>
        </p:nvSpPr>
        <p:spPr>
          <a:xfrm>
            <a:off x="6754224" y="3668875"/>
            <a:ext cx="58786" cy="7223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1" name="Freeform 3611"/>
          <p:cNvSpPr/>
          <p:nvPr/>
        </p:nvSpPr>
        <p:spPr>
          <a:xfrm>
            <a:off x="6820663" y="3668875"/>
            <a:ext cx="67716" cy="7223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2" name="Freeform 3612"/>
          <p:cNvSpPr/>
          <p:nvPr/>
        </p:nvSpPr>
        <p:spPr>
          <a:xfrm>
            <a:off x="6891388" y="3668875"/>
            <a:ext cx="63203" cy="72237"/>
          </a:xfrm>
          <a:custGeom>
            <a:avLst/>
            <a:gdLst/>
            <a:ahLst/>
            <a:cxnLst/>
            <a:rect l="0" t="0" r="0" b="0"/>
            <a:pathLst>
              <a:path w="7900393" h="9029700">
                <a:moveTo>
                  <a:pt x="7900393" y="0"/>
                </a:moveTo>
                <a:lnTo>
                  <a:pt x="7900393" y="9029700"/>
                </a:lnTo>
                <a:lnTo>
                  <a:pt x="6033691" y="9029700"/>
                </a:lnTo>
                <a:lnTo>
                  <a:pt x="6033691" y="1506935"/>
                </a:lnTo>
                <a:lnTo>
                  <a:pt x="3627636" y="1506935"/>
                </a:lnTo>
                <a:lnTo>
                  <a:pt x="3478808" y="4694635"/>
                </a:lnTo>
                <a:cubicBezTo>
                  <a:pt x="3416896" y="5769637"/>
                  <a:pt x="3280503" y="6616238"/>
                  <a:pt x="3069630" y="7234436"/>
                </a:cubicBezTo>
                <a:cubicBezTo>
                  <a:pt x="2858757" y="7852503"/>
                  <a:pt x="2550716" y="8305205"/>
                  <a:pt x="2145507" y="8592543"/>
                </a:cubicBezTo>
                <a:cubicBezTo>
                  <a:pt x="1740430" y="8879880"/>
                  <a:pt x="1186524" y="9025599"/>
                  <a:pt x="483791" y="9029700"/>
                </a:cubicBezTo>
                <a:lnTo>
                  <a:pt x="0" y="9029700"/>
                </a:lnTo>
                <a:lnTo>
                  <a:pt x="0" y="7535268"/>
                </a:lnTo>
                <a:lnTo>
                  <a:pt x="310158" y="7504311"/>
                </a:lnTo>
                <a:cubicBezTo>
                  <a:pt x="777280" y="7442267"/>
                  <a:pt x="1111052" y="7172458"/>
                  <a:pt x="1311474" y="6694885"/>
                </a:cubicBezTo>
                <a:cubicBezTo>
                  <a:pt x="1512028" y="6217312"/>
                  <a:pt x="1639160" y="5366611"/>
                  <a:pt x="1692871" y="4142780"/>
                </a:cubicBezTo>
                <a:lnTo>
                  <a:pt x="184804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3" name="Freeform 3613"/>
          <p:cNvSpPr/>
          <p:nvPr/>
        </p:nvSpPr>
        <p:spPr>
          <a:xfrm>
            <a:off x="6967484" y="3668875"/>
            <a:ext cx="54273" cy="72237"/>
          </a:xfrm>
          <a:custGeom>
            <a:avLst/>
            <a:gdLst/>
            <a:ahLst/>
            <a:cxnLst/>
            <a:rect l="0" t="0" r="0" b="0"/>
            <a:pathLst>
              <a:path w="6784181" h="9029700">
                <a:moveTo>
                  <a:pt x="1872853" y="3251200"/>
                </a:moveTo>
                <a:lnTo>
                  <a:pt x="3323828" y="3251200"/>
                </a:lnTo>
                <a:cubicBezTo>
                  <a:pt x="4386262" y="3251200"/>
                  <a:pt x="5228563" y="3508772"/>
                  <a:pt x="5850731" y="4023916"/>
                </a:cubicBezTo>
                <a:cubicBezTo>
                  <a:pt x="6473031" y="4539060"/>
                  <a:pt x="6784181" y="5233194"/>
                  <a:pt x="6784181" y="6106319"/>
                </a:cubicBezTo>
                <a:cubicBezTo>
                  <a:pt x="6784181" y="6983545"/>
                  <a:pt x="6475148" y="7687998"/>
                  <a:pt x="5857081" y="8219679"/>
                </a:cubicBezTo>
                <a:cubicBezTo>
                  <a:pt x="5239014" y="8751359"/>
                  <a:pt x="4417350" y="9021366"/>
                  <a:pt x="3392090" y="9029700"/>
                </a:cubicBezTo>
                <a:lnTo>
                  <a:pt x="0" y="9029700"/>
                </a:lnTo>
                <a:lnTo>
                  <a:pt x="0" y="0"/>
                </a:lnTo>
                <a:lnTo>
                  <a:pt x="1872853" y="0"/>
                </a:lnTo>
                <a:close/>
                <a:moveTo>
                  <a:pt x="1872853" y="4751983"/>
                </a:moveTo>
                <a:lnTo>
                  <a:pt x="1872853" y="7535268"/>
                </a:lnTo>
                <a:lnTo>
                  <a:pt x="3354784" y="7535268"/>
                </a:lnTo>
                <a:cubicBezTo>
                  <a:pt x="3830240" y="7535268"/>
                  <a:pt x="4209520" y="7404828"/>
                  <a:pt x="4492625" y="7143949"/>
                </a:cubicBezTo>
                <a:cubicBezTo>
                  <a:pt x="4775861" y="6882938"/>
                  <a:pt x="4917479" y="6532960"/>
                  <a:pt x="4917479" y="6094016"/>
                </a:cubicBezTo>
                <a:cubicBezTo>
                  <a:pt x="4917479" y="5683912"/>
                  <a:pt x="4782079" y="5359797"/>
                  <a:pt x="4511278" y="5121672"/>
                </a:cubicBezTo>
                <a:cubicBezTo>
                  <a:pt x="4240609" y="4883547"/>
                  <a:pt x="3869597" y="4760318"/>
                  <a:pt x="3398242" y="4751983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4" name="Freeform 3614"/>
          <p:cNvSpPr/>
          <p:nvPr/>
        </p:nvSpPr>
        <p:spPr>
          <a:xfrm>
            <a:off x="7031084" y="3668875"/>
            <a:ext cx="58786" cy="7223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5" name="Freeform 3615"/>
          <p:cNvSpPr/>
          <p:nvPr/>
        </p:nvSpPr>
        <p:spPr>
          <a:xfrm>
            <a:off x="7097523" y="3668875"/>
            <a:ext cx="67716" cy="7223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6" name="Freeform 3616"/>
          <p:cNvSpPr/>
          <p:nvPr/>
        </p:nvSpPr>
        <p:spPr>
          <a:xfrm>
            <a:off x="7164062" y="3668875"/>
            <a:ext cx="56157" cy="72237"/>
          </a:xfrm>
          <a:custGeom>
            <a:avLst/>
            <a:gdLst/>
            <a:ahLst/>
            <a:cxnLst/>
            <a:rect l="0" t="0" r="0" b="0"/>
            <a:pathLst>
              <a:path w="7019725" h="9029700">
                <a:moveTo>
                  <a:pt x="5153222" y="9029700"/>
                </a:moveTo>
                <a:lnTo>
                  <a:pt x="5153222" y="5776516"/>
                </a:lnTo>
                <a:lnTo>
                  <a:pt x="3640136" y="5776516"/>
                </a:lnTo>
                <a:lnTo>
                  <a:pt x="2009178" y="9029700"/>
                </a:lnTo>
                <a:lnTo>
                  <a:pt x="0" y="9029700"/>
                </a:lnTo>
                <a:lnTo>
                  <a:pt x="1928613" y="5181204"/>
                </a:lnTo>
                <a:cubicBezTo>
                  <a:pt x="998470" y="4668309"/>
                  <a:pt x="533399" y="3871979"/>
                  <a:pt x="533399" y="2792215"/>
                </a:cubicBezTo>
                <a:cubicBezTo>
                  <a:pt x="533399" y="1907051"/>
                  <a:pt x="822787" y="1222508"/>
                  <a:pt x="1401563" y="738585"/>
                </a:cubicBezTo>
                <a:cubicBezTo>
                  <a:pt x="1980339" y="254530"/>
                  <a:pt x="2788509" y="8335"/>
                  <a:pt x="3826072" y="0"/>
                </a:cubicBezTo>
                <a:lnTo>
                  <a:pt x="7019725" y="0"/>
                </a:lnTo>
                <a:lnTo>
                  <a:pt x="7019725" y="9029700"/>
                </a:lnTo>
                <a:close/>
                <a:moveTo>
                  <a:pt x="2393750" y="2928541"/>
                </a:moveTo>
                <a:cubicBezTo>
                  <a:pt x="2393750" y="3433498"/>
                  <a:pt x="2516715" y="3799814"/>
                  <a:pt x="2762646" y="4027488"/>
                </a:cubicBezTo>
                <a:cubicBezTo>
                  <a:pt x="3008576" y="4255030"/>
                  <a:pt x="3377537" y="4368800"/>
                  <a:pt x="3869530" y="4368800"/>
                </a:cubicBezTo>
                <a:lnTo>
                  <a:pt x="5153222" y="4368800"/>
                </a:lnTo>
                <a:lnTo>
                  <a:pt x="5153222" y="1506935"/>
                </a:lnTo>
                <a:lnTo>
                  <a:pt x="3869530" y="1506935"/>
                </a:lnTo>
                <a:cubicBezTo>
                  <a:pt x="2885677" y="1506935"/>
                  <a:pt x="2393750" y="1980804"/>
                  <a:pt x="2393750" y="29285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7" name="Freeform 3617"/>
          <p:cNvSpPr/>
          <p:nvPr/>
        </p:nvSpPr>
        <p:spPr>
          <a:xfrm>
            <a:off x="6433875" y="3792700"/>
            <a:ext cx="58737" cy="7223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7342188" y="9029700"/>
                </a:moveTo>
                <a:lnTo>
                  <a:pt x="5475685" y="9029700"/>
                </a:lnTo>
                <a:lnTo>
                  <a:pt x="5475685" y="1506935"/>
                </a:ln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734218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8" name="Freeform 3618"/>
          <p:cNvSpPr/>
          <p:nvPr/>
        </p:nvSpPr>
        <p:spPr>
          <a:xfrm>
            <a:off x="6503425" y="3791684"/>
            <a:ext cx="61515" cy="74269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19" name="Freeform 3619"/>
          <p:cNvSpPr/>
          <p:nvPr/>
        </p:nvSpPr>
        <p:spPr>
          <a:xfrm>
            <a:off x="6569723" y="3792700"/>
            <a:ext cx="63203" cy="72237"/>
          </a:xfrm>
          <a:custGeom>
            <a:avLst/>
            <a:gdLst/>
            <a:ahLst/>
            <a:cxnLst/>
            <a:rect l="0" t="0" r="0" b="0"/>
            <a:pathLst>
              <a:path w="7900393" h="9029700">
                <a:moveTo>
                  <a:pt x="7900393" y="0"/>
                </a:moveTo>
                <a:lnTo>
                  <a:pt x="7900393" y="9029700"/>
                </a:lnTo>
                <a:lnTo>
                  <a:pt x="6033691" y="9029700"/>
                </a:lnTo>
                <a:lnTo>
                  <a:pt x="6033691" y="1506935"/>
                </a:lnTo>
                <a:lnTo>
                  <a:pt x="3627636" y="1506935"/>
                </a:lnTo>
                <a:lnTo>
                  <a:pt x="3478808" y="4694635"/>
                </a:lnTo>
                <a:cubicBezTo>
                  <a:pt x="3416896" y="5769637"/>
                  <a:pt x="3280503" y="6616238"/>
                  <a:pt x="3069630" y="7234436"/>
                </a:cubicBezTo>
                <a:cubicBezTo>
                  <a:pt x="2858757" y="7852503"/>
                  <a:pt x="2550716" y="8305205"/>
                  <a:pt x="2145507" y="8592543"/>
                </a:cubicBezTo>
                <a:cubicBezTo>
                  <a:pt x="1740430" y="8879880"/>
                  <a:pt x="1186524" y="9025599"/>
                  <a:pt x="483791" y="9029700"/>
                </a:cubicBezTo>
                <a:lnTo>
                  <a:pt x="0" y="9029700"/>
                </a:lnTo>
                <a:lnTo>
                  <a:pt x="0" y="7535268"/>
                </a:lnTo>
                <a:lnTo>
                  <a:pt x="310158" y="7504311"/>
                </a:lnTo>
                <a:cubicBezTo>
                  <a:pt x="777280" y="7442267"/>
                  <a:pt x="1111052" y="7172458"/>
                  <a:pt x="1311474" y="6694885"/>
                </a:cubicBezTo>
                <a:cubicBezTo>
                  <a:pt x="1512028" y="6217312"/>
                  <a:pt x="1639160" y="5366611"/>
                  <a:pt x="1692871" y="4142780"/>
                </a:cubicBezTo>
                <a:lnTo>
                  <a:pt x="184804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20" name="Freeform 3620"/>
          <p:cNvSpPr/>
          <p:nvPr/>
        </p:nvSpPr>
        <p:spPr>
          <a:xfrm>
            <a:off x="6645421" y="3792700"/>
            <a:ext cx="58737" cy="7223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21" name="Freeform 3621"/>
          <p:cNvSpPr/>
          <p:nvPr/>
        </p:nvSpPr>
        <p:spPr>
          <a:xfrm>
            <a:off x="6711150" y="3792700"/>
            <a:ext cx="58837" cy="72237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22" name="Freeform 3622"/>
          <p:cNvSpPr/>
          <p:nvPr/>
        </p:nvSpPr>
        <p:spPr>
          <a:xfrm>
            <a:off x="6777907" y="3792700"/>
            <a:ext cx="58737" cy="7223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23" name="Freeform 3623"/>
          <p:cNvSpPr/>
          <p:nvPr/>
        </p:nvSpPr>
        <p:spPr>
          <a:xfrm>
            <a:off x="6849622" y="3792700"/>
            <a:ext cx="59829" cy="72237"/>
          </a:xfrm>
          <a:custGeom>
            <a:avLst/>
            <a:gdLst/>
            <a:ahLst/>
            <a:cxnLst/>
            <a:rect l="0" t="0" r="0" b="0"/>
            <a:pathLst>
              <a:path w="7478713" h="9029700">
                <a:moveTo>
                  <a:pt x="2933105" y="5343525"/>
                </a:moveTo>
                <a:lnTo>
                  <a:pt x="1860352" y="534352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19500"/>
                </a:lnTo>
                <a:lnTo>
                  <a:pt x="2709863" y="3619500"/>
                </a:lnTo>
                <a:lnTo>
                  <a:pt x="4917480" y="0"/>
                </a:lnTo>
                <a:lnTo>
                  <a:pt x="7187208" y="0"/>
                </a:lnTo>
                <a:lnTo>
                  <a:pt x="4402931" y="4276924"/>
                </a:lnTo>
                <a:lnTo>
                  <a:pt x="7478713" y="9029700"/>
                </a:lnTo>
                <a:lnTo>
                  <a:pt x="5258594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24" name="Freeform 3624"/>
          <p:cNvSpPr/>
          <p:nvPr/>
        </p:nvSpPr>
        <p:spPr>
          <a:xfrm>
            <a:off x="6908954" y="3792700"/>
            <a:ext cx="67716" cy="7223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25" name="Rectangle 3625"/>
          <p:cNvSpPr/>
          <p:nvPr/>
        </p:nvSpPr>
        <p:spPr>
          <a:xfrm>
            <a:off x="6427327" y="3955743"/>
            <a:ext cx="1050407" cy="525144"/>
          </a:xfrm>
          <a:prstGeom prst="rect">
            <a:avLst/>
          </a:prstGeom>
        </p:spPr>
      </p:sp>
      <p:sp>
        <p:nvSpPr>
          <p:cNvPr id="3626" name="Freeform 3626"/>
          <p:cNvSpPr/>
          <p:nvPr/>
        </p:nvSpPr>
        <p:spPr>
          <a:xfrm>
            <a:off x="6435711" y="3980025"/>
            <a:ext cx="51941" cy="72237"/>
          </a:xfrm>
          <a:custGeom>
            <a:avLst/>
            <a:gdLst/>
            <a:ahLst/>
            <a:cxnLst/>
            <a:rect l="0" t="0" r="0" b="0"/>
            <a:pathLst>
              <a:path w="6492677" h="9029700">
                <a:moveTo>
                  <a:pt x="1190625" y="5494735"/>
                </a:move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3330178" y="0"/>
                </a:lnTo>
                <a:cubicBezTo>
                  <a:pt x="4318132" y="0"/>
                  <a:pt x="5092171" y="252215"/>
                  <a:pt x="5652294" y="756643"/>
                </a:cubicBezTo>
                <a:cubicBezTo>
                  <a:pt x="6212549" y="1261071"/>
                  <a:pt x="6492677" y="1928813"/>
                  <a:pt x="6492677" y="2759869"/>
                </a:cubicBezTo>
                <a:cubicBezTo>
                  <a:pt x="6492677" y="3636301"/>
                  <a:pt x="6218767" y="4311254"/>
                  <a:pt x="5670947" y="4784725"/>
                </a:cubicBezTo>
                <a:cubicBezTo>
                  <a:pt x="5123259" y="5258065"/>
                  <a:pt x="4338836" y="5494735"/>
                  <a:pt x="3317677" y="5494735"/>
                </a:cubicBezTo>
                <a:close/>
                <a:moveTo>
                  <a:pt x="1190625" y="4521200"/>
                </a:moveTo>
                <a:lnTo>
                  <a:pt x="3330178" y="4521200"/>
                </a:lnTo>
                <a:cubicBezTo>
                  <a:pt x="3966766" y="4521200"/>
                  <a:pt x="4454525" y="4371314"/>
                  <a:pt x="4793456" y="4071541"/>
                </a:cubicBezTo>
                <a:cubicBezTo>
                  <a:pt x="5132520" y="3771768"/>
                  <a:pt x="5302052" y="3338645"/>
                  <a:pt x="5302052" y="2772172"/>
                </a:cubicBezTo>
                <a:cubicBezTo>
                  <a:pt x="5302052" y="2234671"/>
                  <a:pt x="5132520" y="1804724"/>
                  <a:pt x="4793456" y="1482329"/>
                </a:cubicBezTo>
                <a:cubicBezTo>
                  <a:pt x="4454525" y="1159802"/>
                  <a:pt x="3989454" y="992321"/>
                  <a:pt x="3398242" y="979885"/>
                </a:cubicBezTo>
                <a:lnTo>
                  <a:pt x="1190625" y="97988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27" name="Freeform 3627"/>
          <p:cNvSpPr/>
          <p:nvPr/>
        </p:nvSpPr>
        <p:spPr>
          <a:xfrm>
            <a:off x="6495339" y="3997602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28" name="Freeform 3628"/>
          <p:cNvSpPr/>
          <p:nvPr/>
        </p:nvSpPr>
        <p:spPr>
          <a:xfrm>
            <a:off x="6552113" y="3998618"/>
            <a:ext cx="33982" cy="53644"/>
          </a:xfrm>
          <a:custGeom>
            <a:avLst/>
            <a:gdLst/>
            <a:ahLst/>
            <a:cxnLst/>
            <a:rect l="0" t="0" r="0" b="0"/>
            <a:pathLst>
              <a:path w="4247753" h="6705600">
                <a:moveTo>
                  <a:pt x="4247753" y="948730"/>
                </a:moveTo>
                <a:lnTo>
                  <a:pt x="1153319" y="948730"/>
                </a:lnTo>
                <a:lnTo>
                  <a:pt x="115331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24775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29" name="Freeform 3629"/>
          <p:cNvSpPr/>
          <p:nvPr/>
        </p:nvSpPr>
        <p:spPr>
          <a:xfrm>
            <a:off x="6594781" y="3998618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0" name="Freeform 3630"/>
          <p:cNvSpPr/>
          <p:nvPr/>
        </p:nvSpPr>
        <p:spPr>
          <a:xfrm>
            <a:off x="6650180" y="3997602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1" name="Freeform 3631"/>
          <p:cNvSpPr/>
          <p:nvPr/>
        </p:nvSpPr>
        <p:spPr>
          <a:xfrm>
            <a:off x="6711316" y="3998618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2" name="Freeform 3632"/>
          <p:cNvSpPr/>
          <p:nvPr/>
        </p:nvSpPr>
        <p:spPr>
          <a:xfrm>
            <a:off x="6767506" y="3997602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3" name="Freeform 3633"/>
          <p:cNvSpPr/>
          <p:nvPr/>
        </p:nvSpPr>
        <p:spPr>
          <a:xfrm>
            <a:off x="6819451" y="3998618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4" name="Freeform 3634"/>
          <p:cNvSpPr/>
          <p:nvPr/>
        </p:nvSpPr>
        <p:spPr>
          <a:xfrm>
            <a:off x="6883780" y="3998618"/>
            <a:ext cx="42862" cy="53644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5" name="Freeform 3635"/>
          <p:cNvSpPr/>
          <p:nvPr/>
        </p:nvSpPr>
        <p:spPr>
          <a:xfrm>
            <a:off x="6938799" y="3998618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6" name="Freeform 3636"/>
          <p:cNvSpPr/>
          <p:nvPr/>
        </p:nvSpPr>
        <p:spPr>
          <a:xfrm>
            <a:off x="6997370" y="3998618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7" name="Freeform 3637"/>
          <p:cNvSpPr/>
          <p:nvPr/>
        </p:nvSpPr>
        <p:spPr>
          <a:xfrm>
            <a:off x="7076162" y="3979009"/>
            <a:ext cx="43110" cy="7325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8" name="Freeform 3638"/>
          <p:cNvSpPr/>
          <p:nvPr/>
        </p:nvSpPr>
        <p:spPr>
          <a:xfrm>
            <a:off x="7153530" y="3980025"/>
            <a:ext cx="63549" cy="72237"/>
          </a:xfrm>
          <a:custGeom>
            <a:avLst/>
            <a:gdLst/>
            <a:ahLst/>
            <a:cxnLst/>
            <a:rect l="0" t="0" r="0" b="0"/>
            <a:pathLst>
              <a:path w="7943652" h="9029700">
                <a:moveTo>
                  <a:pt x="5860058" y="6669485"/>
                </a:moveTo>
                <a:lnTo>
                  <a:pt x="2077443" y="6669485"/>
                </a:lnTo>
                <a:lnTo>
                  <a:pt x="1227932" y="9029700"/>
                </a:lnTo>
                <a:lnTo>
                  <a:pt x="0" y="9029700"/>
                </a:lnTo>
                <a:lnTo>
                  <a:pt x="3447852" y="0"/>
                </a:lnTo>
                <a:lnTo>
                  <a:pt x="4489649" y="0"/>
                </a:lnTo>
                <a:lnTo>
                  <a:pt x="7943652" y="9029700"/>
                </a:lnTo>
                <a:lnTo>
                  <a:pt x="6722071" y="9029700"/>
                </a:lnTo>
                <a:close/>
                <a:moveTo>
                  <a:pt x="2437011" y="5689600"/>
                </a:moveTo>
                <a:lnTo>
                  <a:pt x="5506641" y="5689600"/>
                </a:lnTo>
                <a:lnTo>
                  <a:pt x="3968750" y="1469827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39" name="Freeform 3639"/>
          <p:cNvSpPr/>
          <p:nvPr/>
        </p:nvSpPr>
        <p:spPr>
          <a:xfrm>
            <a:off x="7217727" y="3998618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0" name="Freeform 3640"/>
          <p:cNvSpPr/>
          <p:nvPr/>
        </p:nvSpPr>
        <p:spPr>
          <a:xfrm>
            <a:off x="7262731" y="3998618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1" name="Freeform 3641"/>
          <p:cNvSpPr/>
          <p:nvPr/>
        </p:nvSpPr>
        <p:spPr>
          <a:xfrm>
            <a:off x="7324681" y="3997602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2" name="Freeform 3642"/>
          <p:cNvSpPr/>
          <p:nvPr/>
        </p:nvSpPr>
        <p:spPr>
          <a:xfrm>
            <a:off x="7379006" y="3997602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3" name="Freeform 3643"/>
          <p:cNvSpPr/>
          <p:nvPr/>
        </p:nvSpPr>
        <p:spPr>
          <a:xfrm>
            <a:off x="6436158" y="4116550"/>
            <a:ext cx="56107" cy="72237"/>
          </a:xfrm>
          <a:custGeom>
            <a:avLst/>
            <a:gdLst/>
            <a:ahLst/>
            <a:cxnLst/>
            <a:rect l="0" t="0" r="0" b="0"/>
            <a:pathLst>
              <a:path w="7013377" h="9029700">
                <a:moveTo>
                  <a:pt x="2288183" y="4967288"/>
                </a:moveTo>
                <a:lnTo>
                  <a:pt x="1190625" y="49672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0625" y="0"/>
                </a:lnTo>
                <a:lnTo>
                  <a:pt x="1190625" y="3975100"/>
                </a:lnTo>
                <a:lnTo>
                  <a:pt x="2120702" y="3975100"/>
                </a:lnTo>
                <a:lnTo>
                  <a:pt x="5277049" y="0"/>
                </a:lnTo>
                <a:lnTo>
                  <a:pt x="6759178" y="0"/>
                </a:lnTo>
                <a:lnTo>
                  <a:pt x="3311327" y="4371975"/>
                </a:lnTo>
                <a:lnTo>
                  <a:pt x="7013377" y="9029700"/>
                </a:lnTo>
                <a:lnTo>
                  <a:pt x="5556250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4" name="Freeform 3644"/>
          <p:cNvSpPr/>
          <p:nvPr/>
        </p:nvSpPr>
        <p:spPr>
          <a:xfrm>
            <a:off x="6497961" y="4134127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5" name="Freeform 3645"/>
          <p:cNvSpPr/>
          <p:nvPr/>
        </p:nvSpPr>
        <p:spPr>
          <a:xfrm>
            <a:off x="6554668" y="4134127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6" name="Freeform 3646"/>
          <p:cNvSpPr/>
          <p:nvPr/>
        </p:nvSpPr>
        <p:spPr>
          <a:xfrm>
            <a:off x="6602742" y="4135143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7" name="Freeform 3647"/>
          <p:cNvSpPr/>
          <p:nvPr/>
        </p:nvSpPr>
        <p:spPr>
          <a:xfrm>
            <a:off x="6654222" y="4134127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8" name="Freeform 3648"/>
          <p:cNvSpPr/>
          <p:nvPr/>
        </p:nvSpPr>
        <p:spPr>
          <a:xfrm>
            <a:off x="6736818" y="4135143"/>
            <a:ext cx="49510" cy="69596"/>
          </a:xfrm>
          <a:custGeom>
            <a:avLst/>
            <a:gdLst/>
            <a:ahLst/>
            <a:cxnLst/>
            <a:rect l="0" t="0" r="0" b="0"/>
            <a:pathLst>
              <a:path w="6188869" h="8699500">
                <a:moveTo>
                  <a:pt x="0" y="0"/>
                </a:moveTo>
                <a:lnTo>
                  <a:pt x="1153518" y="0"/>
                </a:lnTo>
                <a:lnTo>
                  <a:pt x="1153518" y="5769174"/>
                </a:lnTo>
                <a:lnTo>
                  <a:pt x="4241602" y="5769174"/>
                </a:lnTo>
                <a:lnTo>
                  <a:pt x="4241602" y="0"/>
                </a:lnTo>
                <a:lnTo>
                  <a:pt x="5388769" y="0"/>
                </a:lnTo>
                <a:lnTo>
                  <a:pt x="5388769" y="5769174"/>
                </a:lnTo>
                <a:lnTo>
                  <a:pt x="6188869" y="5769174"/>
                </a:lnTo>
                <a:lnTo>
                  <a:pt x="6077149" y="8699500"/>
                </a:lnTo>
                <a:lnTo>
                  <a:pt x="5047853" y="8699500"/>
                </a:lnTo>
                <a:lnTo>
                  <a:pt x="5047853" y="6705600"/>
                </a:lnTo>
                <a:lnTo>
                  <a:pt x="0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49" name="Freeform 3649"/>
          <p:cNvSpPr/>
          <p:nvPr/>
        </p:nvSpPr>
        <p:spPr>
          <a:xfrm>
            <a:off x="6793839" y="4134127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0" name="Freeform 3650"/>
          <p:cNvSpPr/>
          <p:nvPr/>
        </p:nvSpPr>
        <p:spPr>
          <a:xfrm>
            <a:off x="6850712" y="4135143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1" name="Freeform 3651"/>
          <p:cNvSpPr/>
          <p:nvPr/>
        </p:nvSpPr>
        <p:spPr>
          <a:xfrm>
            <a:off x="6903479" y="4135143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2" name="Freeform 3652"/>
          <p:cNvSpPr/>
          <p:nvPr/>
        </p:nvSpPr>
        <p:spPr>
          <a:xfrm>
            <a:off x="6957207" y="4134127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3" name="Freeform 3653"/>
          <p:cNvSpPr/>
          <p:nvPr/>
        </p:nvSpPr>
        <p:spPr>
          <a:xfrm>
            <a:off x="7011775" y="4134127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4" name="Freeform 3654"/>
          <p:cNvSpPr/>
          <p:nvPr/>
        </p:nvSpPr>
        <p:spPr>
          <a:xfrm>
            <a:off x="7072960" y="4135143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5" name="Freeform 3655"/>
          <p:cNvSpPr/>
          <p:nvPr/>
        </p:nvSpPr>
        <p:spPr>
          <a:xfrm>
            <a:off x="6429610" y="4268493"/>
            <a:ext cx="55810" cy="69392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6" name="Freeform 3656"/>
          <p:cNvSpPr/>
          <p:nvPr/>
        </p:nvSpPr>
        <p:spPr>
          <a:xfrm>
            <a:off x="6493107" y="4267477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7" name="Freeform 3657"/>
          <p:cNvSpPr/>
          <p:nvPr/>
        </p:nvSpPr>
        <p:spPr>
          <a:xfrm>
            <a:off x="6554243" y="4268493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8" name="Freeform 3658"/>
          <p:cNvSpPr/>
          <p:nvPr/>
        </p:nvSpPr>
        <p:spPr>
          <a:xfrm>
            <a:off x="6609642" y="4267477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59" name="Freeform 3659"/>
          <p:cNvSpPr/>
          <p:nvPr/>
        </p:nvSpPr>
        <p:spPr>
          <a:xfrm>
            <a:off x="6664511" y="4268493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0" name="Freeform 3660"/>
          <p:cNvSpPr/>
          <p:nvPr/>
        </p:nvSpPr>
        <p:spPr>
          <a:xfrm>
            <a:off x="6728792" y="4268493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1" name="Freeform 3661"/>
          <p:cNvSpPr/>
          <p:nvPr/>
        </p:nvSpPr>
        <p:spPr>
          <a:xfrm>
            <a:off x="6787313" y="4268493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2" name="Freeform 3662"/>
          <p:cNvSpPr/>
          <p:nvPr/>
        </p:nvSpPr>
        <p:spPr>
          <a:xfrm>
            <a:off x="6840182" y="4268493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3" name="Freeform 3663"/>
          <p:cNvSpPr/>
          <p:nvPr/>
        </p:nvSpPr>
        <p:spPr>
          <a:xfrm>
            <a:off x="6887616" y="4267477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4" name="Freeform 3664"/>
          <p:cNvSpPr/>
          <p:nvPr/>
        </p:nvSpPr>
        <p:spPr>
          <a:xfrm>
            <a:off x="6938933" y="4268493"/>
            <a:ext cx="48766" cy="53644"/>
          </a:xfrm>
          <a:custGeom>
            <a:avLst/>
            <a:gdLst/>
            <a:ahLst/>
            <a:cxnLst/>
            <a:rect l="0" t="0" r="0" b="0"/>
            <a:pathLst>
              <a:path w="6095802" h="6705600">
                <a:moveTo>
                  <a:pt x="6095802" y="0"/>
                </a:moveTo>
                <a:lnTo>
                  <a:pt x="6095802" y="6705600"/>
                </a:lnTo>
                <a:lnTo>
                  <a:pt x="4942284" y="6705600"/>
                </a:lnTo>
                <a:lnTo>
                  <a:pt x="4942284" y="948730"/>
                </a:lnTo>
                <a:lnTo>
                  <a:pt x="2660253" y="948730"/>
                </a:lnTo>
                <a:lnTo>
                  <a:pt x="2523927" y="3458369"/>
                </a:lnTo>
                <a:cubicBezTo>
                  <a:pt x="2449446" y="4611026"/>
                  <a:pt x="2256168" y="5435270"/>
                  <a:pt x="1944092" y="5931099"/>
                </a:cubicBezTo>
                <a:cubicBezTo>
                  <a:pt x="1632016" y="6426796"/>
                  <a:pt x="1136981" y="6684963"/>
                  <a:pt x="458986" y="6705600"/>
                </a:cubicBezTo>
                <a:lnTo>
                  <a:pt x="0" y="6705600"/>
                </a:lnTo>
                <a:lnTo>
                  <a:pt x="0" y="5694760"/>
                </a:lnTo>
                <a:lnTo>
                  <a:pt x="328613" y="5669955"/>
                </a:lnTo>
                <a:cubicBezTo>
                  <a:pt x="700749" y="5628680"/>
                  <a:pt x="967383" y="5413905"/>
                  <a:pt x="1128514" y="5025629"/>
                </a:cubicBezTo>
                <a:cubicBezTo>
                  <a:pt x="1289778" y="4637220"/>
                  <a:pt x="1393164" y="3918347"/>
                  <a:pt x="1438672" y="2869010"/>
                </a:cubicBezTo>
                <a:lnTo>
                  <a:pt x="1562695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5" name="Freeform 3665"/>
          <p:cNvSpPr/>
          <p:nvPr/>
        </p:nvSpPr>
        <p:spPr>
          <a:xfrm>
            <a:off x="7003262" y="4268493"/>
            <a:ext cx="42862" cy="53644"/>
          </a:xfrm>
          <a:custGeom>
            <a:avLst/>
            <a:gdLst/>
            <a:ahLst/>
            <a:cxnLst/>
            <a:rect l="0" t="0" r="0" b="0"/>
            <a:pathLst>
              <a:path w="5357812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6" name="Freeform 3666"/>
          <p:cNvSpPr/>
          <p:nvPr/>
        </p:nvSpPr>
        <p:spPr>
          <a:xfrm>
            <a:off x="7058280" y="4268493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7" name="Freeform 3667"/>
          <p:cNvSpPr/>
          <p:nvPr/>
        </p:nvSpPr>
        <p:spPr>
          <a:xfrm>
            <a:off x="7113578" y="4267477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8" name="Freeform 3668"/>
          <p:cNvSpPr/>
          <p:nvPr/>
        </p:nvSpPr>
        <p:spPr>
          <a:xfrm>
            <a:off x="7174616" y="4268493"/>
            <a:ext cx="33982" cy="53644"/>
          </a:xfrm>
          <a:custGeom>
            <a:avLst/>
            <a:gdLst/>
            <a:ahLst/>
            <a:cxnLst/>
            <a:rect l="0" t="0" r="0" b="0"/>
            <a:pathLst>
              <a:path w="4247753" h="6705600">
                <a:moveTo>
                  <a:pt x="4247753" y="948730"/>
                </a:moveTo>
                <a:lnTo>
                  <a:pt x="1153319" y="948730"/>
                </a:lnTo>
                <a:lnTo>
                  <a:pt x="115331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24775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69" name="Freeform 3669"/>
          <p:cNvSpPr/>
          <p:nvPr/>
        </p:nvSpPr>
        <p:spPr>
          <a:xfrm>
            <a:off x="7213146" y="4267477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0" name="Freeform 3670"/>
          <p:cNvSpPr/>
          <p:nvPr/>
        </p:nvSpPr>
        <p:spPr>
          <a:xfrm>
            <a:off x="6431842" y="4400827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1" name="Freeform 3671"/>
          <p:cNvSpPr/>
          <p:nvPr/>
        </p:nvSpPr>
        <p:spPr>
          <a:xfrm>
            <a:off x="6490051" y="4378475"/>
            <a:ext cx="47972" cy="78028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2" name="Freeform 3672"/>
          <p:cNvSpPr/>
          <p:nvPr/>
        </p:nvSpPr>
        <p:spPr>
          <a:xfrm>
            <a:off x="6547455" y="4400827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3" name="Freeform 3673"/>
          <p:cNvSpPr/>
          <p:nvPr/>
        </p:nvSpPr>
        <p:spPr>
          <a:xfrm>
            <a:off x="6602914" y="4400827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4" name="Freeform 3674"/>
          <p:cNvSpPr/>
          <p:nvPr/>
        </p:nvSpPr>
        <p:spPr>
          <a:xfrm>
            <a:off x="6657041" y="4400827"/>
            <a:ext cx="42267" cy="55575"/>
          </a:xfrm>
          <a:custGeom>
            <a:avLst/>
            <a:gdLst/>
            <a:ahLst/>
            <a:cxnLst/>
            <a:rect l="0" t="0" r="0" b="0"/>
            <a:pathLst>
              <a:path w="5283398" h="6946900">
                <a:moveTo>
                  <a:pt x="4012207" y="1953618"/>
                </a:moveTo>
                <a:cubicBezTo>
                  <a:pt x="4012207" y="1639293"/>
                  <a:pt x="3892285" y="1390187"/>
                  <a:pt x="3652440" y="1206302"/>
                </a:cubicBezTo>
                <a:cubicBezTo>
                  <a:pt x="3412728" y="1022284"/>
                  <a:pt x="3084115" y="930275"/>
                  <a:pt x="2666603" y="930275"/>
                </a:cubicBezTo>
                <a:cubicBezTo>
                  <a:pt x="2261393" y="930275"/>
                  <a:pt x="1923388" y="1035712"/>
                  <a:pt x="1652587" y="1246585"/>
                </a:cubicBezTo>
                <a:cubicBezTo>
                  <a:pt x="1381786" y="1457458"/>
                  <a:pt x="1246386" y="1705505"/>
                  <a:pt x="1246386" y="1990725"/>
                </a:cubicBezTo>
                <a:lnTo>
                  <a:pt x="105370" y="1990725"/>
                </a:lnTo>
                <a:cubicBezTo>
                  <a:pt x="105370" y="1407716"/>
                  <a:pt x="349250" y="930209"/>
                  <a:pt x="837009" y="558205"/>
                </a:cubicBezTo>
                <a:cubicBezTo>
                  <a:pt x="1324901" y="186069"/>
                  <a:pt x="1934765" y="0"/>
                  <a:pt x="2666603" y="0"/>
                </a:cubicBezTo>
                <a:cubicBezTo>
                  <a:pt x="3452018" y="0"/>
                  <a:pt x="4063801" y="168474"/>
                  <a:pt x="4501951" y="505421"/>
                </a:cubicBezTo>
                <a:cubicBezTo>
                  <a:pt x="4940233" y="842368"/>
                  <a:pt x="5159375" y="1323050"/>
                  <a:pt x="5159375" y="1947466"/>
                </a:cubicBezTo>
                <a:cubicBezTo>
                  <a:pt x="5159375" y="2249223"/>
                  <a:pt x="5068424" y="2526242"/>
                  <a:pt x="4886523" y="2778522"/>
                </a:cubicBezTo>
                <a:cubicBezTo>
                  <a:pt x="4704622" y="3030670"/>
                  <a:pt x="4446257" y="3231158"/>
                  <a:pt x="4111426" y="3379986"/>
                </a:cubicBezTo>
                <a:cubicBezTo>
                  <a:pt x="4892741" y="3644702"/>
                  <a:pt x="5283398" y="4165799"/>
                  <a:pt x="5283398" y="4943277"/>
                </a:cubicBezTo>
                <a:cubicBezTo>
                  <a:pt x="5283398" y="5559492"/>
                  <a:pt x="5045670" y="6047516"/>
                  <a:pt x="4570214" y="6407349"/>
                </a:cubicBezTo>
                <a:cubicBezTo>
                  <a:pt x="4094890" y="6767050"/>
                  <a:pt x="3460353" y="6946900"/>
                  <a:pt x="2666603" y="6946900"/>
                </a:cubicBezTo>
                <a:cubicBezTo>
                  <a:pt x="1893490" y="6946900"/>
                  <a:pt x="1255778" y="6757723"/>
                  <a:pt x="753467" y="6379369"/>
                </a:cubicBezTo>
                <a:cubicBezTo>
                  <a:pt x="251155" y="6001015"/>
                  <a:pt x="0" y="5489311"/>
                  <a:pt x="0" y="4844257"/>
                </a:cubicBezTo>
                <a:lnTo>
                  <a:pt x="1141015" y="4844257"/>
                </a:lnTo>
                <a:cubicBezTo>
                  <a:pt x="1141015" y="5171017"/>
                  <a:pt x="1286734" y="5451211"/>
                  <a:pt x="1578173" y="5684838"/>
                </a:cubicBezTo>
                <a:cubicBezTo>
                  <a:pt x="1869612" y="5918465"/>
                  <a:pt x="2232422" y="6035279"/>
                  <a:pt x="2666603" y="6035279"/>
                </a:cubicBezTo>
                <a:cubicBezTo>
                  <a:pt x="3104753" y="6035279"/>
                  <a:pt x="3458170" y="5933943"/>
                  <a:pt x="3726854" y="5731272"/>
                </a:cubicBezTo>
                <a:cubicBezTo>
                  <a:pt x="3995671" y="5528602"/>
                  <a:pt x="4130079" y="5265936"/>
                  <a:pt x="4130079" y="4943277"/>
                </a:cubicBezTo>
                <a:cubicBezTo>
                  <a:pt x="4130079" y="4566775"/>
                  <a:pt x="4017367" y="4296834"/>
                  <a:pt x="3791942" y="4133454"/>
                </a:cubicBezTo>
                <a:cubicBezTo>
                  <a:pt x="3566649" y="3970073"/>
                  <a:pt x="3216341" y="3888383"/>
                  <a:pt x="2741017" y="3888383"/>
                </a:cubicBezTo>
                <a:lnTo>
                  <a:pt x="1593651" y="3888383"/>
                </a:lnTo>
                <a:lnTo>
                  <a:pt x="1593651" y="2921000"/>
                </a:lnTo>
                <a:lnTo>
                  <a:pt x="2840236" y="2921000"/>
                </a:lnTo>
                <a:cubicBezTo>
                  <a:pt x="3621550" y="2900363"/>
                  <a:pt x="4012207" y="2577902"/>
                  <a:pt x="4012207" y="195361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5" name="Freeform 3675"/>
          <p:cNvSpPr/>
          <p:nvPr/>
        </p:nvSpPr>
        <p:spPr>
          <a:xfrm>
            <a:off x="6708702" y="4400827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6" name="Freeform 3676"/>
          <p:cNvSpPr/>
          <p:nvPr/>
        </p:nvSpPr>
        <p:spPr>
          <a:xfrm>
            <a:off x="6769887" y="4401843"/>
            <a:ext cx="45045" cy="53644"/>
          </a:xfrm>
          <a:custGeom>
            <a:avLst/>
            <a:gdLst/>
            <a:ahLst/>
            <a:cxnLst/>
            <a:rect l="0" t="0" r="0" b="0"/>
            <a:pathLst>
              <a:path w="5630664" h="6705600">
                <a:moveTo>
                  <a:pt x="0" y="6705600"/>
                </a:moveTo>
                <a:lnTo>
                  <a:pt x="0" y="0"/>
                </a:lnTo>
                <a:lnTo>
                  <a:pt x="2616994" y="0"/>
                </a:lnTo>
                <a:cubicBezTo>
                  <a:pt x="3509962" y="0"/>
                  <a:pt x="4195167" y="156038"/>
                  <a:pt x="4672608" y="468115"/>
                </a:cubicBezTo>
                <a:cubicBezTo>
                  <a:pt x="5150180" y="780058"/>
                  <a:pt x="5388967" y="1237655"/>
                  <a:pt x="5388967" y="1840905"/>
                </a:cubicBezTo>
                <a:cubicBezTo>
                  <a:pt x="5388967" y="2150865"/>
                  <a:pt x="5295900" y="2430860"/>
                  <a:pt x="5109766" y="2680891"/>
                </a:cubicBezTo>
                <a:cubicBezTo>
                  <a:pt x="4923763" y="2930790"/>
                  <a:pt x="4648861" y="3121886"/>
                  <a:pt x="4285059" y="3254177"/>
                </a:cubicBezTo>
                <a:cubicBezTo>
                  <a:pt x="4690269" y="3349162"/>
                  <a:pt x="5015838" y="3535098"/>
                  <a:pt x="5261769" y="3811985"/>
                </a:cubicBezTo>
                <a:cubicBezTo>
                  <a:pt x="5507699" y="4088739"/>
                  <a:pt x="5630664" y="4419204"/>
                  <a:pt x="5630664" y="4803379"/>
                </a:cubicBezTo>
                <a:cubicBezTo>
                  <a:pt x="5630664" y="5418799"/>
                  <a:pt x="5404313" y="5889692"/>
                  <a:pt x="4951611" y="6216055"/>
                </a:cubicBezTo>
                <a:cubicBezTo>
                  <a:pt x="4499041" y="6542419"/>
                  <a:pt x="3859345" y="6705600"/>
                  <a:pt x="3032522" y="6705600"/>
                </a:cubicBezTo>
                <a:close/>
                <a:moveTo>
                  <a:pt x="1147366" y="3762574"/>
                </a:moveTo>
                <a:lnTo>
                  <a:pt x="1147366" y="5781675"/>
                </a:lnTo>
                <a:lnTo>
                  <a:pt x="3044825" y="5781675"/>
                </a:lnTo>
                <a:cubicBezTo>
                  <a:pt x="3524382" y="5781675"/>
                  <a:pt x="3883025" y="5692908"/>
                  <a:pt x="4120753" y="5515372"/>
                </a:cubicBezTo>
                <a:cubicBezTo>
                  <a:pt x="4358481" y="5337837"/>
                  <a:pt x="4477345" y="5088004"/>
                  <a:pt x="4477345" y="4765874"/>
                </a:cubicBezTo>
                <a:cubicBezTo>
                  <a:pt x="4477345" y="4097007"/>
                  <a:pt x="3985352" y="3762574"/>
                  <a:pt x="3001367" y="3762574"/>
                </a:cubicBezTo>
                <a:close/>
                <a:moveTo>
                  <a:pt x="1147366" y="2844800"/>
                </a:moveTo>
                <a:lnTo>
                  <a:pt x="2629297" y="2844800"/>
                </a:lnTo>
                <a:cubicBezTo>
                  <a:pt x="3704166" y="2844800"/>
                  <a:pt x="4241601" y="2530872"/>
                  <a:pt x="4241601" y="1903016"/>
                </a:cubicBezTo>
                <a:cubicBezTo>
                  <a:pt x="4241601" y="1275160"/>
                  <a:pt x="3733138" y="950913"/>
                  <a:pt x="2716212" y="930275"/>
                </a:cubicBezTo>
                <a:lnTo>
                  <a:pt x="1147366" y="93027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7" name="Freeform 3677"/>
          <p:cNvSpPr/>
          <p:nvPr/>
        </p:nvSpPr>
        <p:spPr>
          <a:xfrm>
            <a:off x="6825520" y="4400827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8" name="Freeform 3678"/>
          <p:cNvSpPr/>
          <p:nvPr/>
        </p:nvSpPr>
        <p:spPr>
          <a:xfrm>
            <a:off x="6883020" y="4401843"/>
            <a:ext cx="43060" cy="53644"/>
          </a:xfrm>
          <a:custGeom>
            <a:avLst/>
            <a:gdLst/>
            <a:ahLst/>
            <a:cxnLst/>
            <a:rect l="0" t="0" r="0" b="0"/>
            <a:pathLst>
              <a:path w="5382618" h="6705600">
                <a:moveTo>
                  <a:pt x="5382618" y="6705600"/>
                </a:moveTo>
                <a:lnTo>
                  <a:pt x="4235450" y="6705600"/>
                </a:lnTo>
                <a:lnTo>
                  <a:pt x="4235450" y="3844727"/>
                </a:lnTo>
                <a:lnTo>
                  <a:pt x="1153518" y="3844727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908300"/>
                </a:lnTo>
                <a:lnTo>
                  <a:pt x="4235450" y="2908300"/>
                </a:lnTo>
                <a:lnTo>
                  <a:pt x="4235450" y="0"/>
                </a:lnTo>
                <a:lnTo>
                  <a:pt x="538261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79" name="Freeform 3679"/>
          <p:cNvSpPr/>
          <p:nvPr/>
        </p:nvSpPr>
        <p:spPr>
          <a:xfrm>
            <a:off x="6941542" y="4401843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80" name="Freeform 3680"/>
          <p:cNvSpPr/>
          <p:nvPr/>
        </p:nvSpPr>
        <p:spPr>
          <a:xfrm>
            <a:off x="6994758" y="4401843"/>
            <a:ext cx="45640" cy="53644"/>
          </a:xfrm>
          <a:custGeom>
            <a:avLst/>
            <a:gdLst/>
            <a:ahLst/>
            <a:cxnLst/>
            <a:rect l="0" t="0" r="0" b="0"/>
            <a:pathLst>
              <a:path w="5705078" h="6705600">
                <a:moveTo>
                  <a:pt x="5705078" y="0"/>
                </a:moveTo>
                <a:lnTo>
                  <a:pt x="5705078" y="6705600"/>
                </a:lnTo>
                <a:lnTo>
                  <a:pt x="4551561" y="6705600"/>
                </a:lnTo>
                <a:lnTo>
                  <a:pt x="4551561" y="4092179"/>
                </a:lnTo>
                <a:lnTo>
                  <a:pt x="2821583" y="4092179"/>
                </a:lnTo>
                <a:lnTo>
                  <a:pt x="1240235" y="6705600"/>
                </a:lnTo>
                <a:lnTo>
                  <a:pt x="0" y="6705600"/>
                </a:lnTo>
                <a:lnTo>
                  <a:pt x="1686719" y="3918744"/>
                </a:lnTo>
                <a:cubicBezTo>
                  <a:pt x="1256771" y="3761846"/>
                  <a:pt x="927034" y="3519356"/>
                  <a:pt x="697508" y="3191272"/>
                </a:cubicBezTo>
                <a:cubicBezTo>
                  <a:pt x="468114" y="2863189"/>
                  <a:pt x="353417" y="2480403"/>
                  <a:pt x="353417" y="2042915"/>
                </a:cubicBezTo>
                <a:cubicBezTo>
                  <a:pt x="353417" y="1432124"/>
                  <a:pt x="582877" y="939999"/>
                  <a:pt x="1041797" y="566540"/>
                </a:cubicBezTo>
                <a:cubicBezTo>
                  <a:pt x="1500717" y="192948"/>
                  <a:pt x="2114616" y="4102"/>
                  <a:pt x="2883496" y="0"/>
                </a:cubicBezTo>
                <a:close/>
                <a:moveTo>
                  <a:pt x="1506935" y="2055416"/>
                </a:moveTo>
                <a:cubicBezTo>
                  <a:pt x="1506935" y="2380986"/>
                  <a:pt x="1618523" y="2643717"/>
                  <a:pt x="1841699" y="2843610"/>
                </a:cubicBezTo>
                <a:cubicBezTo>
                  <a:pt x="2065007" y="3043503"/>
                  <a:pt x="2360613" y="3145500"/>
                  <a:pt x="2728516" y="3149600"/>
                </a:cubicBezTo>
                <a:lnTo>
                  <a:pt x="4551561" y="3149600"/>
                </a:lnTo>
                <a:lnTo>
                  <a:pt x="4551561" y="930275"/>
                </a:lnTo>
                <a:lnTo>
                  <a:pt x="2902149" y="930275"/>
                </a:lnTo>
                <a:cubicBezTo>
                  <a:pt x="2476302" y="930275"/>
                  <a:pt x="2137304" y="1034323"/>
                  <a:pt x="1885156" y="1242418"/>
                </a:cubicBezTo>
                <a:cubicBezTo>
                  <a:pt x="1633008" y="1450512"/>
                  <a:pt x="1506935" y="1721512"/>
                  <a:pt x="1506935" y="20554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81" name="Rectangle 3681"/>
          <p:cNvSpPr/>
          <p:nvPr/>
        </p:nvSpPr>
        <p:spPr>
          <a:xfrm>
            <a:off x="4112612" y="2739512"/>
            <a:ext cx="1014577" cy="388618"/>
          </a:xfrm>
          <a:prstGeom prst="rect">
            <a:avLst/>
          </a:prstGeom>
        </p:spPr>
      </p:sp>
      <p:sp>
        <p:nvSpPr>
          <p:cNvPr id="3682" name="Freeform 3682"/>
          <p:cNvSpPr/>
          <p:nvPr/>
        </p:nvSpPr>
        <p:spPr>
          <a:xfrm>
            <a:off x="4120996" y="2763794"/>
            <a:ext cx="71885" cy="72237"/>
          </a:xfrm>
          <a:custGeom>
            <a:avLst/>
            <a:gdLst/>
            <a:ahLst/>
            <a:cxnLst/>
            <a:rect l="0" t="0" r="0" b="0"/>
            <a:pathLst>
              <a:path w="8985647" h="9029700">
                <a:moveTo>
                  <a:pt x="1537891" y="0"/>
                </a:moveTo>
                <a:lnTo>
                  <a:pt x="4489648" y="7367588"/>
                </a:lnTo>
                <a:lnTo>
                  <a:pt x="7441406" y="0"/>
                </a:lnTo>
                <a:lnTo>
                  <a:pt x="8985647" y="0"/>
                </a:lnTo>
                <a:lnTo>
                  <a:pt x="8985647" y="9029700"/>
                </a:lnTo>
                <a:lnTo>
                  <a:pt x="7795022" y="9029700"/>
                </a:lnTo>
                <a:lnTo>
                  <a:pt x="7795022" y="5513388"/>
                </a:lnTo>
                <a:lnTo>
                  <a:pt x="7906544" y="1717874"/>
                </a:lnTo>
                <a:lnTo>
                  <a:pt x="4942483" y="9029700"/>
                </a:lnTo>
                <a:lnTo>
                  <a:pt x="4030861" y="9029700"/>
                </a:lnTo>
                <a:lnTo>
                  <a:pt x="1072952" y="1736527"/>
                </a:lnTo>
                <a:lnTo>
                  <a:pt x="1190625" y="5513388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83" name="Freeform 3683"/>
          <p:cNvSpPr/>
          <p:nvPr/>
        </p:nvSpPr>
        <p:spPr>
          <a:xfrm>
            <a:off x="4209048" y="2782387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84" name="Freeform 3684"/>
          <p:cNvSpPr/>
          <p:nvPr/>
        </p:nvSpPr>
        <p:spPr>
          <a:xfrm>
            <a:off x="4266878" y="2781371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85" name="Freeform 3685"/>
          <p:cNvSpPr/>
          <p:nvPr/>
        </p:nvSpPr>
        <p:spPr>
          <a:xfrm>
            <a:off x="4349764" y="2782387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5388769" y="6705600"/>
                </a:moveTo>
                <a:lnTo>
                  <a:pt x="4241602" y="6705600"/>
                </a:lnTo>
                <a:lnTo>
                  <a:pt x="4241602" y="948730"/>
                </a:lnTo>
                <a:lnTo>
                  <a:pt x="1153518" y="948730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538876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86" name="Freeform 3686"/>
          <p:cNvSpPr/>
          <p:nvPr/>
        </p:nvSpPr>
        <p:spPr>
          <a:xfrm>
            <a:off x="4407594" y="2781371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87" name="Freeform 3687"/>
          <p:cNvSpPr/>
          <p:nvPr/>
        </p:nvSpPr>
        <p:spPr>
          <a:xfrm>
            <a:off x="4462161" y="2781371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88" name="Freeform 3688"/>
          <p:cNvSpPr/>
          <p:nvPr/>
        </p:nvSpPr>
        <p:spPr>
          <a:xfrm>
            <a:off x="4520519" y="2759831"/>
            <a:ext cx="63747" cy="96824"/>
          </a:xfrm>
          <a:custGeom>
            <a:avLst/>
            <a:gdLst/>
            <a:ahLst/>
            <a:cxnLst/>
            <a:rect l="0" t="0" r="0" b="0"/>
            <a:pathLst>
              <a:path w="7968456" h="12103100">
                <a:moveTo>
                  <a:pt x="0" y="6293049"/>
                </a:moveTo>
                <a:cubicBezTo>
                  <a:pt x="0" y="5173332"/>
                  <a:pt x="217024" y="4293328"/>
                  <a:pt x="651073" y="3653036"/>
                </a:cubicBezTo>
                <a:cubicBezTo>
                  <a:pt x="1085254" y="3012613"/>
                  <a:pt x="1680567" y="2692400"/>
                  <a:pt x="2437011" y="2692400"/>
                </a:cubicBezTo>
                <a:cubicBezTo>
                  <a:pt x="2788510" y="2692400"/>
                  <a:pt x="3096551" y="2752395"/>
                  <a:pt x="3361134" y="2872383"/>
                </a:cubicBezTo>
                <a:lnTo>
                  <a:pt x="3361134" y="0"/>
                </a:lnTo>
                <a:lnTo>
                  <a:pt x="4508301" y="0"/>
                </a:lnTo>
                <a:lnTo>
                  <a:pt x="4508301" y="2909491"/>
                </a:lnTo>
                <a:cubicBezTo>
                  <a:pt x="4797623" y="2764764"/>
                  <a:pt x="5136621" y="2692400"/>
                  <a:pt x="5525293" y="2692400"/>
                </a:cubicBezTo>
                <a:cubicBezTo>
                  <a:pt x="6285970" y="2692400"/>
                  <a:pt x="6883334" y="3012613"/>
                  <a:pt x="7317383" y="3653036"/>
                </a:cubicBezTo>
                <a:cubicBezTo>
                  <a:pt x="7751431" y="4293328"/>
                  <a:pt x="7968456" y="5216724"/>
                  <a:pt x="7968456" y="6423224"/>
                </a:cubicBezTo>
                <a:cubicBezTo>
                  <a:pt x="7968456" y="7410649"/>
                  <a:pt x="7752423" y="8195668"/>
                  <a:pt x="7320359" y="8778280"/>
                </a:cubicBezTo>
                <a:cubicBezTo>
                  <a:pt x="6888427" y="9360760"/>
                  <a:pt x="6294173" y="9652000"/>
                  <a:pt x="5537597" y="9652000"/>
                </a:cubicBezTo>
                <a:cubicBezTo>
                  <a:pt x="5136621" y="9652000"/>
                  <a:pt x="4793522" y="9585854"/>
                  <a:pt x="4508301" y="9453563"/>
                </a:cubicBezTo>
                <a:lnTo>
                  <a:pt x="4508301" y="12103100"/>
                </a:lnTo>
                <a:lnTo>
                  <a:pt x="3361134" y="12103100"/>
                </a:lnTo>
                <a:lnTo>
                  <a:pt x="3361134" y="9472216"/>
                </a:lnTo>
                <a:cubicBezTo>
                  <a:pt x="3088216" y="9592071"/>
                  <a:pt x="2776074" y="9652000"/>
                  <a:pt x="2424708" y="9652000"/>
                </a:cubicBezTo>
                <a:cubicBezTo>
                  <a:pt x="1672233" y="9652000"/>
                  <a:pt x="1079963" y="9360760"/>
                  <a:pt x="647898" y="8778280"/>
                </a:cubicBezTo>
                <a:cubicBezTo>
                  <a:pt x="215966" y="8195668"/>
                  <a:pt x="0" y="7398213"/>
                  <a:pt x="0" y="6385918"/>
                </a:cubicBezTo>
                <a:close/>
                <a:moveTo>
                  <a:pt x="6821289" y="6293049"/>
                </a:moveTo>
                <a:cubicBezTo>
                  <a:pt x="6821289" y="5450351"/>
                  <a:pt x="6676562" y="4796698"/>
                  <a:pt x="6387108" y="4332090"/>
                </a:cubicBezTo>
                <a:cubicBezTo>
                  <a:pt x="6097786" y="3867349"/>
                  <a:pt x="5698860" y="3634979"/>
                  <a:pt x="5190331" y="3634979"/>
                </a:cubicBezTo>
                <a:cubicBezTo>
                  <a:pt x="4929981" y="3634979"/>
                  <a:pt x="4702638" y="3676254"/>
                  <a:pt x="4508301" y="3758804"/>
                </a:cubicBezTo>
                <a:lnTo>
                  <a:pt x="4508301" y="8610204"/>
                </a:lnTo>
                <a:cubicBezTo>
                  <a:pt x="4694303" y="8680450"/>
                  <a:pt x="4925814" y="8715574"/>
                  <a:pt x="5202833" y="8715574"/>
                </a:cubicBezTo>
                <a:cubicBezTo>
                  <a:pt x="5715463" y="8715574"/>
                  <a:pt x="6113330" y="8517335"/>
                  <a:pt x="6396434" y="8120857"/>
                </a:cubicBezTo>
                <a:cubicBezTo>
                  <a:pt x="6679670" y="7724246"/>
                  <a:pt x="6821289" y="7114977"/>
                  <a:pt x="6821289" y="6293049"/>
                </a:cubicBezTo>
                <a:close/>
                <a:moveTo>
                  <a:pt x="1147167" y="6423025"/>
                </a:moveTo>
                <a:cubicBezTo>
                  <a:pt x="1147167" y="7174839"/>
                  <a:pt x="1281509" y="7744884"/>
                  <a:pt x="1550193" y="8133160"/>
                </a:cubicBezTo>
                <a:cubicBezTo>
                  <a:pt x="1819010" y="8521436"/>
                  <a:pt x="2205566" y="8715574"/>
                  <a:pt x="2709862" y="8715574"/>
                </a:cubicBezTo>
                <a:cubicBezTo>
                  <a:pt x="2949707" y="8715574"/>
                  <a:pt x="3166797" y="8678400"/>
                  <a:pt x="3361134" y="8604052"/>
                </a:cubicBezTo>
                <a:lnTo>
                  <a:pt x="3361134" y="3740349"/>
                </a:lnTo>
                <a:cubicBezTo>
                  <a:pt x="3187435" y="3670102"/>
                  <a:pt x="2974512" y="3634979"/>
                  <a:pt x="2722364" y="3634979"/>
                </a:cubicBezTo>
                <a:cubicBezTo>
                  <a:pt x="2217936" y="3634979"/>
                  <a:pt x="1829263" y="3860139"/>
                  <a:pt x="1556345" y="4310460"/>
                </a:cubicBezTo>
                <a:cubicBezTo>
                  <a:pt x="1283560" y="4760648"/>
                  <a:pt x="1147167" y="5464837"/>
                  <a:pt x="1147167" y="642302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89" name="Freeform 3689"/>
          <p:cNvSpPr/>
          <p:nvPr/>
        </p:nvSpPr>
        <p:spPr>
          <a:xfrm>
            <a:off x="4593831" y="2781371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0" name="Freeform 3690"/>
          <p:cNvSpPr/>
          <p:nvPr/>
        </p:nvSpPr>
        <p:spPr>
          <a:xfrm>
            <a:off x="4647529" y="2781371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1" name="Freeform 3691"/>
          <p:cNvSpPr/>
          <p:nvPr/>
        </p:nvSpPr>
        <p:spPr>
          <a:xfrm>
            <a:off x="4700665" y="2781371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2" name="Freeform 3692"/>
          <p:cNvSpPr/>
          <p:nvPr/>
        </p:nvSpPr>
        <p:spPr>
          <a:xfrm>
            <a:off x="4756977" y="2782387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3" name="Freeform 3693"/>
          <p:cNvSpPr/>
          <p:nvPr/>
        </p:nvSpPr>
        <p:spPr>
          <a:xfrm>
            <a:off x="4815600" y="2762778"/>
            <a:ext cx="43110" cy="73253"/>
          </a:xfrm>
          <a:custGeom>
            <a:avLst/>
            <a:gdLst/>
            <a:ahLst/>
            <a:cxnLst/>
            <a:rect l="0" t="0" r="0" b="0"/>
            <a:pathLst>
              <a:path w="5388769" h="9156700">
                <a:moveTo>
                  <a:pt x="4241602" y="2451100"/>
                </a:moveTo>
                <a:lnTo>
                  <a:pt x="5388769" y="2451100"/>
                </a:lnTo>
                <a:lnTo>
                  <a:pt x="5388769" y="9156700"/>
                </a:lnTo>
                <a:lnTo>
                  <a:pt x="4241602" y="9156700"/>
                </a:lnTo>
                <a:lnTo>
                  <a:pt x="4241602" y="4267002"/>
                </a:lnTo>
                <a:lnTo>
                  <a:pt x="1147168" y="9156700"/>
                </a:lnTo>
                <a:lnTo>
                  <a:pt x="0" y="9156700"/>
                </a:lnTo>
                <a:lnTo>
                  <a:pt x="0" y="2451100"/>
                </a:lnTo>
                <a:lnTo>
                  <a:pt x="1147168" y="2451100"/>
                </a:lnTo>
                <a:lnTo>
                  <a:pt x="1147168" y="7347149"/>
                </a:lnTo>
                <a:close/>
                <a:moveTo>
                  <a:pt x="4551760" y="0"/>
                </a:moveTo>
                <a:cubicBezTo>
                  <a:pt x="4551760" y="500724"/>
                  <a:pt x="4381236" y="903222"/>
                  <a:pt x="4040188" y="1207493"/>
                </a:cubicBezTo>
                <a:cubicBezTo>
                  <a:pt x="3699140" y="1511631"/>
                  <a:pt x="3251597" y="1663700"/>
                  <a:pt x="2697560" y="1663700"/>
                </a:cubicBezTo>
                <a:cubicBezTo>
                  <a:pt x="2143655" y="1663700"/>
                  <a:pt x="1695120" y="1510573"/>
                  <a:pt x="1351955" y="1204318"/>
                </a:cubicBezTo>
                <a:cubicBezTo>
                  <a:pt x="1008790" y="898063"/>
                  <a:pt x="837208" y="496624"/>
                  <a:pt x="837208" y="0"/>
                </a:cubicBezTo>
                <a:lnTo>
                  <a:pt x="1773635" y="0"/>
                </a:lnTo>
                <a:cubicBezTo>
                  <a:pt x="1773635" y="289984"/>
                  <a:pt x="1852150" y="516798"/>
                  <a:pt x="2009180" y="680443"/>
                </a:cubicBezTo>
                <a:cubicBezTo>
                  <a:pt x="2166343" y="843955"/>
                  <a:pt x="2395803" y="925711"/>
                  <a:pt x="2697560" y="925711"/>
                </a:cubicBezTo>
                <a:cubicBezTo>
                  <a:pt x="2987014" y="925711"/>
                  <a:pt x="3213365" y="844947"/>
                  <a:pt x="3376613" y="683419"/>
                </a:cubicBezTo>
                <a:cubicBezTo>
                  <a:pt x="3539993" y="521891"/>
                  <a:pt x="3621683" y="294085"/>
                  <a:pt x="3621683" y="0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4" name="Freeform 3694"/>
          <p:cNvSpPr/>
          <p:nvPr/>
        </p:nvSpPr>
        <p:spPr>
          <a:xfrm>
            <a:off x="4117424" y="2892369"/>
            <a:ext cx="47972" cy="78028"/>
          </a:xfrm>
          <a:custGeom>
            <a:avLst/>
            <a:gdLst/>
            <a:ahLst/>
            <a:cxnLst/>
            <a:rect l="0" t="0" r="0" b="0"/>
            <a:pathLst>
              <a:path w="5996582" h="9753600">
                <a:moveTo>
                  <a:pt x="3212306" y="3302000"/>
                </a:moveTo>
                <a:cubicBezTo>
                  <a:pt x="4055665" y="3302000"/>
                  <a:pt x="4730551" y="3584245"/>
                  <a:pt x="5236964" y="4148733"/>
                </a:cubicBezTo>
                <a:cubicBezTo>
                  <a:pt x="5743376" y="4713222"/>
                  <a:pt x="5996582" y="5456635"/>
                  <a:pt x="5996582" y="6378972"/>
                </a:cubicBezTo>
                <a:lnTo>
                  <a:pt x="5996582" y="6484343"/>
                </a:lnTo>
                <a:cubicBezTo>
                  <a:pt x="5996582" y="7117094"/>
                  <a:pt x="5874610" y="7682641"/>
                  <a:pt x="5630664" y="8180983"/>
                </a:cubicBezTo>
                <a:cubicBezTo>
                  <a:pt x="5386850" y="8679326"/>
                  <a:pt x="5036475" y="9066015"/>
                  <a:pt x="4579540" y="9341049"/>
                </a:cubicBezTo>
                <a:cubicBezTo>
                  <a:pt x="4122737" y="9616083"/>
                  <a:pt x="3596679" y="9753600"/>
                  <a:pt x="3001367" y="9753600"/>
                </a:cubicBezTo>
                <a:cubicBezTo>
                  <a:pt x="2100196" y="9753600"/>
                  <a:pt x="1374642" y="9452835"/>
                  <a:pt x="824706" y="8851305"/>
                </a:cubicBezTo>
                <a:cubicBezTo>
                  <a:pt x="274902" y="8249775"/>
                  <a:pt x="0" y="7442597"/>
                  <a:pt x="0" y="6429772"/>
                </a:cubicBezTo>
                <a:lnTo>
                  <a:pt x="0" y="5871568"/>
                </a:lnTo>
                <a:cubicBezTo>
                  <a:pt x="0" y="4461868"/>
                  <a:pt x="261474" y="3341556"/>
                  <a:pt x="784423" y="2510632"/>
                </a:cubicBezTo>
                <a:cubicBezTo>
                  <a:pt x="1307504" y="1679575"/>
                  <a:pt x="2079558" y="1173097"/>
                  <a:pt x="3100586" y="991196"/>
                </a:cubicBezTo>
                <a:cubicBezTo>
                  <a:pt x="3679361" y="888008"/>
                  <a:pt x="4070019" y="762066"/>
                  <a:pt x="4272557" y="613371"/>
                </a:cubicBezTo>
                <a:cubicBezTo>
                  <a:pt x="4475228" y="464675"/>
                  <a:pt x="4576564" y="260218"/>
                  <a:pt x="4576564" y="0"/>
                </a:cubicBezTo>
                <a:lnTo>
                  <a:pt x="5519142" y="0"/>
                </a:lnTo>
                <a:cubicBezTo>
                  <a:pt x="5519142" y="516202"/>
                  <a:pt x="5402328" y="918899"/>
                  <a:pt x="5168701" y="1208088"/>
                </a:cubicBezTo>
                <a:cubicBezTo>
                  <a:pt x="4935206" y="1497146"/>
                  <a:pt x="4562144" y="1701536"/>
                  <a:pt x="4049514" y="1821260"/>
                </a:cubicBezTo>
                <a:lnTo>
                  <a:pt x="3193653" y="2013347"/>
                </a:lnTo>
                <a:cubicBezTo>
                  <a:pt x="2511557" y="2174479"/>
                  <a:pt x="1999985" y="2446205"/>
                  <a:pt x="1658937" y="2828529"/>
                </a:cubicBezTo>
                <a:cubicBezTo>
                  <a:pt x="1317889" y="3210719"/>
                  <a:pt x="1095639" y="3720042"/>
                  <a:pt x="992187" y="4356497"/>
                </a:cubicBezTo>
                <a:cubicBezTo>
                  <a:pt x="1599935" y="3653500"/>
                  <a:pt x="2339975" y="3302000"/>
                  <a:pt x="3212306" y="3302000"/>
                </a:cubicBezTo>
                <a:close/>
                <a:moveTo>
                  <a:pt x="2989064" y="4244579"/>
                </a:moveTo>
                <a:cubicBezTo>
                  <a:pt x="2426824" y="4244579"/>
                  <a:pt x="1980340" y="4433822"/>
                  <a:pt x="1649611" y="4812308"/>
                </a:cubicBezTo>
                <a:cubicBezTo>
                  <a:pt x="1318881" y="5190795"/>
                  <a:pt x="1153517" y="5715067"/>
                  <a:pt x="1153517" y="6385124"/>
                </a:cubicBezTo>
                <a:lnTo>
                  <a:pt x="1153517" y="6484343"/>
                </a:lnTo>
                <a:cubicBezTo>
                  <a:pt x="1153517" y="7204009"/>
                  <a:pt x="1319873" y="7773790"/>
                  <a:pt x="1652587" y="8193683"/>
                </a:cubicBezTo>
                <a:cubicBezTo>
                  <a:pt x="1985433" y="8613445"/>
                  <a:pt x="2435026" y="8823325"/>
                  <a:pt x="3001367" y="8823325"/>
                </a:cubicBezTo>
                <a:cubicBezTo>
                  <a:pt x="3571941" y="8823325"/>
                  <a:pt x="4022592" y="8612386"/>
                  <a:pt x="4353321" y="8190508"/>
                </a:cubicBezTo>
                <a:cubicBezTo>
                  <a:pt x="4684050" y="7768630"/>
                  <a:pt x="4849415" y="7152349"/>
                  <a:pt x="4849415" y="6341666"/>
                </a:cubicBezTo>
                <a:cubicBezTo>
                  <a:pt x="4849415" y="5708783"/>
                  <a:pt x="4682992" y="5201047"/>
                  <a:pt x="4350146" y="4818460"/>
                </a:cubicBezTo>
                <a:cubicBezTo>
                  <a:pt x="4017433" y="4435872"/>
                  <a:pt x="3563739" y="4244579"/>
                  <a:pt x="2989064" y="4244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5" name="Freeform 3695"/>
          <p:cNvSpPr/>
          <p:nvPr/>
        </p:nvSpPr>
        <p:spPr>
          <a:xfrm>
            <a:off x="4169788" y="2915737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6" name="Freeform 3696"/>
          <p:cNvSpPr/>
          <p:nvPr/>
        </p:nvSpPr>
        <p:spPr>
          <a:xfrm>
            <a:off x="4216292" y="2915737"/>
            <a:ext cx="55810" cy="69392"/>
          </a:xfrm>
          <a:custGeom>
            <a:avLst/>
            <a:gdLst/>
            <a:ahLst/>
            <a:cxnLst/>
            <a:rect l="0" t="0" r="0" b="0"/>
            <a:pathLst>
              <a:path w="6976268" h="8674100">
                <a:moveTo>
                  <a:pt x="527050" y="5769174"/>
                </a:moveTo>
                <a:lnTo>
                  <a:pt x="923925" y="5279629"/>
                </a:lnTo>
                <a:cubicBezTo>
                  <a:pt x="1370409" y="4701249"/>
                  <a:pt x="1624674" y="3833681"/>
                  <a:pt x="1686718" y="2676922"/>
                </a:cubicBezTo>
                <a:lnTo>
                  <a:pt x="1792089" y="0"/>
                </a:lnTo>
                <a:lnTo>
                  <a:pt x="6114256" y="0"/>
                </a:lnTo>
                <a:lnTo>
                  <a:pt x="6114256" y="5769174"/>
                </a:lnTo>
                <a:lnTo>
                  <a:pt x="6976268" y="5769174"/>
                </a:lnTo>
                <a:lnTo>
                  <a:pt x="6976268" y="8674100"/>
                </a:lnTo>
                <a:lnTo>
                  <a:pt x="5829101" y="8674100"/>
                </a:lnTo>
                <a:lnTo>
                  <a:pt x="5829101" y="6705600"/>
                </a:lnTo>
                <a:lnTo>
                  <a:pt x="1147167" y="6705600"/>
                </a:lnTo>
                <a:lnTo>
                  <a:pt x="1147167" y="8674100"/>
                </a:lnTo>
                <a:lnTo>
                  <a:pt x="0" y="8674100"/>
                </a:lnTo>
                <a:lnTo>
                  <a:pt x="6151" y="5769174"/>
                </a:lnTo>
                <a:close/>
                <a:moveTo>
                  <a:pt x="1885156" y="5769174"/>
                </a:moveTo>
                <a:lnTo>
                  <a:pt x="4967089" y="5769174"/>
                </a:lnTo>
                <a:lnTo>
                  <a:pt x="4967089" y="1060450"/>
                </a:lnTo>
                <a:lnTo>
                  <a:pt x="2902148" y="1060450"/>
                </a:lnTo>
                <a:lnTo>
                  <a:pt x="2833886" y="2658865"/>
                </a:lnTo>
                <a:cubicBezTo>
                  <a:pt x="2763639" y="3993026"/>
                  <a:pt x="2447395" y="5029796"/>
                  <a:pt x="1885156" y="5769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7" name="Freeform 3697"/>
          <p:cNvSpPr/>
          <p:nvPr/>
        </p:nvSpPr>
        <p:spPr>
          <a:xfrm>
            <a:off x="4276366" y="2915737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8" name="Freeform 3698"/>
          <p:cNvSpPr/>
          <p:nvPr/>
        </p:nvSpPr>
        <p:spPr>
          <a:xfrm>
            <a:off x="4330524" y="2915737"/>
            <a:ext cx="74414" cy="69596"/>
          </a:xfrm>
          <a:custGeom>
            <a:avLst/>
            <a:gdLst/>
            <a:ahLst/>
            <a:cxnLst/>
            <a:rect l="0" t="0" r="0" b="0"/>
            <a:pathLst>
              <a:path w="9301758" h="8699500">
                <a:moveTo>
                  <a:pt x="1153517" y="0"/>
                </a:moveTo>
                <a:lnTo>
                  <a:pt x="1153517" y="5769174"/>
                </a:lnTo>
                <a:lnTo>
                  <a:pt x="3609181" y="5769174"/>
                </a:lnTo>
                <a:lnTo>
                  <a:pt x="3609181" y="0"/>
                </a:lnTo>
                <a:lnTo>
                  <a:pt x="4756348" y="0"/>
                </a:lnTo>
                <a:lnTo>
                  <a:pt x="4756348" y="5769174"/>
                </a:lnTo>
                <a:lnTo>
                  <a:pt x="7205861" y="5769174"/>
                </a:lnTo>
                <a:lnTo>
                  <a:pt x="7205861" y="0"/>
                </a:lnTo>
                <a:lnTo>
                  <a:pt x="8359180" y="0"/>
                </a:lnTo>
                <a:lnTo>
                  <a:pt x="8359180" y="5769174"/>
                </a:lnTo>
                <a:lnTo>
                  <a:pt x="9301758" y="5769174"/>
                </a:lnTo>
                <a:lnTo>
                  <a:pt x="9190236" y="8699500"/>
                </a:lnTo>
                <a:lnTo>
                  <a:pt x="8160742" y="8699500"/>
                </a:lnTo>
                <a:lnTo>
                  <a:pt x="8160742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699" name="Freeform 3699"/>
          <p:cNvSpPr/>
          <p:nvPr/>
        </p:nvSpPr>
        <p:spPr>
          <a:xfrm>
            <a:off x="4412476" y="2914721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0" name="Freeform 3700"/>
          <p:cNvSpPr/>
          <p:nvPr/>
        </p:nvSpPr>
        <p:spPr>
          <a:xfrm>
            <a:off x="4469249" y="2915737"/>
            <a:ext cx="33982" cy="53644"/>
          </a:xfrm>
          <a:custGeom>
            <a:avLst/>
            <a:gdLst/>
            <a:ahLst/>
            <a:cxnLst/>
            <a:rect l="0" t="0" r="0" b="0"/>
            <a:pathLst>
              <a:path w="4247753" h="6705600">
                <a:moveTo>
                  <a:pt x="4247753" y="948730"/>
                </a:moveTo>
                <a:lnTo>
                  <a:pt x="1153319" y="948730"/>
                </a:lnTo>
                <a:lnTo>
                  <a:pt x="115331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24775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1" name="Freeform 3701"/>
          <p:cNvSpPr/>
          <p:nvPr/>
        </p:nvSpPr>
        <p:spPr>
          <a:xfrm>
            <a:off x="4507779" y="2914721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2" name="Freeform 3702"/>
          <p:cNvSpPr/>
          <p:nvPr/>
        </p:nvSpPr>
        <p:spPr>
          <a:xfrm>
            <a:off x="4617222" y="2896128"/>
            <a:ext cx="58091" cy="74269"/>
          </a:xfrm>
          <a:custGeom>
            <a:avLst/>
            <a:gdLst/>
            <a:ahLst/>
            <a:cxnLst/>
            <a:rect l="0" t="0" r="0" b="0"/>
            <a:pathLst>
              <a:path w="7261423" h="9283700">
                <a:moveTo>
                  <a:pt x="7261423" y="4933554"/>
                </a:moveTo>
                <a:cubicBezTo>
                  <a:pt x="7261423" y="5818850"/>
                  <a:pt x="7112595" y="6591433"/>
                  <a:pt x="6814939" y="7251304"/>
                </a:cubicBezTo>
                <a:cubicBezTo>
                  <a:pt x="6517283" y="7911174"/>
                  <a:pt x="6095603" y="8414875"/>
                  <a:pt x="5549900" y="8762405"/>
                </a:cubicBezTo>
                <a:cubicBezTo>
                  <a:pt x="5004197" y="9109935"/>
                  <a:pt x="4367543" y="9283700"/>
                  <a:pt x="3639939" y="9283700"/>
                </a:cubicBezTo>
                <a:cubicBezTo>
                  <a:pt x="2928871" y="9283700"/>
                  <a:pt x="2298435" y="9108943"/>
                  <a:pt x="1748631" y="8759429"/>
                </a:cubicBezTo>
                <a:cubicBezTo>
                  <a:pt x="1198827" y="8409782"/>
                  <a:pt x="771988" y="7911241"/>
                  <a:pt x="468114" y="7263805"/>
                </a:cubicBezTo>
                <a:cubicBezTo>
                  <a:pt x="164240" y="6616370"/>
                  <a:pt x="8202" y="5866475"/>
                  <a:pt x="0" y="5014119"/>
                </a:cubicBezTo>
                <a:lnTo>
                  <a:pt x="0" y="4362649"/>
                </a:lnTo>
                <a:cubicBezTo>
                  <a:pt x="0" y="3493757"/>
                  <a:pt x="150879" y="2726333"/>
                  <a:pt x="452636" y="2060377"/>
                </a:cubicBezTo>
                <a:cubicBezTo>
                  <a:pt x="754393" y="1394288"/>
                  <a:pt x="1181232" y="884371"/>
                  <a:pt x="1733153" y="530622"/>
                </a:cubicBezTo>
                <a:cubicBezTo>
                  <a:pt x="2285074" y="176874"/>
                  <a:pt x="2916568" y="0"/>
                  <a:pt x="3627636" y="0"/>
                </a:cubicBezTo>
                <a:cubicBezTo>
                  <a:pt x="4351139" y="0"/>
                  <a:pt x="4988785" y="174824"/>
                  <a:pt x="5540573" y="524471"/>
                </a:cubicBezTo>
                <a:cubicBezTo>
                  <a:pt x="6092494" y="873985"/>
                  <a:pt x="6517283" y="1380795"/>
                  <a:pt x="6814939" y="2044899"/>
                </a:cubicBezTo>
                <a:cubicBezTo>
                  <a:pt x="7112595" y="2708871"/>
                  <a:pt x="7261423" y="3481454"/>
                  <a:pt x="7261423" y="4362649"/>
                </a:cubicBezTo>
                <a:close/>
                <a:moveTo>
                  <a:pt x="6077148" y="4350147"/>
                </a:moveTo>
                <a:cubicBezTo>
                  <a:pt x="6077148" y="3278320"/>
                  <a:pt x="5862175" y="2455863"/>
                  <a:pt x="5432227" y="1882775"/>
                </a:cubicBezTo>
                <a:cubicBezTo>
                  <a:pt x="5002279" y="1309688"/>
                  <a:pt x="4400748" y="1023144"/>
                  <a:pt x="3627636" y="1023144"/>
                </a:cubicBezTo>
                <a:cubicBezTo>
                  <a:pt x="2875161" y="1023144"/>
                  <a:pt x="2282891" y="1309688"/>
                  <a:pt x="1850827" y="1882775"/>
                </a:cubicBezTo>
                <a:cubicBezTo>
                  <a:pt x="1418894" y="2455863"/>
                  <a:pt x="1196710" y="3251399"/>
                  <a:pt x="1184275" y="4269383"/>
                </a:cubicBezTo>
                <a:lnTo>
                  <a:pt x="1184275" y="4933554"/>
                </a:lnTo>
                <a:cubicBezTo>
                  <a:pt x="1184275" y="5972175"/>
                  <a:pt x="1402358" y="6788415"/>
                  <a:pt x="1838523" y="7382272"/>
                </a:cubicBezTo>
                <a:cubicBezTo>
                  <a:pt x="2274689" y="7975997"/>
                  <a:pt x="2875161" y="8272860"/>
                  <a:pt x="3639939" y="8272860"/>
                </a:cubicBezTo>
                <a:cubicBezTo>
                  <a:pt x="4408951" y="8272860"/>
                  <a:pt x="5004263" y="7992534"/>
                  <a:pt x="5425877" y="7431882"/>
                </a:cubicBezTo>
                <a:cubicBezTo>
                  <a:pt x="5847622" y="6871097"/>
                  <a:pt x="6064713" y="6067293"/>
                  <a:pt x="6077148" y="502046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3" name="Freeform 3703"/>
          <p:cNvSpPr/>
          <p:nvPr/>
        </p:nvSpPr>
        <p:spPr>
          <a:xfrm>
            <a:off x="4683150" y="2915737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4" name="Freeform 3704"/>
          <p:cNvSpPr/>
          <p:nvPr/>
        </p:nvSpPr>
        <p:spPr>
          <a:xfrm>
            <a:off x="4737673" y="2915737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5" name="Freeform 3705"/>
          <p:cNvSpPr/>
          <p:nvPr/>
        </p:nvSpPr>
        <p:spPr>
          <a:xfrm>
            <a:off x="4791743" y="2914721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6" name="Freeform 3706"/>
          <p:cNvSpPr/>
          <p:nvPr/>
        </p:nvSpPr>
        <p:spPr>
          <a:xfrm>
            <a:off x="4849584" y="2915737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7" name="Freeform 3707"/>
          <p:cNvSpPr/>
          <p:nvPr/>
        </p:nvSpPr>
        <p:spPr>
          <a:xfrm>
            <a:off x="4922622" y="2915737"/>
            <a:ext cx="44846" cy="53644"/>
          </a:xfrm>
          <a:custGeom>
            <a:avLst/>
            <a:gdLst/>
            <a:ahLst/>
            <a:cxnLst/>
            <a:rect l="0" t="0" r="0" b="0"/>
            <a:pathLst>
              <a:path w="5605860" h="6705600">
                <a:moveTo>
                  <a:pt x="5605860" y="930275"/>
                </a:moveTo>
                <a:lnTo>
                  <a:pt x="3354785" y="930275"/>
                </a:lnTo>
                <a:lnTo>
                  <a:pt x="3354785" y="6705600"/>
                </a:lnTo>
                <a:lnTo>
                  <a:pt x="2207618" y="6705600"/>
                </a:lnTo>
                <a:lnTo>
                  <a:pt x="2207618" y="930275"/>
                </a:lnTo>
                <a:lnTo>
                  <a:pt x="0" y="930275"/>
                </a:lnTo>
                <a:lnTo>
                  <a:pt x="0" y="0"/>
                </a:lnTo>
                <a:lnTo>
                  <a:pt x="560586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8" name="Freeform 3708"/>
          <p:cNvSpPr/>
          <p:nvPr/>
        </p:nvSpPr>
        <p:spPr>
          <a:xfrm>
            <a:off x="4977194" y="2915737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09" name="Freeform 3709"/>
          <p:cNvSpPr/>
          <p:nvPr/>
        </p:nvSpPr>
        <p:spPr>
          <a:xfrm>
            <a:off x="5052860" y="2914721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0" name="Freeform 3710"/>
          <p:cNvSpPr/>
          <p:nvPr/>
        </p:nvSpPr>
        <p:spPr>
          <a:xfrm>
            <a:off x="4113705" y="3049087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1" name="Freeform 3711"/>
          <p:cNvSpPr/>
          <p:nvPr/>
        </p:nvSpPr>
        <p:spPr>
          <a:xfrm>
            <a:off x="4167614" y="3048071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2" name="Freeform 3712"/>
          <p:cNvSpPr/>
          <p:nvPr/>
        </p:nvSpPr>
        <p:spPr>
          <a:xfrm>
            <a:off x="4222182" y="3048071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3" name="Freeform 3713"/>
          <p:cNvSpPr/>
          <p:nvPr/>
        </p:nvSpPr>
        <p:spPr>
          <a:xfrm>
            <a:off x="4283318" y="3049087"/>
            <a:ext cx="46186" cy="53644"/>
          </a:xfrm>
          <a:custGeom>
            <a:avLst/>
            <a:gdLst/>
            <a:ahLst/>
            <a:cxnLst/>
            <a:rect l="0" t="0" r="0" b="0"/>
            <a:pathLst>
              <a:path w="5773341" h="6705600">
                <a:moveTo>
                  <a:pt x="1990527" y="3842941"/>
                </a:moveTo>
                <a:lnTo>
                  <a:pt x="1153518" y="3842941"/>
                </a:lnTo>
                <a:lnTo>
                  <a:pt x="115351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53518" y="0"/>
                </a:lnTo>
                <a:lnTo>
                  <a:pt x="1153518" y="2832100"/>
                </a:lnTo>
                <a:lnTo>
                  <a:pt x="1903810" y="2832100"/>
                </a:lnTo>
                <a:lnTo>
                  <a:pt x="4161036" y="0"/>
                </a:lnTo>
                <a:lnTo>
                  <a:pt x="5550099" y="0"/>
                </a:lnTo>
                <a:lnTo>
                  <a:pt x="2895997" y="3216672"/>
                </a:lnTo>
                <a:lnTo>
                  <a:pt x="5773341" y="6705600"/>
                </a:lnTo>
                <a:lnTo>
                  <a:pt x="4316016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4" name="Freeform 3714"/>
          <p:cNvSpPr/>
          <p:nvPr/>
        </p:nvSpPr>
        <p:spPr>
          <a:xfrm>
            <a:off x="4338182" y="3049087"/>
            <a:ext cx="43110" cy="53644"/>
          </a:xfrm>
          <a:custGeom>
            <a:avLst/>
            <a:gdLst/>
            <a:ahLst/>
            <a:cxnLst/>
            <a:rect l="0" t="0" r="0" b="0"/>
            <a:pathLst>
              <a:path w="5388769" h="6705600">
                <a:moveTo>
                  <a:pt x="4241602" y="0"/>
                </a:moveTo>
                <a:lnTo>
                  <a:pt x="5388769" y="0"/>
                </a:lnTo>
                <a:lnTo>
                  <a:pt x="5388769" y="6705600"/>
                </a:lnTo>
                <a:lnTo>
                  <a:pt x="4241602" y="6705600"/>
                </a:lnTo>
                <a:lnTo>
                  <a:pt x="4241602" y="1815902"/>
                </a:lnTo>
                <a:lnTo>
                  <a:pt x="1147168" y="6705600"/>
                </a:lnTo>
                <a:lnTo>
                  <a:pt x="0" y="6705600"/>
                </a:lnTo>
                <a:lnTo>
                  <a:pt x="0" y="0"/>
                </a:lnTo>
                <a:lnTo>
                  <a:pt x="1147168" y="0"/>
                </a:lnTo>
                <a:lnTo>
                  <a:pt x="1147168" y="4896049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5" name="Freeform 3715"/>
          <p:cNvSpPr/>
          <p:nvPr/>
        </p:nvSpPr>
        <p:spPr>
          <a:xfrm>
            <a:off x="4396210" y="3092325"/>
            <a:ext cx="11410" cy="10914"/>
          </a:xfrm>
          <a:custGeom>
            <a:avLst/>
            <a:gdLst/>
            <a:ahLst/>
            <a:cxnLst/>
            <a:rect l="0" t="0" r="0" b="0"/>
            <a:pathLst>
              <a:path w="1426369" h="1364257">
                <a:moveTo>
                  <a:pt x="0" y="694531"/>
                </a:moveTo>
                <a:cubicBezTo>
                  <a:pt x="0" y="496093"/>
                  <a:pt x="58870" y="330729"/>
                  <a:pt x="176610" y="198437"/>
                </a:cubicBezTo>
                <a:cubicBezTo>
                  <a:pt x="294482" y="66146"/>
                  <a:pt x="471223" y="0"/>
                  <a:pt x="706835" y="0"/>
                </a:cubicBezTo>
                <a:cubicBezTo>
                  <a:pt x="942578" y="0"/>
                  <a:pt x="1121437" y="66146"/>
                  <a:pt x="1243410" y="198437"/>
                </a:cubicBezTo>
                <a:cubicBezTo>
                  <a:pt x="1365383" y="330729"/>
                  <a:pt x="1426369" y="496093"/>
                  <a:pt x="1426369" y="694531"/>
                </a:cubicBezTo>
                <a:cubicBezTo>
                  <a:pt x="1426369" y="884634"/>
                  <a:pt x="1365383" y="1043781"/>
                  <a:pt x="1243410" y="1171972"/>
                </a:cubicBezTo>
                <a:cubicBezTo>
                  <a:pt x="1121437" y="1300162"/>
                  <a:pt x="942578" y="1364257"/>
                  <a:pt x="706835" y="1364257"/>
                </a:cubicBezTo>
                <a:cubicBezTo>
                  <a:pt x="471223" y="1364257"/>
                  <a:pt x="294482" y="1300162"/>
                  <a:pt x="176610" y="1171972"/>
                </a:cubicBezTo>
                <a:cubicBezTo>
                  <a:pt x="58870" y="1043781"/>
                  <a:pt x="0" y="884634"/>
                  <a:pt x="0" y="69453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6" name="Freeform 3716"/>
          <p:cNvSpPr/>
          <p:nvPr/>
        </p:nvSpPr>
        <p:spPr>
          <a:xfrm>
            <a:off x="4449662" y="3030494"/>
            <a:ext cx="54670" cy="72237"/>
          </a:xfrm>
          <a:custGeom>
            <a:avLst/>
            <a:gdLst/>
            <a:ahLst/>
            <a:cxnLst/>
            <a:rect l="0" t="0" r="0" b="0"/>
            <a:pathLst>
              <a:path w="6833791" h="9029700">
                <a:moveTo>
                  <a:pt x="5643166" y="0"/>
                </a:moveTo>
                <a:lnTo>
                  <a:pt x="6833791" y="0"/>
                </a:lnTo>
                <a:lnTo>
                  <a:pt x="6833791" y="9029700"/>
                </a:lnTo>
                <a:lnTo>
                  <a:pt x="5643166" y="9029700"/>
                </a:lnTo>
                <a:lnTo>
                  <a:pt x="5643166" y="2071291"/>
                </a:lnTo>
                <a:lnTo>
                  <a:pt x="1196975" y="9029700"/>
                </a:lnTo>
                <a:lnTo>
                  <a:pt x="0" y="9029700"/>
                </a:lnTo>
                <a:lnTo>
                  <a:pt x="0" y="0"/>
                </a:lnTo>
                <a:lnTo>
                  <a:pt x="1196975" y="0"/>
                </a:lnTo>
                <a:lnTo>
                  <a:pt x="1196975" y="695841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7" name="Freeform 3717"/>
          <p:cNvSpPr/>
          <p:nvPr/>
        </p:nvSpPr>
        <p:spPr>
          <a:xfrm>
            <a:off x="4520862" y="3049087"/>
            <a:ext cx="33982" cy="53644"/>
          </a:xfrm>
          <a:custGeom>
            <a:avLst/>
            <a:gdLst/>
            <a:ahLst/>
            <a:cxnLst/>
            <a:rect l="0" t="0" r="0" b="0"/>
            <a:pathLst>
              <a:path w="4247753" h="6705600">
                <a:moveTo>
                  <a:pt x="4247753" y="948730"/>
                </a:moveTo>
                <a:lnTo>
                  <a:pt x="1153319" y="948730"/>
                </a:lnTo>
                <a:lnTo>
                  <a:pt x="115331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247753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8" name="Freeform 3718"/>
          <p:cNvSpPr/>
          <p:nvPr/>
        </p:nvSpPr>
        <p:spPr>
          <a:xfrm>
            <a:off x="4562737" y="3048071"/>
            <a:ext cx="45343" cy="75285"/>
          </a:xfrm>
          <a:custGeom>
            <a:avLst/>
            <a:gdLst/>
            <a:ahLst/>
            <a:cxnLst/>
            <a:rect l="0" t="0" r="0" b="0"/>
            <a:pathLst>
              <a:path w="5667970" h="9410700">
                <a:moveTo>
                  <a:pt x="5667970" y="3554215"/>
                </a:moveTo>
                <a:cubicBezTo>
                  <a:pt x="5667970" y="4575639"/>
                  <a:pt x="5434343" y="5398559"/>
                  <a:pt x="4967089" y="6022975"/>
                </a:cubicBezTo>
                <a:cubicBezTo>
                  <a:pt x="4499967" y="6647392"/>
                  <a:pt x="3867480" y="6959600"/>
                  <a:pt x="3069629" y="6959600"/>
                </a:cubicBezTo>
                <a:cubicBezTo>
                  <a:pt x="2255242" y="6959600"/>
                  <a:pt x="1614421" y="6701169"/>
                  <a:pt x="1147167" y="6184305"/>
                </a:cubicBezTo>
                <a:lnTo>
                  <a:pt x="1147167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047948" y="127000"/>
                </a:lnTo>
                <a:lnTo>
                  <a:pt x="1103907" y="868363"/>
                </a:lnTo>
                <a:cubicBezTo>
                  <a:pt x="1571029" y="289455"/>
                  <a:pt x="2220052" y="0"/>
                  <a:pt x="3050976" y="0"/>
                </a:cubicBezTo>
                <a:cubicBezTo>
                  <a:pt x="3857161" y="0"/>
                  <a:pt x="4494874" y="303941"/>
                  <a:pt x="4964112" y="911821"/>
                </a:cubicBezTo>
                <a:cubicBezTo>
                  <a:pt x="5433350" y="1519701"/>
                  <a:pt x="5667970" y="2365375"/>
                  <a:pt x="5667970" y="3448844"/>
                </a:cubicBezTo>
                <a:close/>
                <a:moveTo>
                  <a:pt x="4520604" y="3423841"/>
                </a:moveTo>
                <a:cubicBezTo>
                  <a:pt x="4520604" y="2667000"/>
                  <a:pt x="4359341" y="2069439"/>
                  <a:pt x="4036814" y="1631157"/>
                </a:cubicBezTo>
                <a:cubicBezTo>
                  <a:pt x="3714419" y="1192742"/>
                  <a:pt x="3272102" y="973535"/>
                  <a:pt x="2709862" y="973535"/>
                </a:cubicBezTo>
                <a:cubicBezTo>
                  <a:pt x="2015331" y="973535"/>
                  <a:pt x="1494432" y="1281642"/>
                  <a:pt x="1147167" y="1897857"/>
                </a:cubicBezTo>
                <a:lnTo>
                  <a:pt x="1147167" y="5105004"/>
                </a:lnTo>
                <a:cubicBezTo>
                  <a:pt x="1490331" y="5717117"/>
                  <a:pt x="2015397" y="6023174"/>
                  <a:pt x="2722364" y="6023174"/>
                </a:cubicBezTo>
                <a:cubicBezTo>
                  <a:pt x="3272168" y="6023174"/>
                  <a:pt x="3709325" y="5805025"/>
                  <a:pt x="4033837" y="5368727"/>
                </a:cubicBezTo>
                <a:cubicBezTo>
                  <a:pt x="4358349" y="4932429"/>
                  <a:pt x="4520604" y="4284134"/>
                  <a:pt x="4520604" y="34238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19" name="Freeform 3719"/>
          <p:cNvSpPr/>
          <p:nvPr/>
        </p:nvSpPr>
        <p:spPr>
          <a:xfrm>
            <a:off x="4620578" y="3049087"/>
            <a:ext cx="62012" cy="53644"/>
          </a:xfrm>
          <a:custGeom>
            <a:avLst/>
            <a:gdLst/>
            <a:ahLst/>
            <a:cxnLst/>
            <a:rect l="0" t="0" r="0" b="0"/>
            <a:pathLst>
              <a:path w="7751564" h="6705600">
                <a:moveTo>
                  <a:pt x="1147366" y="2311400"/>
                </a:moveTo>
                <a:lnTo>
                  <a:pt x="2889845" y="2311400"/>
                </a:lnTo>
                <a:cubicBezTo>
                  <a:pt x="3650522" y="2319603"/>
                  <a:pt x="4251986" y="2517908"/>
                  <a:pt x="4694237" y="2906316"/>
                </a:cubicBezTo>
                <a:cubicBezTo>
                  <a:pt x="5136621" y="3294725"/>
                  <a:pt x="5357812" y="3821576"/>
                  <a:pt x="5357812" y="4486871"/>
                </a:cubicBezTo>
                <a:cubicBezTo>
                  <a:pt x="5357812" y="5156134"/>
                  <a:pt x="5130403" y="5693239"/>
                  <a:pt x="4675584" y="6098183"/>
                </a:cubicBezTo>
                <a:cubicBezTo>
                  <a:pt x="4220898" y="6503128"/>
                  <a:pt x="3609115" y="6705600"/>
                  <a:pt x="2840236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147366" y="0"/>
                </a:lnTo>
                <a:close/>
                <a:moveTo>
                  <a:pt x="7751564" y="6705600"/>
                </a:moveTo>
                <a:lnTo>
                  <a:pt x="6598047" y="6705600"/>
                </a:lnTo>
                <a:lnTo>
                  <a:pt x="6598047" y="0"/>
                </a:lnTo>
                <a:lnTo>
                  <a:pt x="7751564" y="0"/>
                </a:lnTo>
                <a:close/>
                <a:moveTo>
                  <a:pt x="1147366" y="3247827"/>
                </a:moveTo>
                <a:lnTo>
                  <a:pt x="1147366" y="5769174"/>
                </a:lnTo>
                <a:lnTo>
                  <a:pt x="2852539" y="5769174"/>
                </a:lnTo>
                <a:cubicBezTo>
                  <a:pt x="3282487" y="5769174"/>
                  <a:pt x="3615266" y="5658710"/>
                  <a:pt x="3850878" y="5437783"/>
                </a:cubicBezTo>
                <a:cubicBezTo>
                  <a:pt x="4086622" y="5216856"/>
                  <a:pt x="4204494" y="4914305"/>
                  <a:pt x="4204494" y="4530130"/>
                </a:cubicBezTo>
                <a:cubicBezTo>
                  <a:pt x="4204494" y="4158523"/>
                  <a:pt x="4089730" y="3853988"/>
                  <a:pt x="3860205" y="3616524"/>
                </a:cubicBezTo>
                <a:cubicBezTo>
                  <a:pt x="3630811" y="3378928"/>
                  <a:pt x="3309408" y="3256029"/>
                  <a:pt x="2895997" y="3247827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20" name="Rectangle 3720"/>
          <p:cNvSpPr/>
          <p:nvPr/>
        </p:nvSpPr>
        <p:spPr>
          <a:xfrm>
            <a:off x="7151766" y="2435174"/>
            <a:ext cx="867343" cy="211455"/>
          </a:xfrm>
          <a:prstGeom prst="rect">
            <a:avLst/>
          </a:prstGeom>
        </p:spPr>
      </p:sp>
      <p:sp>
        <p:nvSpPr>
          <p:cNvPr id="3721" name="Freeform 3721"/>
          <p:cNvSpPr/>
          <p:nvPr/>
        </p:nvSpPr>
        <p:spPr>
          <a:xfrm>
            <a:off x="7157410" y="2456421"/>
            <a:ext cx="66501" cy="63207"/>
          </a:xfrm>
          <a:custGeom>
            <a:avLst/>
            <a:gdLst/>
            <a:ahLst/>
            <a:cxnLst/>
            <a:rect l="0" t="0" r="0" b="0"/>
            <a:pathLst>
              <a:path w="9500195" h="9029700">
                <a:moveTo>
                  <a:pt x="2430859" y="0"/>
                </a:moveTo>
                <a:lnTo>
                  <a:pt x="4749999" y="6549033"/>
                </a:lnTo>
                <a:lnTo>
                  <a:pt x="7056834" y="0"/>
                </a:lnTo>
                <a:lnTo>
                  <a:pt x="9500195" y="0"/>
                </a:lnTo>
                <a:lnTo>
                  <a:pt x="9500195" y="9029700"/>
                </a:lnTo>
                <a:lnTo>
                  <a:pt x="7633494" y="9029700"/>
                </a:lnTo>
                <a:lnTo>
                  <a:pt x="7633494" y="6561336"/>
                </a:lnTo>
                <a:lnTo>
                  <a:pt x="7819628" y="2300883"/>
                </a:lnTo>
                <a:lnTo>
                  <a:pt x="5382617" y="9029700"/>
                </a:lnTo>
                <a:lnTo>
                  <a:pt x="4105077" y="9029700"/>
                </a:lnTo>
                <a:lnTo>
                  <a:pt x="1674217" y="2307035"/>
                </a:lnTo>
                <a:lnTo>
                  <a:pt x="1860352" y="6561336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22" name="Freeform 3722"/>
          <p:cNvSpPr/>
          <p:nvPr/>
        </p:nvSpPr>
        <p:spPr>
          <a:xfrm>
            <a:off x="7235197" y="2456421"/>
            <a:ext cx="42366" cy="6320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23" name="Freeform 3723"/>
          <p:cNvSpPr/>
          <p:nvPr/>
        </p:nvSpPr>
        <p:spPr>
          <a:xfrm>
            <a:off x="7280253" y="2456421"/>
            <a:ext cx="87902" cy="63207"/>
          </a:xfrm>
          <a:custGeom>
            <a:avLst/>
            <a:gdLst/>
            <a:ahLst/>
            <a:cxnLst/>
            <a:rect l="0" t="0" r="0" b="0"/>
            <a:pathLst>
              <a:path w="12557522" h="9029700">
                <a:moveTo>
                  <a:pt x="8315920" y="5356424"/>
                </a:moveTo>
                <a:lnTo>
                  <a:pt x="7242969" y="5356424"/>
                </a:lnTo>
                <a:lnTo>
                  <a:pt x="7242969" y="9029700"/>
                </a:lnTo>
                <a:lnTo>
                  <a:pt x="5382617" y="9029700"/>
                </a:lnTo>
                <a:lnTo>
                  <a:pt x="5382617" y="5356424"/>
                </a:lnTo>
                <a:lnTo>
                  <a:pt x="4285059" y="5356424"/>
                </a:lnTo>
                <a:lnTo>
                  <a:pt x="2319337" y="9029700"/>
                </a:lnTo>
                <a:lnTo>
                  <a:pt x="0" y="9029700"/>
                </a:lnTo>
                <a:lnTo>
                  <a:pt x="2815431" y="4190604"/>
                </a:lnTo>
                <a:lnTo>
                  <a:pt x="136525" y="0"/>
                </a:lnTo>
                <a:lnTo>
                  <a:pt x="2449512" y="0"/>
                </a:lnTo>
                <a:lnTo>
                  <a:pt x="4458692" y="3644900"/>
                </a:lnTo>
                <a:lnTo>
                  <a:pt x="5382617" y="3644900"/>
                </a:lnTo>
                <a:lnTo>
                  <a:pt x="5382617" y="0"/>
                </a:lnTo>
                <a:lnTo>
                  <a:pt x="7242969" y="0"/>
                </a:lnTo>
                <a:lnTo>
                  <a:pt x="7242969" y="3644900"/>
                </a:lnTo>
                <a:lnTo>
                  <a:pt x="8148439" y="3644900"/>
                </a:lnTo>
                <a:lnTo>
                  <a:pt x="10108009" y="0"/>
                </a:lnTo>
                <a:lnTo>
                  <a:pt x="12414845" y="0"/>
                </a:lnTo>
                <a:lnTo>
                  <a:pt x="9785548" y="4184452"/>
                </a:lnTo>
                <a:lnTo>
                  <a:pt x="12557522" y="9029700"/>
                </a:lnTo>
                <a:lnTo>
                  <a:pt x="10232033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24" name="Freeform 3724"/>
          <p:cNvSpPr/>
          <p:nvPr/>
        </p:nvSpPr>
        <p:spPr>
          <a:xfrm>
            <a:off x="7369945" y="2456421"/>
            <a:ext cx="64201" cy="78765"/>
          </a:xfrm>
          <a:custGeom>
            <a:avLst/>
            <a:gdLst/>
            <a:ahLst/>
            <a:cxnLst/>
            <a:rect l="0" t="0" r="0" b="0"/>
            <a:pathLst>
              <a:path w="9171583" h="11252200">
                <a:moveTo>
                  <a:pt x="9022755" y="11252200"/>
                </a:moveTo>
                <a:lnTo>
                  <a:pt x="7305080" y="11252200"/>
                </a:lnTo>
                <a:lnTo>
                  <a:pt x="7305080" y="9029700"/>
                </a:lnTo>
                <a:lnTo>
                  <a:pt x="1860352" y="9029700"/>
                </a:lnTo>
                <a:lnTo>
                  <a:pt x="1860352" y="11246048"/>
                </a:lnTo>
                <a:lnTo>
                  <a:pt x="99219" y="11246048"/>
                </a:lnTo>
                <a:lnTo>
                  <a:pt x="0" y="7535268"/>
                </a:lnTo>
                <a:lnTo>
                  <a:pt x="682228" y="7535268"/>
                </a:lnTo>
                <a:cubicBezTo>
                  <a:pt x="1050131" y="7229277"/>
                  <a:pt x="1334294" y="6779618"/>
                  <a:pt x="1534716" y="6186290"/>
                </a:cubicBezTo>
                <a:cubicBezTo>
                  <a:pt x="1735270" y="5592961"/>
                  <a:pt x="1870737" y="4858081"/>
                  <a:pt x="1941116" y="3981649"/>
                </a:cubicBezTo>
                <a:lnTo>
                  <a:pt x="2201466" y="0"/>
                </a:lnTo>
                <a:lnTo>
                  <a:pt x="8117483" y="0"/>
                </a:lnTo>
                <a:lnTo>
                  <a:pt x="8117483" y="7535268"/>
                </a:lnTo>
                <a:lnTo>
                  <a:pt x="9171583" y="7535268"/>
                </a:lnTo>
                <a:close/>
                <a:moveTo>
                  <a:pt x="2815431" y="7535268"/>
                </a:moveTo>
                <a:lnTo>
                  <a:pt x="6257131" y="7535268"/>
                </a:lnTo>
                <a:lnTo>
                  <a:pt x="6257131" y="1506935"/>
                </a:lnTo>
                <a:lnTo>
                  <a:pt x="3968750" y="1506935"/>
                </a:lnTo>
                <a:lnTo>
                  <a:pt x="3813771" y="3882232"/>
                </a:lnTo>
                <a:cubicBezTo>
                  <a:pt x="3689813" y="5474097"/>
                  <a:pt x="3357034" y="6691776"/>
                  <a:pt x="2815431" y="753526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25" name="Freeform 3725"/>
          <p:cNvSpPr/>
          <p:nvPr/>
        </p:nvSpPr>
        <p:spPr>
          <a:xfrm>
            <a:off x="7436614" y="2456421"/>
            <a:ext cx="53565" cy="64096"/>
          </a:xfrm>
          <a:custGeom>
            <a:avLst/>
            <a:gdLst/>
            <a:ahLst/>
            <a:cxnLst/>
            <a:rect l="0" t="0" r="0" b="0"/>
            <a:pathLst>
              <a:path w="7652147" h="9156700">
                <a:moveTo>
                  <a:pt x="3999707" y="4265216"/>
                </a:moveTo>
                <a:lnTo>
                  <a:pt x="5642968" y="0"/>
                </a:lnTo>
                <a:lnTo>
                  <a:pt x="7652147" y="0"/>
                </a:lnTo>
                <a:lnTo>
                  <a:pt x="4495800" y="7445574"/>
                </a:lnTo>
                <a:lnTo>
                  <a:pt x="4241602" y="7935318"/>
                </a:lnTo>
                <a:cubicBezTo>
                  <a:pt x="3774480" y="8749573"/>
                  <a:pt x="3059245" y="9156700"/>
                  <a:pt x="2095897" y="9156700"/>
                </a:cubicBezTo>
                <a:lnTo>
                  <a:pt x="1444824" y="9131895"/>
                </a:lnTo>
                <a:lnTo>
                  <a:pt x="1426171" y="7637463"/>
                </a:lnTo>
                <a:cubicBezTo>
                  <a:pt x="1525390" y="7653999"/>
                  <a:pt x="1686653" y="7662268"/>
                  <a:pt x="1909961" y="7662268"/>
                </a:cubicBezTo>
                <a:cubicBezTo>
                  <a:pt x="2170444" y="7662268"/>
                  <a:pt x="2380258" y="7616825"/>
                  <a:pt x="2539405" y="7525941"/>
                </a:cubicBezTo>
                <a:cubicBezTo>
                  <a:pt x="2698552" y="7434924"/>
                  <a:pt x="2831836" y="7267509"/>
                  <a:pt x="2939257" y="7023696"/>
                </a:cubicBezTo>
                <a:lnTo>
                  <a:pt x="3168849" y="6434733"/>
                </a:lnTo>
                <a:lnTo>
                  <a:pt x="0" y="0"/>
                </a:lnTo>
                <a:lnTo>
                  <a:pt x="200302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26" name="Freeform 3726"/>
          <p:cNvSpPr/>
          <p:nvPr/>
        </p:nvSpPr>
        <p:spPr>
          <a:xfrm>
            <a:off x="7497008" y="2456421"/>
            <a:ext cx="51438" cy="6320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27" name="Freeform 3727"/>
          <p:cNvSpPr/>
          <p:nvPr/>
        </p:nvSpPr>
        <p:spPr>
          <a:xfrm>
            <a:off x="7555143" y="2456421"/>
            <a:ext cx="59251" cy="6320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28" name="Freeform 3728"/>
          <p:cNvSpPr/>
          <p:nvPr/>
        </p:nvSpPr>
        <p:spPr>
          <a:xfrm>
            <a:off x="7620223" y="2456421"/>
            <a:ext cx="48399" cy="63207"/>
          </a:xfrm>
          <a:custGeom>
            <a:avLst/>
            <a:gdLst/>
            <a:ahLst/>
            <a:cxnLst/>
            <a:rect l="0" t="0" r="0" b="0"/>
            <a:pathLst>
              <a:path w="6914158" h="9029700">
                <a:moveTo>
                  <a:pt x="1860352" y="5850335"/>
                </a:move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3522266" y="0"/>
                </a:lnTo>
                <a:cubicBezTo>
                  <a:pt x="4200260" y="0"/>
                  <a:pt x="4796565" y="124090"/>
                  <a:pt x="5311180" y="372269"/>
                </a:cubicBezTo>
                <a:cubicBezTo>
                  <a:pt x="5825927" y="620449"/>
                  <a:pt x="6221744" y="973072"/>
                  <a:pt x="6498630" y="1430140"/>
                </a:cubicBezTo>
                <a:cubicBezTo>
                  <a:pt x="6775649" y="1887075"/>
                  <a:pt x="6914158" y="2407113"/>
                  <a:pt x="6914158" y="2990255"/>
                </a:cubicBezTo>
                <a:cubicBezTo>
                  <a:pt x="6914158" y="3875419"/>
                  <a:pt x="6611342" y="4573390"/>
                  <a:pt x="6005711" y="5084168"/>
                </a:cubicBezTo>
                <a:cubicBezTo>
                  <a:pt x="5400080" y="5594946"/>
                  <a:pt x="4561880" y="5850335"/>
                  <a:pt x="3491111" y="5850335"/>
                </a:cubicBezTo>
                <a:close/>
                <a:moveTo>
                  <a:pt x="1860352" y="4343400"/>
                </a:moveTo>
                <a:lnTo>
                  <a:pt x="3522266" y="4343400"/>
                </a:lnTo>
                <a:cubicBezTo>
                  <a:pt x="4014126" y="4343400"/>
                  <a:pt x="4389239" y="4227579"/>
                  <a:pt x="4647605" y="3995936"/>
                </a:cubicBezTo>
                <a:cubicBezTo>
                  <a:pt x="4906103" y="3764161"/>
                  <a:pt x="5035352" y="3433101"/>
                  <a:pt x="5035352" y="3002757"/>
                </a:cubicBezTo>
                <a:cubicBezTo>
                  <a:pt x="5035352" y="2559976"/>
                  <a:pt x="4905110" y="2202061"/>
                  <a:pt x="4644628" y="1929011"/>
                </a:cubicBezTo>
                <a:cubicBezTo>
                  <a:pt x="4384146" y="1655961"/>
                  <a:pt x="4024445" y="1515269"/>
                  <a:pt x="3565525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29" name="Freeform 3729"/>
          <p:cNvSpPr/>
          <p:nvPr/>
        </p:nvSpPr>
        <p:spPr>
          <a:xfrm>
            <a:off x="7675654" y="2455532"/>
            <a:ext cx="53826" cy="64985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0" name="Freeform 3730"/>
          <p:cNvSpPr/>
          <p:nvPr/>
        </p:nvSpPr>
        <p:spPr>
          <a:xfrm>
            <a:off x="7732923" y="2456421"/>
            <a:ext cx="64201" cy="78765"/>
          </a:xfrm>
          <a:custGeom>
            <a:avLst/>
            <a:gdLst/>
            <a:ahLst/>
            <a:cxnLst/>
            <a:rect l="0" t="0" r="0" b="0"/>
            <a:pathLst>
              <a:path w="9171583" h="11252200">
                <a:moveTo>
                  <a:pt x="9022755" y="11252200"/>
                </a:moveTo>
                <a:lnTo>
                  <a:pt x="7305080" y="11252200"/>
                </a:lnTo>
                <a:lnTo>
                  <a:pt x="7305080" y="9029700"/>
                </a:lnTo>
                <a:lnTo>
                  <a:pt x="1860352" y="9029700"/>
                </a:lnTo>
                <a:lnTo>
                  <a:pt x="1860352" y="11246048"/>
                </a:lnTo>
                <a:lnTo>
                  <a:pt x="99219" y="11246048"/>
                </a:lnTo>
                <a:lnTo>
                  <a:pt x="0" y="7535268"/>
                </a:lnTo>
                <a:lnTo>
                  <a:pt x="682228" y="7535268"/>
                </a:lnTo>
                <a:cubicBezTo>
                  <a:pt x="1050131" y="7229277"/>
                  <a:pt x="1334294" y="6779618"/>
                  <a:pt x="1534716" y="6186290"/>
                </a:cubicBezTo>
                <a:cubicBezTo>
                  <a:pt x="1735270" y="5592961"/>
                  <a:pt x="1870737" y="4858081"/>
                  <a:pt x="1941116" y="3981649"/>
                </a:cubicBezTo>
                <a:lnTo>
                  <a:pt x="2201466" y="0"/>
                </a:lnTo>
                <a:lnTo>
                  <a:pt x="8117483" y="0"/>
                </a:lnTo>
                <a:lnTo>
                  <a:pt x="8117483" y="7535268"/>
                </a:lnTo>
                <a:lnTo>
                  <a:pt x="9171583" y="7535268"/>
                </a:lnTo>
                <a:close/>
                <a:moveTo>
                  <a:pt x="2815431" y="7535268"/>
                </a:moveTo>
                <a:lnTo>
                  <a:pt x="6257131" y="7535268"/>
                </a:lnTo>
                <a:lnTo>
                  <a:pt x="6257131" y="1506935"/>
                </a:lnTo>
                <a:lnTo>
                  <a:pt x="3968750" y="1506935"/>
                </a:lnTo>
                <a:lnTo>
                  <a:pt x="3813771" y="3882232"/>
                </a:lnTo>
                <a:cubicBezTo>
                  <a:pt x="3689813" y="5474097"/>
                  <a:pt x="3357034" y="6691776"/>
                  <a:pt x="2815431" y="753526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1" name="Freeform 3731"/>
          <p:cNvSpPr/>
          <p:nvPr/>
        </p:nvSpPr>
        <p:spPr>
          <a:xfrm>
            <a:off x="7803891" y="2456421"/>
            <a:ext cx="51438" cy="6320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2" name="Freeform 3732"/>
          <p:cNvSpPr/>
          <p:nvPr/>
        </p:nvSpPr>
        <p:spPr>
          <a:xfrm>
            <a:off x="7862025" y="2456421"/>
            <a:ext cx="59251" cy="6320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3" name="Freeform 3733"/>
          <p:cNvSpPr/>
          <p:nvPr/>
        </p:nvSpPr>
        <p:spPr>
          <a:xfrm>
            <a:off x="7920247" y="2456421"/>
            <a:ext cx="49138" cy="63207"/>
          </a:xfrm>
          <a:custGeom>
            <a:avLst/>
            <a:gdLst/>
            <a:ahLst/>
            <a:cxnLst/>
            <a:rect l="0" t="0" r="0" b="0"/>
            <a:pathLst>
              <a:path w="7019725" h="9029700">
                <a:moveTo>
                  <a:pt x="5153222" y="9029700"/>
                </a:moveTo>
                <a:lnTo>
                  <a:pt x="5153222" y="5776516"/>
                </a:lnTo>
                <a:lnTo>
                  <a:pt x="3640136" y="5776516"/>
                </a:lnTo>
                <a:lnTo>
                  <a:pt x="2009178" y="9029700"/>
                </a:lnTo>
                <a:lnTo>
                  <a:pt x="0" y="9029700"/>
                </a:lnTo>
                <a:lnTo>
                  <a:pt x="1928613" y="5181204"/>
                </a:lnTo>
                <a:cubicBezTo>
                  <a:pt x="998470" y="4668309"/>
                  <a:pt x="533399" y="3871979"/>
                  <a:pt x="533399" y="2792215"/>
                </a:cubicBezTo>
                <a:cubicBezTo>
                  <a:pt x="533399" y="1907051"/>
                  <a:pt x="822787" y="1222508"/>
                  <a:pt x="1401563" y="738585"/>
                </a:cubicBezTo>
                <a:cubicBezTo>
                  <a:pt x="1980339" y="254530"/>
                  <a:pt x="2788509" y="8335"/>
                  <a:pt x="3826072" y="0"/>
                </a:cubicBezTo>
                <a:lnTo>
                  <a:pt x="7019725" y="0"/>
                </a:lnTo>
                <a:lnTo>
                  <a:pt x="7019725" y="9029700"/>
                </a:lnTo>
                <a:close/>
                <a:moveTo>
                  <a:pt x="2393750" y="2928541"/>
                </a:moveTo>
                <a:cubicBezTo>
                  <a:pt x="2393750" y="3433498"/>
                  <a:pt x="2516715" y="3799814"/>
                  <a:pt x="2762646" y="4027488"/>
                </a:cubicBezTo>
                <a:cubicBezTo>
                  <a:pt x="3008576" y="4255030"/>
                  <a:pt x="3377537" y="4368800"/>
                  <a:pt x="3869530" y="4368800"/>
                </a:cubicBezTo>
                <a:lnTo>
                  <a:pt x="5153222" y="4368800"/>
                </a:lnTo>
                <a:lnTo>
                  <a:pt x="5153222" y="1506935"/>
                </a:lnTo>
                <a:lnTo>
                  <a:pt x="3869530" y="1506935"/>
                </a:lnTo>
                <a:cubicBezTo>
                  <a:pt x="2885677" y="1506935"/>
                  <a:pt x="2393750" y="1980804"/>
                  <a:pt x="2393750" y="292854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4" name="Freeform 3734"/>
          <p:cNvSpPr/>
          <p:nvPr/>
        </p:nvSpPr>
        <p:spPr>
          <a:xfrm>
            <a:off x="7157496" y="2561196"/>
            <a:ext cx="51395" cy="6320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7342188" y="9029700"/>
                </a:moveTo>
                <a:lnTo>
                  <a:pt x="5475685" y="9029700"/>
                </a:lnTo>
                <a:lnTo>
                  <a:pt x="5475685" y="1506935"/>
                </a:ln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734218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5" name="Freeform 3735"/>
          <p:cNvSpPr/>
          <p:nvPr/>
        </p:nvSpPr>
        <p:spPr>
          <a:xfrm>
            <a:off x="7218352" y="2560307"/>
            <a:ext cx="53826" cy="64985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6" name="Freeform 3736"/>
          <p:cNvSpPr/>
          <p:nvPr/>
        </p:nvSpPr>
        <p:spPr>
          <a:xfrm>
            <a:off x="7281603" y="2561196"/>
            <a:ext cx="46966" cy="63207"/>
          </a:xfrm>
          <a:custGeom>
            <a:avLst/>
            <a:gdLst/>
            <a:ahLst/>
            <a:cxnLst/>
            <a:rect l="0" t="0" r="0" b="0"/>
            <a:pathLst>
              <a:path w="6709569" h="9029700">
                <a:moveTo>
                  <a:pt x="0" y="9029700"/>
                </a:moveTo>
                <a:lnTo>
                  <a:pt x="0" y="0"/>
                </a:lnTo>
                <a:lnTo>
                  <a:pt x="3162499" y="0"/>
                </a:lnTo>
                <a:cubicBezTo>
                  <a:pt x="4258006" y="0"/>
                  <a:pt x="5088930" y="209881"/>
                  <a:pt x="5655270" y="629643"/>
                </a:cubicBezTo>
                <a:cubicBezTo>
                  <a:pt x="6221744" y="1049404"/>
                  <a:pt x="6504980" y="1664627"/>
                  <a:pt x="6504980" y="2475310"/>
                </a:cubicBezTo>
                <a:cubicBezTo>
                  <a:pt x="6504980" y="2917825"/>
                  <a:pt x="6391275" y="3307623"/>
                  <a:pt x="6163866" y="3644702"/>
                </a:cubicBezTo>
                <a:cubicBezTo>
                  <a:pt x="5936456" y="3981781"/>
                  <a:pt x="5620213" y="4228902"/>
                  <a:pt x="5215136" y="4386065"/>
                </a:cubicBezTo>
                <a:cubicBezTo>
                  <a:pt x="5678157" y="4501820"/>
                  <a:pt x="6042951" y="4735381"/>
                  <a:pt x="6309519" y="5086747"/>
                </a:cubicBezTo>
                <a:cubicBezTo>
                  <a:pt x="6576219" y="5437982"/>
                  <a:pt x="6709569" y="5867797"/>
                  <a:pt x="6709569" y="6376194"/>
                </a:cubicBezTo>
                <a:cubicBezTo>
                  <a:pt x="6709569" y="7244160"/>
                  <a:pt x="6432550" y="7901385"/>
                  <a:pt x="5878513" y="8347869"/>
                </a:cubicBezTo>
                <a:cubicBezTo>
                  <a:pt x="5324607" y="8794221"/>
                  <a:pt x="4535024" y="9021498"/>
                  <a:pt x="3509764" y="9029700"/>
                </a:cubicBezTo>
                <a:close/>
                <a:moveTo>
                  <a:pt x="1860352" y="5099249"/>
                </a:moveTo>
                <a:lnTo>
                  <a:pt x="1860352" y="7535268"/>
                </a:lnTo>
                <a:lnTo>
                  <a:pt x="3454003" y="7535268"/>
                </a:lnTo>
                <a:cubicBezTo>
                  <a:pt x="3892153" y="7535268"/>
                  <a:pt x="4234193" y="7430956"/>
                  <a:pt x="4480124" y="7222332"/>
                </a:cubicBezTo>
                <a:cubicBezTo>
                  <a:pt x="4726186" y="7013575"/>
                  <a:pt x="4849217" y="6725312"/>
                  <a:pt x="4849217" y="6357541"/>
                </a:cubicBezTo>
                <a:cubicBezTo>
                  <a:pt x="4849217" y="5531115"/>
                  <a:pt x="4421320" y="5111684"/>
                  <a:pt x="3565525" y="5099249"/>
                </a:cubicBezTo>
                <a:close/>
                <a:moveTo>
                  <a:pt x="1860352" y="3784600"/>
                </a:moveTo>
                <a:lnTo>
                  <a:pt x="3236913" y="3784600"/>
                </a:lnTo>
                <a:cubicBezTo>
                  <a:pt x="4175390" y="3768064"/>
                  <a:pt x="4644628" y="3393612"/>
                  <a:pt x="4644628" y="2661246"/>
                </a:cubicBezTo>
                <a:cubicBezTo>
                  <a:pt x="4644628" y="2251671"/>
                  <a:pt x="4525764" y="1956925"/>
                  <a:pt x="4288036" y="1777008"/>
                </a:cubicBezTo>
                <a:cubicBezTo>
                  <a:pt x="4050308" y="1596960"/>
                  <a:pt x="3675129" y="1506935"/>
                  <a:pt x="3162499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7" name="Freeform 3737"/>
          <p:cNvSpPr/>
          <p:nvPr/>
        </p:nvSpPr>
        <p:spPr>
          <a:xfrm>
            <a:off x="7338321" y="2561196"/>
            <a:ext cx="42366" cy="6320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8" name="Freeform 3738"/>
          <p:cNvSpPr/>
          <p:nvPr/>
        </p:nvSpPr>
        <p:spPr>
          <a:xfrm>
            <a:off x="7386373" y="2560307"/>
            <a:ext cx="51611" cy="64985"/>
          </a:xfrm>
          <a:custGeom>
            <a:avLst/>
            <a:gdLst/>
            <a:ahLst/>
            <a:cxnLst/>
            <a:rect l="0" t="0" r="0" b="0"/>
            <a:pathLst>
              <a:path w="7373143" h="9283700">
                <a:moveTo>
                  <a:pt x="7360642" y="6152158"/>
                </a:moveTo>
                <a:cubicBezTo>
                  <a:pt x="7290395" y="7123708"/>
                  <a:pt x="6931752" y="7888553"/>
                  <a:pt x="6284714" y="8446691"/>
                </a:cubicBezTo>
                <a:cubicBezTo>
                  <a:pt x="5637807" y="9004697"/>
                  <a:pt x="4785188" y="9283700"/>
                  <a:pt x="3726854" y="9283700"/>
                </a:cubicBezTo>
                <a:cubicBezTo>
                  <a:pt x="2569302" y="9283700"/>
                  <a:pt x="1658739" y="8893771"/>
                  <a:pt x="995164" y="8113911"/>
                </a:cubicBezTo>
                <a:cubicBezTo>
                  <a:pt x="331721" y="7334052"/>
                  <a:pt x="0" y="6263548"/>
                  <a:pt x="0" y="4902399"/>
                </a:cubicBezTo>
                <a:lnTo>
                  <a:pt x="0" y="4350147"/>
                </a:lnTo>
                <a:cubicBezTo>
                  <a:pt x="0" y="3481388"/>
                  <a:pt x="152929" y="2716081"/>
                  <a:pt x="458787" y="2054225"/>
                </a:cubicBezTo>
                <a:cubicBezTo>
                  <a:pt x="764778" y="1392238"/>
                  <a:pt x="1201935" y="884371"/>
                  <a:pt x="1770260" y="530622"/>
                </a:cubicBezTo>
                <a:cubicBezTo>
                  <a:pt x="2338718" y="176874"/>
                  <a:pt x="2999184" y="0"/>
                  <a:pt x="3751659" y="0"/>
                </a:cubicBezTo>
                <a:cubicBezTo>
                  <a:pt x="4793456" y="0"/>
                  <a:pt x="5632648" y="279070"/>
                  <a:pt x="6269235" y="837208"/>
                </a:cubicBezTo>
                <a:cubicBezTo>
                  <a:pt x="6905955" y="1395347"/>
                  <a:pt x="7273925" y="2178778"/>
                  <a:pt x="7373143" y="3187502"/>
                </a:cubicBezTo>
                <a:lnTo>
                  <a:pt x="5512792" y="3187502"/>
                </a:lnTo>
                <a:cubicBezTo>
                  <a:pt x="5467283" y="2604625"/>
                  <a:pt x="5304961" y="2181953"/>
                  <a:pt x="5025826" y="1919486"/>
                </a:cubicBezTo>
                <a:cubicBezTo>
                  <a:pt x="4746823" y="1656888"/>
                  <a:pt x="4322100" y="1525588"/>
                  <a:pt x="3751659" y="1525588"/>
                </a:cubicBezTo>
                <a:cubicBezTo>
                  <a:pt x="3131475" y="1525588"/>
                  <a:pt x="2667396" y="1748036"/>
                  <a:pt x="2359421" y="2192933"/>
                </a:cubicBezTo>
                <a:cubicBezTo>
                  <a:pt x="2051446" y="2637830"/>
                  <a:pt x="1893358" y="3327930"/>
                  <a:pt x="1885156" y="4263232"/>
                </a:cubicBezTo>
                <a:lnTo>
                  <a:pt x="1885156" y="4946055"/>
                </a:lnTo>
                <a:cubicBezTo>
                  <a:pt x="1885156" y="5922765"/>
                  <a:pt x="2032926" y="6636677"/>
                  <a:pt x="2328465" y="7087791"/>
                </a:cubicBezTo>
                <a:cubicBezTo>
                  <a:pt x="2624005" y="7538906"/>
                  <a:pt x="3090135" y="7764463"/>
                  <a:pt x="3726854" y="7764463"/>
                </a:cubicBezTo>
                <a:cubicBezTo>
                  <a:pt x="4301529" y="7764463"/>
                  <a:pt x="4730419" y="7633230"/>
                  <a:pt x="5013523" y="7370763"/>
                </a:cubicBezTo>
                <a:cubicBezTo>
                  <a:pt x="5296760" y="7108164"/>
                  <a:pt x="5459015" y="6701963"/>
                  <a:pt x="5500290" y="6152158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39" name="Freeform 3739"/>
          <p:cNvSpPr/>
          <p:nvPr/>
        </p:nvSpPr>
        <p:spPr>
          <a:xfrm>
            <a:off x="7441272" y="2561196"/>
            <a:ext cx="51482" cy="63207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40" name="Freeform 3740"/>
          <p:cNvSpPr/>
          <p:nvPr/>
        </p:nvSpPr>
        <p:spPr>
          <a:xfrm>
            <a:off x="7500205" y="2561196"/>
            <a:ext cx="52350" cy="63207"/>
          </a:xfrm>
          <a:custGeom>
            <a:avLst/>
            <a:gdLst/>
            <a:ahLst/>
            <a:cxnLst/>
            <a:rect l="0" t="0" r="0" b="0"/>
            <a:pathLst>
              <a:path w="7478713" h="9029700">
                <a:moveTo>
                  <a:pt x="2933105" y="5343525"/>
                </a:moveTo>
                <a:lnTo>
                  <a:pt x="1860352" y="534352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19500"/>
                </a:lnTo>
                <a:lnTo>
                  <a:pt x="2709863" y="3619500"/>
                </a:lnTo>
                <a:lnTo>
                  <a:pt x="4917480" y="0"/>
                </a:lnTo>
                <a:lnTo>
                  <a:pt x="7187208" y="0"/>
                </a:lnTo>
                <a:lnTo>
                  <a:pt x="4402931" y="4276924"/>
                </a:lnTo>
                <a:lnTo>
                  <a:pt x="7478713" y="9029700"/>
                </a:lnTo>
                <a:lnTo>
                  <a:pt x="5258594" y="90297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41" name="Freeform 3741"/>
          <p:cNvSpPr/>
          <p:nvPr/>
        </p:nvSpPr>
        <p:spPr>
          <a:xfrm>
            <a:off x="7552120" y="2561196"/>
            <a:ext cx="59251" cy="6320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8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42" name="Rectangle 3742"/>
          <p:cNvSpPr/>
          <p:nvPr/>
        </p:nvSpPr>
        <p:spPr>
          <a:xfrm>
            <a:off x="7164466" y="2682951"/>
            <a:ext cx="1023416" cy="401319"/>
          </a:xfrm>
          <a:prstGeom prst="rect">
            <a:avLst/>
          </a:prstGeom>
        </p:spPr>
      </p:sp>
      <p:sp>
        <p:nvSpPr>
          <p:cNvPr id="3743" name="Freeform 3743"/>
          <p:cNvSpPr/>
          <p:nvPr/>
        </p:nvSpPr>
        <p:spPr>
          <a:xfrm>
            <a:off x="7168435" y="2706217"/>
            <a:ext cx="52487" cy="74269"/>
          </a:xfrm>
          <a:custGeom>
            <a:avLst/>
            <a:gdLst/>
            <a:ahLst/>
            <a:cxnLst/>
            <a:rect l="0" t="0" r="0" b="0"/>
            <a:pathLst>
              <a:path w="6560939" h="9283700">
                <a:moveTo>
                  <a:pt x="3212307" y="5131991"/>
                </a:moveTo>
                <a:cubicBezTo>
                  <a:pt x="2191147" y="4838304"/>
                  <a:pt x="1447999" y="4477412"/>
                  <a:pt x="982861" y="4049316"/>
                </a:cubicBezTo>
                <a:cubicBezTo>
                  <a:pt x="517856" y="3621088"/>
                  <a:pt x="285353" y="3092517"/>
                  <a:pt x="285353" y="2463602"/>
                </a:cubicBezTo>
                <a:cubicBezTo>
                  <a:pt x="285353" y="1752005"/>
                  <a:pt x="569516" y="1163505"/>
                  <a:pt x="1137841" y="698104"/>
                </a:cubicBezTo>
                <a:cubicBezTo>
                  <a:pt x="1706298" y="232702"/>
                  <a:pt x="2445279" y="0"/>
                  <a:pt x="3354785" y="0"/>
                </a:cubicBezTo>
                <a:cubicBezTo>
                  <a:pt x="3974968" y="0"/>
                  <a:pt x="4527947" y="119923"/>
                  <a:pt x="5013722" y="359768"/>
                </a:cubicBezTo>
                <a:cubicBezTo>
                  <a:pt x="5499497" y="599480"/>
                  <a:pt x="5875668" y="930210"/>
                  <a:pt x="6142236" y="1351955"/>
                </a:cubicBezTo>
                <a:cubicBezTo>
                  <a:pt x="6408936" y="1773569"/>
                  <a:pt x="6542286" y="2234473"/>
                  <a:pt x="6542286" y="2734668"/>
                </a:cubicBezTo>
                <a:lnTo>
                  <a:pt x="5345510" y="2734668"/>
                </a:lnTo>
                <a:cubicBezTo>
                  <a:pt x="5345510" y="2188965"/>
                  <a:pt x="5171877" y="1760075"/>
                  <a:pt x="4824611" y="1447999"/>
                </a:cubicBezTo>
                <a:cubicBezTo>
                  <a:pt x="4477346" y="1135923"/>
                  <a:pt x="3987403" y="979885"/>
                  <a:pt x="3354785" y="979885"/>
                </a:cubicBezTo>
                <a:cubicBezTo>
                  <a:pt x="2767807" y="979885"/>
                  <a:pt x="2309945" y="1109266"/>
                  <a:pt x="1981200" y="1368029"/>
                </a:cubicBezTo>
                <a:cubicBezTo>
                  <a:pt x="1652588" y="1626659"/>
                  <a:pt x="1488282" y="1985632"/>
                  <a:pt x="1488282" y="2444949"/>
                </a:cubicBezTo>
                <a:cubicBezTo>
                  <a:pt x="1488282" y="2813381"/>
                  <a:pt x="1644319" y="3124862"/>
                  <a:pt x="1956396" y="3379391"/>
                </a:cubicBezTo>
                <a:cubicBezTo>
                  <a:pt x="2268604" y="3633920"/>
                  <a:pt x="2799887" y="3866754"/>
                  <a:pt x="3550246" y="4077891"/>
                </a:cubicBezTo>
                <a:cubicBezTo>
                  <a:pt x="4300604" y="4288896"/>
                  <a:pt x="4887648" y="4521597"/>
                  <a:pt x="5311378" y="4775994"/>
                </a:cubicBezTo>
                <a:cubicBezTo>
                  <a:pt x="5735109" y="5030391"/>
                  <a:pt x="6049302" y="5327187"/>
                  <a:pt x="6253957" y="5666383"/>
                </a:cubicBezTo>
                <a:cubicBezTo>
                  <a:pt x="6458611" y="6005579"/>
                  <a:pt x="6560939" y="6404769"/>
                  <a:pt x="6560939" y="6863954"/>
                </a:cubicBezTo>
                <a:cubicBezTo>
                  <a:pt x="6560939" y="7596056"/>
                  <a:pt x="6275652" y="8182372"/>
                  <a:pt x="5705078" y="8622904"/>
                </a:cubicBezTo>
                <a:cubicBezTo>
                  <a:pt x="5134637" y="9063435"/>
                  <a:pt x="4371909" y="9283700"/>
                  <a:pt x="3416896" y="9283700"/>
                </a:cubicBezTo>
                <a:cubicBezTo>
                  <a:pt x="2796712" y="9283700"/>
                  <a:pt x="2217870" y="9164835"/>
                  <a:pt x="1680369" y="8927108"/>
                </a:cubicBezTo>
                <a:cubicBezTo>
                  <a:pt x="1143000" y="8689380"/>
                  <a:pt x="728597" y="8363810"/>
                  <a:pt x="437158" y="7950399"/>
                </a:cubicBezTo>
                <a:cubicBezTo>
                  <a:pt x="145720" y="7536988"/>
                  <a:pt x="0" y="7067749"/>
                  <a:pt x="0" y="6542683"/>
                </a:cubicBezTo>
                <a:lnTo>
                  <a:pt x="1196777" y="6542683"/>
                </a:lnTo>
                <a:cubicBezTo>
                  <a:pt x="1196777" y="7088386"/>
                  <a:pt x="1398323" y="7519393"/>
                  <a:pt x="1801416" y="7835702"/>
                </a:cubicBezTo>
                <a:cubicBezTo>
                  <a:pt x="2204509" y="8152011"/>
                  <a:pt x="2743002" y="8310166"/>
                  <a:pt x="3416896" y="8310166"/>
                </a:cubicBezTo>
                <a:cubicBezTo>
                  <a:pt x="4045281" y="8310166"/>
                  <a:pt x="4526889" y="8181909"/>
                  <a:pt x="4861719" y="7925396"/>
                </a:cubicBezTo>
                <a:cubicBezTo>
                  <a:pt x="5196549" y="7668750"/>
                  <a:pt x="5363964" y="7319037"/>
                  <a:pt x="5363964" y="6876257"/>
                </a:cubicBezTo>
                <a:cubicBezTo>
                  <a:pt x="5363964" y="6433477"/>
                  <a:pt x="5208918" y="6091040"/>
                  <a:pt x="4898827" y="5848946"/>
                </a:cubicBezTo>
                <a:cubicBezTo>
                  <a:pt x="4588867" y="5606852"/>
                  <a:pt x="4026694" y="5367867"/>
                  <a:pt x="3212307" y="51319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44" name="Freeform 3744"/>
          <p:cNvSpPr/>
          <p:nvPr/>
        </p:nvSpPr>
        <p:spPr>
          <a:xfrm>
            <a:off x="7231710" y="2703271"/>
            <a:ext cx="44400" cy="76200"/>
          </a:xfrm>
          <a:custGeom>
            <a:avLst/>
            <a:gdLst/>
            <a:ahLst/>
            <a:cxnLst/>
            <a:rect l="0" t="0" r="0" b="0"/>
            <a:pathLst>
              <a:path w="5550099" h="9525000">
                <a:moveTo>
                  <a:pt x="1866702" y="6420049"/>
                </a:moveTo>
                <a:lnTo>
                  <a:pt x="1147366" y="7169944"/>
                </a:lnTo>
                <a:lnTo>
                  <a:pt x="1147366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366" y="0"/>
                </a:lnTo>
                <a:lnTo>
                  <a:pt x="1147366" y="5763221"/>
                </a:lnTo>
                <a:lnTo>
                  <a:pt x="1761133" y="5025629"/>
                </a:lnTo>
                <a:lnTo>
                  <a:pt x="3851077" y="2819400"/>
                </a:lnTo>
                <a:lnTo>
                  <a:pt x="5246291" y="2819400"/>
                </a:lnTo>
                <a:lnTo>
                  <a:pt x="2635647" y="5620544"/>
                </a:lnTo>
                <a:lnTo>
                  <a:pt x="5550099" y="9525000"/>
                </a:lnTo>
                <a:lnTo>
                  <a:pt x="4204494" y="9525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45" name="Freeform 3745"/>
          <p:cNvSpPr/>
          <p:nvPr/>
        </p:nvSpPr>
        <p:spPr>
          <a:xfrm>
            <a:off x="7283119" y="2706267"/>
            <a:ext cx="10864" cy="73204"/>
          </a:xfrm>
          <a:custGeom>
            <a:avLst/>
            <a:gdLst/>
            <a:ahLst/>
            <a:cxnLst/>
            <a:rect l="0" t="0" r="0" b="0"/>
            <a:pathLst>
              <a:path w="1358106" h="9150548">
                <a:moveTo>
                  <a:pt x="1240235" y="9150548"/>
                </a:moveTo>
                <a:lnTo>
                  <a:pt x="93067" y="9150548"/>
                </a:lnTo>
                <a:lnTo>
                  <a:pt x="93067" y="2444948"/>
                </a:lnTo>
                <a:lnTo>
                  <a:pt x="1240235" y="2444948"/>
                </a:lnTo>
                <a:close/>
                <a:moveTo>
                  <a:pt x="0" y="663575"/>
                </a:moveTo>
                <a:cubicBezTo>
                  <a:pt x="0" y="477441"/>
                  <a:pt x="56819" y="320344"/>
                  <a:pt x="170458" y="192286"/>
                </a:cubicBezTo>
                <a:cubicBezTo>
                  <a:pt x="284229" y="64095"/>
                  <a:pt x="452702" y="0"/>
                  <a:pt x="675878" y="0"/>
                </a:cubicBezTo>
                <a:cubicBezTo>
                  <a:pt x="899187" y="0"/>
                  <a:pt x="1068718" y="64095"/>
                  <a:pt x="1184474" y="192286"/>
                </a:cubicBezTo>
                <a:cubicBezTo>
                  <a:pt x="1300229" y="320344"/>
                  <a:pt x="1358106" y="477441"/>
                  <a:pt x="1358106" y="663575"/>
                </a:cubicBezTo>
                <a:cubicBezTo>
                  <a:pt x="1358106" y="849577"/>
                  <a:pt x="1300229" y="1004623"/>
                  <a:pt x="1184474" y="1128713"/>
                </a:cubicBezTo>
                <a:cubicBezTo>
                  <a:pt x="1068718" y="1252670"/>
                  <a:pt x="899187" y="1314648"/>
                  <a:pt x="675878" y="1314648"/>
                </a:cubicBezTo>
                <a:cubicBezTo>
                  <a:pt x="452702" y="1314648"/>
                  <a:pt x="284229" y="1252670"/>
                  <a:pt x="170458" y="1128713"/>
                </a:cubicBezTo>
                <a:cubicBezTo>
                  <a:pt x="56819" y="1004623"/>
                  <a:pt x="0" y="849577"/>
                  <a:pt x="0" y="6635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46" name="Freeform 3746"/>
          <p:cNvSpPr/>
          <p:nvPr/>
        </p:nvSpPr>
        <p:spPr>
          <a:xfrm>
            <a:off x="7308451" y="2703271"/>
            <a:ext cx="9177" cy="76200"/>
          </a:xfrm>
          <a:custGeom>
            <a:avLst/>
            <a:gdLst/>
            <a:ahLst/>
            <a:cxnLst/>
            <a:rect l="0" t="0" r="0" b="0"/>
            <a:pathLst>
              <a:path w="1147168" h="9525000">
                <a:moveTo>
                  <a:pt x="1147168" y="9525000"/>
                </a:moveTo>
                <a:lnTo>
                  <a:pt x="0" y="9525000"/>
                </a:lnTo>
                <a:lnTo>
                  <a:pt x="0" y="0"/>
                </a:lnTo>
                <a:lnTo>
                  <a:pt x="114716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47" name="Freeform 3747"/>
          <p:cNvSpPr/>
          <p:nvPr/>
        </p:nvSpPr>
        <p:spPr>
          <a:xfrm>
            <a:off x="7333038" y="2703271"/>
            <a:ext cx="9177" cy="76200"/>
          </a:xfrm>
          <a:custGeom>
            <a:avLst/>
            <a:gdLst/>
            <a:ahLst/>
            <a:cxnLst/>
            <a:rect l="0" t="0" r="0" b="0"/>
            <a:pathLst>
              <a:path w="1147168" h="9525000">
                <a:moveTo>
                  <a:pt x="1147168" y="9525000"/>
                </a:moveTo>
                <a:lnTo>
                  <a:pt x="0" y="9525000"/>
                </a:lnTo>
                <a:lnTo>
                  <a:pt x="0" y="0"/>
                </a:lnTo>
                <a:lnTo>
                  <a:pt x="114716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48" name="Freeform 3748"/>
          <p:cNvSpPr/>
          <p:nvPr/>
        </p:nvSpPr>
        <p:spPr>
          <a:xfrm>
            <a:off x="7354599" y="2724810"/>
            <a:ext cx="42664" cy="55676"/>
          </a:xfrm>
          <a:custGeom>
            <a:avLst/>
            <a:gdLst/>
            <a:ahLst/>
            <a:cxnLst/>
            <a:rect l="0" t="0" r="0" b="0"/>
            <a:pathLst>
              <a:path w="5333008" h="6959600">
                <a:moveTo>
                  <a:pt x="4185841" y="5055394"/>
                </a:moveTo>
                <a:cubicBezTo>
                  <a:pt x="4185841" y="4745170"/>
                  <a:pt x="4069028" y="4504267"/>
                  <a:pt x="3835400" y="4332685"/>
                </a:cubicBezTo>
                <a:cubicBezTo>
                  <a:pt x="3601773" y="4161103"/>
                  <a:pt x="3194514" y="4013267"/>
                  <a:pt x="2613621" y="3889177"/>
                </a:cubicBezTo>
                <a:cubicBezTo>
                  <a:pt x="2032860" y="3765088"/>
                  <a:pt x="1571956" y="3616193"/>
                  <a:pt x="1230908" y="3442494"/>
                </a:cubicBezTo>
                <a:cubicBezTo>
                  <a:pt x="889860" y="3268795"/>
                  <a:pt x="637646" y="3062023"/>
                  <a:pt x="474266" y="2822179"/>
                </a:cubicBezTo>
                <a:cubicBezTo>
                  <a:pt x="311018" y="2582334"/>
                  <a:pt x="229394" y="2297047"/>
                  <a:pt x="229394" y="1966318"/>
                </a:cubicBezTo>
                <a:cubicBezTo>
                  <a:pt x="229394" y="1416249"/>
                  <a:pt x="461897" y="951045"/>
                  <a:pt x="926902" y="570707"/>
                </a:cubicBezTo>
                <a:cubicBezTo>
                  <a:pt x="1392040" y="190236"/>
                  <a:pt x="1986360" y="0"/>
                  <a:pt x="2709863" y="0"/>
                </a:cubicBezTo>
                <a:cubicBezTo>
                  <a:pt x="3470540" y="0"/>
                  <a:pt x="4087548" y="196388"/>
                  <a:pt x="4560888" y="589161"/>
                </a:cubicBezTo>
                <a:cubicBezTo>
                  <a:pt x="5034228" y="981936"/>
                  <a:pt x="5270897" y="1484247"/>
                  <a:pt x="5270897" y="2096096"/>
                </a:cubicBezTo>
                <a:lnTo>
                  <a:pt x="4117579" y="2096096"/>
                </a:lnTo>
                <a:cubicBezTo>
                  <a:pt x="4117579" y="1781903"/>
                  <a:pt x="3984229" y="1511102"/>
                  <a:pt x="3717529" y="1283693"/>
                </a:cubicBezTo>
                <a:cubicBezTo>
                  <a:pt x="3450961" y="1056283"/>
                  <a:pt x="3115072" y="942579"/>
                  <a:pt x="2709863" y="942579"/>
                </a:cubicBezTo>
                <a:cubicBezTo>
                  <a:pt x="2292350" y="942579"/>
                  <a:pt x="1965722" y="1033595"/>
                  <a:pt x="1729979" y="1215629"/>
                </a:cubicBezTo>
                <a:cubicBezTo>
                  <a:pt x="1494367" y="1397530"/>
                  <a:pt x="1376561" y="1635324"/>
                  <a:pt x="1376561" y="1929011"/>
                </a:cubicBezTo>
                <a:cubicBezTo>
                  <a:pt x="1376561" y="2206162"/>
                  <a:pt x="1486099" y="2415051"/>
                  <a:pt x="1705174" y="2555677"/>
                </a:cubicBezTo>
                <a:cubicBezTo>
                  <a:pt x="1924381" y="2696303"/>
                  <a:pt x="2320264" y="2830711"/>
                  <a:pt x="2892822" y="2958902"/>
                </a:cubicBezTo>
                <a:cubicBezTo>
                  <a:pt x="3465381" y="3087093"/>
                  <a:pt x="3929394" y="3240088"/>
                  <a:pt x="4284861" y="3417888"/>
                </a:cubicBezTo>
                <a:cubicBezTo>
                  <a:pt x="4640461" y="3595688"/>
                  <a:pt x="4904053" y="3809670"/>
                  <a:pt x="5075635" y="4059833"/>
                </a:cubicBezTo>
                <a:cubicBezTo>
                  <a:pt x="5247217" y="4309997"/>
                  <a:pt x="5333008" y="4614995"/>
                  <a:pt x="5333008" y="4974829"/>
                </a:cubicBezTo>
                <a:cubicBezTo>
                  <a:pt x="5333008" y="5574374"/>
                  <a:pt x="5093229" y="6055056"/>
                  <a:pt x="4613672" y="6416874"/>
                </a:cubicBezTo>
                <a:cubicBezTo>
                  <a:pt x="4134115" y="6778692"/>
                  <a:pt x="3511947" y="6959600"/>
                  <a:pt x="2747169" y="6959600"/>
                </a:cubicBezTo>
                <a:cubicBezTo>
                  <a:pt x="2209668" y="6959600"/>
                  <a:pt x="1734212" y="6864548"/>
                  <a:pt x="1320800" y="6674446"/>
                </a:cubicBezTo>
                <a:cubicBezTo>
                  <a:pt x="907389" y="6484210"/>
                  <a:pt x="583870" y="6218569"/>
                  <a:pt x="350243" y="5877521"/>
                </a:cubicBezTo>
                <a:cubicBezTo>
                  <a:pt x="116748" y="5536473"/>
                  <a:pt x="0" y="5167511"/>
                  <a:pt x="0" y="4770636"/>
                </a:cubicBezTo>
                <a:lnTo>
                  <a:pt x="1147168" y="4770636"/>
                </a:lnTo>
                <a:cubicBezTo>
                  <a:pt x="1167805" y="5155076"/>
                  <a:pt x="1321793" y="5459942"/>
                  <a:pt x="1609130" y="5685235"/>
                </a:cubicBezTo>
                <a:cubicBezTo>
                  <a:pt x="1896468" y="5910528"/>
                  <a:pt x="2275814" y="6023174"/>
                  <a:pt x="2747169" y="6023174"/>
                </a:cubicBezTo>
                <a:cubicBezTo>
                  <a:pt x="3181218" y="6023174"/>
                  <a:pt x="3529476" y="5935332"/>
                  <a:pt x="3791943" y="5759649"/>
                </a:cubicBezTo>
                <a:cubicBezTo>
                  <a:pt x="4054542" y="5583833"/>
                  <a:pt x="4185841" y="5349082"/>
                  <a:pt x="4185841" y="50553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49" name="Freeform 3749"/>
          <p:cNvSpPr/>
          <p:nvPr/>
        </p:nvSpPr>
        <p:spPr>
          <a:xfrm>
            <a:off x="7427805" y="2707233"/>
            <a:ext cx="55860" cy="72237"/>
          </a:xfrm>
          <a:custGeom>
            <a:avLst/>
            <a:gdLst/>
            <a:ahLst/>
            <a:cxnLst/>
            <a:rect l="0" t="0" r="0" b="0"/>
            <a:pathLst>
              <a:path w="6982619" h="9029700">
                <a:moveTo>
                  <a:pt x="6982619" y="979885"/>
                </a:moveTo>
                <a:lnTo>
                  <a:pt x="4080471" y="979885"/>
                </a:lnTo>
                <a:lnTo>
                  <a:pt x="4080471" y="9029700"/>
                </a:lnTo>
                <a:lnTo>
                  <a:pt x="2895997" y="9029700"/>
                </a:lnTo>
                <a:lnTo>
                  <a:pt x="2895997" y="979885"/>
                </a:lnTo>
                <a:lnTo>
                  <a:pt x="0" y="979885"/>
                </a:lnTo>
                <a:lnTo>
                  <a:pt x="0" y="0"/>
                </a:lnTo>
                <a:lnTo>
                  <a:pt x="6982619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0" name="Freeform 3750"/>
          <p:cNvSpPr/>
          <p:nvPr/>
        </p:nvSpPr>
        <p:spPr>
          <a:xfrm>
            <a:off x="7485665" y="272481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1" name="Freeform 3751"/>
          <p:cNvSpPr/>
          <p:nvPr/>
        </p:nvSpPr>
        <p:spPr>
          <a:xfrm>
            <a:off x="7539362" y="2724810"/>
            <a:ext cx="45243" cy="55676"/>
          </a:xfrm>
          <a:custGeom>
            <a:avLst/>
            <a:gdLst/>
            <a:ahLst/>
            <a:cxnLst/>
            <a:rect l="0" t="0" r="0" b="0"/>
            <a:pathLst>
              <a:path w="5655469" h="6959600">
                <a:moveTo>
                  <a:pt x="2989064" y="6023174"/>
                </a:moveTo>
                <a:cubicBezTo>
                  <a:pt x="3398243" y="6023174"/>
                  <a:pt x="3755761" y="5899150"/>
                  <a:pt x="4061619" y="5651104"/>
                </a:cubicBezTo>
                <a:cubicBezTo>
                  <a:pt x="4367610" y="5403057"/>
                  <a:pt x="4537142" y="5093031"/>
                  <a:pt x="4570214" y="4721027"/>
                </a:cubicBezTo>
                <a:lnTo>
                  <a:pt x="5655469" y="4721027"/>
                </a:lnTo>
                <a:cubicBezTo>
                  <a:pt x="5634832" y="5105467"/>
                  <a:pt x="5502540" y="5471319"/>
                  <a:pt x="5258594" y="5818585"/>
                </a:cubicBezTo>
                <a:cubicBezTo>
                  <a:pt x="5014648" y="6165850"/>
                  <a:pt x="4689078" y="6442869"/>
                  <a:pt x="4281885" y="6649641"/>
                </a:cubicBezTo>
                <a:cubicBezTo>
                  <a:pt x="3874691" y="6856280"/>
                  <a:pt x="3443751" y="6959600"/>
                  <a:pt x="2989064" y="6959600"/>
                </a:cubicBezTo>
                <a:cubicBezTo>
                  <a:pt x="2075326" y="6959600"/>
                  <a:pt x="1348714" y="6654668"/>
                  <a:pt x="809228" y="6044804"/>
                </a:cubicBezTo>
                <a:cubicBezTo>
                  <a:pt x="269743" y="5434807"/>
                  <a:pt x="0" y="4600509"/>
                  <a:pt x="0" y="3541911"/>
                </a:cubicBezTo>
                <a:lnTo>
                  <a:pt x="0" y="3349625"/>
                </a:lnTo>
                <a:cubicBezTo>
                  <a:pt x="0" y="2696237"/>
                  <a:pt x="119857" y="2115212"/>
                  <a:pt x="359569" y="1606550"/>
                </a:cubicBezTo>
                <a:cubicBezTo>
                  <a:pt x="599414" y="1097889"/>
                  <a:pt x="943571" y="702998"/>
                  <a:pt x="1392039" y="421879"/>
                </a:cubicBezTo>
                <a:cubicBezTo>
                  <a:pt x="1840640" y="140627"/>
                  <a:pt x="2370865" y="0"/>
                  <a:pt x="2982714" y="0"/>
                </a:cubicBezTo>
                <a:cubicBezTo>
                  <a:pt x="3735189" y="0"/>
                  <a:pt x="4360466" y="225293"/>
                  <a:pt x="4858544" y="675879"/>
                </a:cubicBezTo>
                <a:cubicBezTo>
                  <a:pt x="5356754" y="1126464"/>
                  <a:pt x="5622396" y="1711458"/>
                  <a:pt x="5655469" y="2430860"/>
                </a:cubicBezTo>
                <a:lnTo>
                  <a:pt x="4570214" y="2430860"/>
                </a:lnTo>
                <a:cubicBezTo>
                  <a:pt x="4537142" y="1996811"/>
                  <a:pt x="4372835" y="1640285"/>
                  <a:pt x="4077296" y="1361282"/>
                </a:cubicBezTo>
                <a:cubicBezTo>
                  <a:pt x="3781756" y="1082146"/>
                  <a:pt x="3416896" y="942579"/>
                  <a:pt x="2982714" y="942579"/>
                </a:cubicBezTo>
                <a:cubicBezTo>
                  <a:pt x="2399837" y="942579"/>
                  <a:pt x="1948194" y="1152459"/>
                  <a:pt x="1627783" y="1572221"/>
                </a:cubicBezTo>
                <a:cubicBezTo>
                  <a:pt x="1307373" y="1991982"/>
                  <a:pt x="1147168" y="2598870"/>
                  <a:pt x="1147168" y="3392885"/>
                </a:cubicBezTo>
                <a:lnTo>
                  <a:pt x="1147168" y="3609975"/>
                </a:lnTo>
                <a:cubicBezTo>
                  <a:pt x="1147168" y="4383353"/>
                  <a:pt x="1306314" y="4978930"/>
                  <a:pt x="1624608" y="5396707"/>
                </a:cubicBezTo>
                <a:cubicBezTo>
                  <a:pt x="1943034" y="5814352"/>
                  <a:pt x="2397853" y="6023174"/>
                  <a:pt x="2989064" y="602317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2" name="Freeform 3752"/>
          <p:cNvSpPr/>
          <p:nvPr/>
        </p:nvSpPr>
        <p:spPr>
          <a:xfrm>
            <a:off x="7594880" y="2703271"/>
            <a:ext cx="42217" cy="76200"/>
          </a:xfrm>
          <a:custGeom>
            <a:avLst/>
            <a:gdLst/>
            <a:ahLst/>
            <a:cxnLst/>
            <a:rect l="0" t="0" r="0" b="0"/>
            <a:pathLst>
              <a:path w="5277246" h="9525000">
                <a:moveTo>
                  <a:pt x="1147167" y="3628629"/>
                </a:moveTo>
                <a:cubicBezTo>
                  <a:pt x="1655696" y="3004477"/>
                  <a:pt x="2317154" y="2692400"/>
                  <a:pt x="3131542" y="2692400"/>
                </a:cubicBezTo>
                <a:cubicBezTo>
                  <a:pt x="4549576" y="2692400"/>
                  <a:pt x="5264811" y="3492236"/>
                  <a:pt x="5277246" y="5091907"/>
                </a:cubicBezTo>
                <a:lnTo>
                  <a:pt x="5277246" y="9525000"/>
                </a:lnTo>
                <a:lnTo>
                  <a:pt x="4130079" y="9525000"/>
                </a:lnTo>
                <a:lnTo>
                  <a:pt x="4130079" y="5085755"/>
                </a:lnTo>
                <a:cubicBezTo>
                  <a:pt x="4125846" y="4602097"/>
                  <a:pt x="4015184" y="4244579"/>
                  <a:pt x="3798093" y="4013200"/>
                </a:cubicBezTo>
                <a:cubicBezTo>
                  <a:pt x="3581135" y="3781690"/>
                  <a:pt x="3243196" y="3665935"/>
                  <a:pt x="2784276" y="3665935"/>
                </a:cubicBezTo>
                <a:cubicBezTo>
                  <a:pt x="2412272" y="3665935"/>
                  <a:pt x="2085710" y="3765154"/>
                  <a:pt x="1804590" y="3963591"/>
                </a:cubicBezTo>
                <a:cubicBezTo>
                  <a:pt x="1523470" y="4161896"/>
                  <a:pt x="1304329" y="4422312"/>
                  <a:pt x="1147167" y="4744840"/>
                </a:cubicBezTo>
                <a:lnTo>
                  <a:pt x="1147167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16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3" name="Freeform 3753"/>
          <p:cNvSpPr/>
          <p:nvPr/>
        </p:nvSpPr>
        <p:spPr>
          <a:xfrm>
            <a:off x="7650760" y="2724810"/>
            <a:ext cx="42217" cy="54660"/>
          </a:xfrm>
          <a:custGeom>
            <a:avLst/>
            <a:gdLst/>
            <a:ahLst/>
            <a:cxnLst/>
            <a:rect l="0" t="0" r="0" b="0"/>
            <a:pathLst>
              <a:path w="5277246" h="6832600">
                <a:moveTo>
                  <a:pt x="1085254" y="127000"/>
                </a:moveTo>
                <a:lnTo>
                  <a:pt x="1122362" y="967185"/>
                </a:lnTo>
                <a:cubicBezTo>
                  <a:pt x="1634992" y="322396"/>
                  <a:pt x="2304719" y="0"/>
                  <a:pt x="3131542" y="0"/>
                </a:cubicBezTo>
                <a:cubicBezTo>
                  <a:pt x="4549576" y="0"/>
                  <a:pt x="5264811" y="799836"/>
                  <a:pt x="5277246" y="2399507"/>
                </a:cubicBezTo>
                <a:lnTo>
                  <a:pt x="5277246" y="6832600"/>
                </a:lnTo>
                <a:lnTo>
                  <a:pt x="4130079" y="6832600"/>
                </a:lnTo>
                <a:lnTo>
                  <a:pt x="4130079" y="2393355"/>
                </a:lnTo>
                <a:cubicBezTo>
                  <a:pt x="4125846" y="1909697"/>
                  <a:pt x="4015184" y="1552179"/>
                  <a:pt x="3798093" y="1320800"/>
                </a:cubicBezTo>
                <a:cubicBezTo>
                  <a:pt x="3581135" y="1089290"/>
                  <a:pt x="3243196" y="973535"/>
                  <a:pt x="2784276" y="973535"/>
                </a:cubicBezTo>
                <a:cubicBezTo>
                  <a:pt x="2412272" y="973535"/>
                  <a:pt x="2085710" y="1072754"/>
                  <a:pt x="1804590" y="1271191"/>
                </a:cubicBezTo>
                <a:cubicBezTo>
                  <a:pt x="1523470" y="1469496"/>
                  <a:pt x="1304329" y="1729912"/>
                  <a:pt x="1147167" y="2052440"/>
                </a:cubicBezTo>
                <a:lnTo>
                  <a:pt x="1147167" y="6832600"/>
                </a:lnTo>
                <a:lnTo>
                  <a:pt x="0" y="6832600"/>
                </a:lnTo>
                <a:lnTo>
                  <a:pt x="0" y="127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4" name="Freeform 3754"/>
          <p:cNvSpPr/>
          <p:nvPr/>
        </p:nvSpPr>
        <p:spPr>
          <a:xfrm>
            <a:off x="7704311" y="272481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5" name="Freeform 3755"/>
          <p:cNvSpPr/>
          <p:nvPr/>
        </p:nvSpPr>
        <p:spPr>
          <a:xfrm>
            <a:off x="7765447" y="2703271"/>
            <a:ext cx="9177" cy="76200"/>
          </a:xfrm>
          <a:custGeom>
            <a:avLst/>
            <a:gdLst/>
            <a:ahLst/>
            <a:cxnLst/>
            <a:rect l="0" t="0" r="0" b="0"/>
            <a:pathLst>
              <a:path w="1147168" h="9525000">
                <a:moveTo>
                  <a:pt x="1147168" y="9525000"/>
                </a:moveTo>
                <a:lnTo>
                  <a:pt x="0" y="9525000"/>
                </a:lnTo>
                <a:lnTo>
                  <a:pt x="0" y="0"/>
                </a:lnTo>
                <a:lnTo>
                  <a:pt x="114716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6" name="Freeform 3756"/>
          <p:cNvSpPr/>
          <p:nvPr/>
        </p:nvSpPr>
        <p:spPr>
          <a:xfrm>
            <a:off x="7786811" y="272481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7" name="Freeform 3757"/>
          <p:cNvSpPr/>
          <p:nvPr/>
        </p:nvSpPr>
        <p:spPr>
          <a:xfrm>
            <a:off x="7844970" y="2724810"/>
            <a:ext cx="45343" cy="75793"/>
          </a:xfrm>
          <a:custGeom>
            <a:avLst/>
            <a:gdLst/>
            <a:ahLst/>
            <a:cxnLst/>
            <a:rect l="0" t="0" r="0" b="0"/>
            <a:pathLst>
              <a:path w="5667970" h="9474200">
                <a:moveTo>
                  <a:pt x="0" y="3424040"/>
                </a:moveTo>
                <a:cubicBezTo>
                  <a:pt x="0" y="2377745"/>
                  <a:pt x="241829" y="1545498"/>
                  <a:pt x="725488" y="927299"/>
                </a:cubicBezTo>
                <a:cubicBezTo>
                  <a:pt x="1209278" y="309100"/>
                  <a:pt x="1850099" y="0"/>
                  <a:pt x="2647950" y="0"/>
                </a:cubicBezTo>
                <a:cubicBezTo>
                  <a:pt x="3466438" y="0"/>
                  <a:pt x="4105143" y="289455"/>
                  <a:pt x="4564063" y="868363"/>
                </a:cubicBezTo>
                <a:lnTo>
                  <a:pt x="4619823" y="127000"/>
                </a:lnTo>
                <a:lnTo>
                  <a:pt x="5667970" y="127000"/>
                </a:lnTo>
                <a:lnTo>
                  <a:pt x="5667970" y="6672461"/>
                </a:lnTo>
                <a:cubicBezTo>
                  <a:pt x="5667970" y="7540294"/>
                  <a:pt x="5410597" y="8224176"/>
                  <a:pt x="4895850" y="8724106"/>
                </a:cubicBezTo>
                <a:cubicBezTo>
                  <a:pt x="4381103" y="9224168"/>
                  <a:pt x="3689681" y="9474200"/>
                  <a:pt x="2821583" y="9474200"/>
                </a:cubicBezTo>
                <a:cubicBezTo>
                  <a:pt x="2337925" y="9474200"/>
                  <a:pt x="1864585" y="9370946"/>
                  <a:pt x="1401564" y="9164439"/>
                </a:cubicBezTo>
                <a:cubicBezTo>
                  <a:pt x="938543" y="8958064"/>
                  <a:pt x="585060" y="8675224"/>
                  <a:pt x="341114" y="8315920"/>
                </a:cubicBezTo>
                <a:lnTo>
                  <a:pt x="936427" y="7628532"/>
                </a:lnTo>
                <a:cubicBezTo>
                  <a:pt x="1428419" y="8234693"/>
                  <a:pt x="2029950" y="8537773"/>
                  <a:pt x="2741017" y="8537773"/>
                </a:cubicBezTo>
                <a:cubicBezTo>
                  <a:pt x="3299023" y="8537773"/>
                  <a:pt x="3734065" y="8380875"/>
                  <a:pt x="4046141" y="8067079"/>
                </a:cubicBezTo>
                <a:cubicBezTo>
                  <a:pt x="4358349" y="7753283"/>
                  <a:pt x="4514453" y="7311495"/>
                  <a:pt x="4514453" y="6741716"/>
                </a:cubicBezTo>
                <a:lnTo>
                  <a:pt x="4514453" y="6165652"/>
                </a:lnTo>
                <a:cubicBezTo>
                  <a:pt x="4055533" y="6694951"/>
                  <a:pt x="3429198" y="6959600"/>
                  <a:pt x="2635448" y="6959600"/>
                </a:cubicBezTo>
                <a:cubicBezTo>
                  <a:pt x="1850033" y="6959600"/>
                  <a:pt x="1214438" y="6643291"/>
                  <a:pt x="728663" y="6010672"/>
                </a:cubicBezTo>
                <a:cubicBezTo>
                  <a:pt x="242888" y="5377921"/>
                  <a:pt x="0" y="4515710"/>
                  <a:pt x="0" y="3424040"/>
                </a:cubicBezTo>
                <a:close/>
                <a:moveTo>
                  <a:pt x="1153517" y="3554215"/>
                </a:moveTo>
                <a:cubicBezTo>
                  <a:pt x="1153517" y="4311055"/>
                  <a:pt x="1308497" y="4905574"/>
                  <a:pt x="1618456" y="5337771"/>
                </a:cubicBezTo>
                <a:cubicBezTo>
                  <a:pt x="1928548" y="5769968"/>
                  <a:pt x="2362663" y="5986066"/>
                  <a:pt x="2920802" y="5986066"/>
                </a:cubicBezTo>
                <a:cubicBezTo>
                  <a:pt x="3644305" y="5986066"/>
                  <a:pt x="4175522" y="5657255"/>
                  <a:pt x="4514453" y="4999633"/>
                </a:cubicBezTo>
                <a:lnTo>
                  <a:pt x="4514453" y="1935163"/>
                </a:lnTo>
                <a:cubicBezTo>
                  <a:pt x="4163087" y="1294078"/>
                  <a:pt x="3635970" y="973535"/>
                  <a:pt x="2933105" y="973535"/>
                </a:cubicBezTo>
                <a:cubicBezTo>
                  <a:pt x="2375098" y="973535"/>
                  <a:pt x="1938999" y="1190692"/>
                  <a:pt x="1624806" y="1625005"/>
                </a:cubicBezTo>
                <a:cubicBezTo>
                  <a:pt x="1310614" y="2059186"/>
                  <a:pt x="1153517" y="2702256"/>
                  <a:pt x="1153517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8" name="Freeform 3758"/>
          <p:cNvSpPr/>
          <p:nvPr/>
        </p:nvSpPr>
        <p:spPr>
          <a:xfrm>
            <a:off x="7898297" y="2725826"/>
            <a:ext cx="45739" cy="75285"/>
          </a:xfrm>
          <a:custGeom>
            <a:avLst/>
            <a:gdLst/>
            <a:ahLst/>
            <a:cxnLst/>
            <a:rect l="0" t="0" r="0" b="0"/>
            <a:pathLst>
              <a:path w="5717381" h="9410700">
                <a:moveTo>
                  <a:pt x="2926953" y="5024438"/>
                </a:moveTo>
                <a:lnTo>
                  <a:pt x="4489648" y="0"/>
                </a:lnTo>
                <a:lnTo>
                  <a:pt x="5717381" y="0"/>
                </a:lnTo>
                <a:lnTo>
                  <a:pt x="3019821" y="7737871"/>
                </a:lnTo>
                <a:cubicBezTo>
                  <a:pt x="2602309" y="8853090"/>
                  <a:pt x="1938800" y="9410700"/>
                  <a:pt x="1029295" y="9410700"/>
                </a:cubicBezTo>
                <a:lnTo>
                  <a:pt x="812204" y="9392046"/>
                </a:lnTo>
                <a:lnTo>
                  <a:pt x="384373" y="9311481"/>
                </a:lnTo>
                <a:lnTo>
                  <a:pt x="384373" y="8381206"/>
                </a:lnTo>
                <a:lnTo>
                  <a:pt x="694531" y="8406010"/>
                </a:lnTo>
                <a:cubicBezTo>
                  <a:pt x="1083071" y="8406010"/>
                  <a:pt x="1385821" y="8327628"/>
                  <a:pt x="1602779" y="8170862"/>
                </a:cubicBezTo>
                <a:cubicBezTo>
                  <a:pt x="1819870" y="8014229"/>
                  <a:pt x="1998728" y="7727619"/>
                  <a:pt x="2139354" y="7311032"/>
                </a:cubicBezTo>
                <a:lnTo>
                  <a:pt x="2393553" y="6630591"/>
                </a:lnTo>
                <a:lnTo>
                  <a:pt x="0" y="0"/>
                </a:lnTo>
                <a:lnTo>
                  <a:pt x="125253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59" name="Freeform 3759"/>
          <p:cNvSpPr/>
          <p:nvPr/>
        </p:nvSpPr>
        <p:spPr>
          <a:xfrm>
            <a:off x="7172850" y="2840584"/>
            <a:ext cx="44748" cy="72237"/>
          </a:xfrm>
          <a:custGeom>
            <a:avLst/>
            <a:gdLst/>
            <a:ahLst/>
            <a:cxnLst/>
            <a:rect l="0" t="0" r="0" b="0"/>
            <a:pathLst>
              <a:path w="5593556" h="9029700">
                <a:moveTo>
                  <a:pt x="4979591" y="5037535"/>
                </a:moveTo>
                <a:lnTo>
                  <a:pt x="1190625" y="503753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5593556" y="0"/>
                </a:lnTo>
                <a:lnTo>
                  <a:pt x="5593556" y="979885"/>
                </a:lnTo>
                <a:lnTo>
                  <a:pt x="1190625" y="979885"/>
                </a:lnTo>
                <a:lnTo>
                  <a:pt x="1190625" y="4064000"/>
                </a:lnTo>
                <a:lnTo>
                  <a:pt x="4979591" y="4064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0" name="Freeform 3760"/>
          <p:cNvSpPr/>
          <p:nvPr/>
        </p:nvSpPr>
        <p:spPr>
          <a:xfrm>
            <a:off x="7224048" y="285816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1" name="Freeform 3761"/>
          <p:cNvSpPr/>
          <p:nvPr/>
        </p:nvSpPr>
        <p:spPr>
          <a:xfrm>
            <a:off x="7284391" y="2858160"/>
            <a:ext cx="25946" cy="54660"/>
          </a:xfrm>
          <a:custGeom>
            <a:avLst/>
            <a:gdLst/>
            <a:ahLst/>
            <a:cxnLst/>
            <a:rect l="0" t="0" r="0" b="0"/>
            <a:pathLst>
              <a:path w="3243262" h="6832600">
                <a:moveTo>
                  <a:pt x="3243262" y="1153518"/>
                </a:moveTo>
                <a:cubicBezTo>
                  <a:pt x="3069563" y="1124546"/>
                  <a:pt x="2881444" y="1110060"/>
                  <a:pt x="2678906" y="1110060"/>
                </a:cubicBezTo>
                <a:cubicBezTo>
                  <a:pt x="1926563" y="1110060"/>
                  <a:pt x="1415983" y="1430404"/>
                  <a:pt x="1147167" y="2071093"/>
                </a:cubicBezTo>
                <a:lnTo>
                  <a:pt x="1147167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116211" y="127000"/>
                </a:lnTo>
                <a:lnTo>
                  <a:pt x="1134864" y="899121"/>
                </a:lnTo>
                <a:cubicBezTo>
                  <a:pt x="1511101" y="299707"/>
                  <a:pt x="2044369" y="0"/>
                  <a:pt x="2734667" y="0"/>
                </a:cubicBezTo>
                <a:cubicBezTo>
                  <a:pt x="2957975" y="0"/>
                  <a:pt x="3127507" y="28972"/>
                  <a:pt x="3243262" y="869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2" name="Freeform 3762"/>
          <p:cNvSpPr/>
          <p:nvPr/>
        </p:nvSpPr>
        <p:spPr>
          <a:xfrm>
            <a:off x="7315485" y="285816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3" name="Freeform 3763"/>
          <p:cNvSpPr/>
          <p:nvPr/>
        </p:nvSpPr>
        <p:spPr>
          <a:xfrm>
            <a:off x="7369331" y="2858160"/>
            <a:ext cx="42664" cy="55676"/>
          </a:xfrm>
          <a:custGeom>
            <a:avLst/>
            <a:gdLst/>
            <a:ahLst/>
            <a:cxnLst/>
            <a:rect l="0" t="0" r="0" b="0"/>
            <a:pathLst>
              <a:path w="5333008" h="6959600">
                <a:moveTo>
                  <a:pt x="4185841" y="5055394"/>
                </a:moveTo>
                <a:cubicBezTo>
                  <a:pt x="4185841" y="4745170"/>
                  <a:pt x="4069028" y="4504267"/>
                  <a:pt x="3835400" y="4332685"/>
                </a:cubicBezTo>
                <a:cubicBezTo>
                  <a:pt x="3601773" y="4161103"/>
                  <a:pt x="3194514" y="4013267"/>
                  <a:pt x="2613621" y="3889177"/>
                </a:cubicBezTo>
                <a:cubicBezTo>
                  <a:pt x="2032860" y="3765088"/>
                  <a:pt x="1571956" y="3616193"/>
                  <a:pt x="1230908" y="3442494"/>
                </a:cubicBezTo>
                <a:cubicBezTo>
                  <a:pt x="889860" y="3268795"/>
                  <a:pt x="637646" y="3062023"/>
                  <a:pt x="474266" y="2822179"/>
                </a:cubicBezTo>
                <a:cubicBezTo>
                  <a:pt x="311018" y="2582334"/>
                  <a:pt x="229394" y="2297047"/>
                  <a:pt x="229394" y="1966318"/>
                </a:cubicBezTo>
                <a:cubicBezTo>
                  <a:pt x="229394" y="1416249"/>
                  <a:pt x="461897" y="951045"/>
                  <a:pt x="926902" y="570707"/>
                </a:cubicBezTo>
                <a:cubicBezTo>
                  <a:pt x="1392040" y="190236"/>
                  <a:pt x="1986360" y="0"/>
                  <a:pt x="2709863" y="0"/>
                </a:cubicBezTo>
                <a:cubicBezTo>
                  <a:pt x="3470540" y="0"/>
                  <a:pt x="4087548" y="196388"/>
                  <a:pt x="4560888" y="589161"/>
                </a:cubicBezTo>
                <a:cubicBezTo>
                  <a:pt x="5034228" y="981936"/>
                  <a:pt x="5270897" y="1484247"/>
                  <a:pt x="5270897" y="2096096"/>
                </a:cubicBezTo>
                <a:lnTo>
                  <a:pt x="4117579" y="2096096"/>
                </a:lnTo>
                <a:cubicBezTo>
                  <a:pt x="4117579" y="1781903"/>
                  <a:pt x="3984229" y="1511102"/>
                  <a:pt x="3717529" y="1283693"/>
                </a:cubicBezTo>
                <a:cubicBezTo>
                  <a:pt x="3450961" y="1056283"/>
                  <a:pt x="3115072" y="942579"/>
                  <a:pt x="2709863" y="942579"/>
                </a:cubicBezTo>
                <a:cubicBezTo>
                  <a:pt x="2292350" y="942579"/>
                  <a:pt x="1965722" y="1033595"/>
                  <a:pt x="1729979" y="1215629"/>
                </a:cubicBezTo>
                <a:cubicBezTo>
                  <a:pt x="1494367" y="1397530"/>
                  <a:pt x="1376561" y="1635324"/>
                  <a:pt x="1376561" y="1929011"/>
                </a:cubicBezTo>
                <a:cubicBezTo>
                  <a:pt x="1376561" y="2206162"/>
                  <a:pt x="1486099" y="2415051"/>
                  <a:pt x="1705174" y="2555677"/>
                </a:cubicBezTo>
                <a:cubicBezTo>
                  <a:pt x="1924381" y="2696303"/>
                  <a:pt x="2320264" y="2830711"/>
                  <a:pt x="2892822" y="2958902"/>
                </a:cubicBezTo>
                <a:cubicBezTo>
                  <a:pt x="3465381" y="3087093"/>
                  <a:pt x="3929394" y="3240088"/>
                  <a:pt x="4284861" y="3417888"/>
                </a:cubicBezTo>
                <a:cubicBezTo>
                  <a:pt x="4640461" y="3595688"/>
                  <a:pt x="4904053" y="3809670"/>
                  <a:pt x="5075635" y="4059833"/>
                </a:cubicBezTo>
                <a:cubicBezTo>
                  <a:pt x="5247217" y="4309997"/>
                  <a:pt x="5333008" y="4614995"/>
                  <a:pt x="5333008" y="4974829"/>
                </a:cubicBezTo>
                <a:cubicBezTo>
                  <a:pt x="5333008" y="5574374"/>
                  <a:pt x="5093229" y="6055056"/>
                  <a:pt x="4613672" y="6416874"/>
                </a:cubicBezTo>
                <a:cubicBezTo>
                  <a:pt x="4134115" y="6778692"/>
                  <a:pt x="3511947" y="6959600"/>
                  <a:pt x="2747169" y="6959600"/>
                </a:cubicBezTo>
                <a:cubicBezTo>
                  <a:pt x="2209668" y="6959600"/>
                  <a:pt x="1734212" y="6864548"/>
                  <a:pt x="1320800" y="6674446"/>
                </a:cubicBezTo>
                <a:cubicBezTo>
                  <a:pt x="907389" y="6484210"/>
                  <a:pt x="583870" y="6218569"/>
                  <a:pt x="350243" y="5877521"/>
                </a:cubicBezTo>
                <a:cubicBezTo>
                  <a:pt x="116748" y="5536473"/>
                  <a:pt x="0" y="5167511"/>
                  <a:pt x="0" y="4770636"/>
                </a:cubicBezTo>
                <a:lnTo>
                  <a:pt x="1147168" y="4770636"/>
                </a:lnTo>
                <a:cubicBezTo>
                  <a:pt x="1167805" y="5155076"/>
                  <a:pt x="1321793" y="5459942"/>
                  <a:pt x="1609130" y="5685235"/>
                </a:cubicBezTo>
                <a:cubicBezTo>
                  <a:pt x="1896468" y="5910528"/>
                  <a:pt x="2275814" y="6023174"/>
                  <a:pt x="2747169" y="6023174"/>
                </a:cubicBezTo>
                <a:cubicBezTo>
                  <a:pt x="3181218" y="6023174"/>
                  <a:pt x="3529476" y="5935332"/>
                  <a:pt x="3791943" y="5759649"/>
                </a:cubicBezTo>
                <a:cubicBezTo>
                  <a:pt x="4054542" y="5583833"/>
                  <a:pt x="4185841" y="5349082"/>
                  <a:pt x="4185841" y="50553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4" name="Freeform 3764"/>
          <p:cNvSpPr/>
          <p:nvPr/>
        </p:nvSpPr>
        <p:spPr>
          <a:xfrm>
            <a:off x="7423937" y="2839617"/>
            <a:ext cx="10864" cy="73204"/>
          </a:xfrm>
          <a:custGeom>
            <a:avLst/>
            <a:gdLst/>
            <a:ahLst/>
            <a:cxnLst/>
            <a:rect l="0" t="0" r="0" b="0"/>
            <a:pathLst>
              <a:path w="1358106" h="9150548">
                <a:moveTo>
                  <a:pt x="1240235" y="9150548"/>
                </a:moveTo>
                <a:lnTo>
                  <a:pt x="93067" y="9150548"/>
                </a:lnTo>
                <a:lnTo>
                  <a:pt x="93067" y="2444948"/>
                </a:lnTo>
                <a:lnTo>
                  <a:pt x="1240235" y="2444948"/>
                </a:lnTo>
                <a:close/>
                <a:moveTo>
                  <a:pt x="0" y="663575"/>
                </a:moveTo>
                <a:cubicBezTo>
                  <a:pt x="0" y="477441"/>
                  <a:pt x="56819" y="320344"/>
                  <a:pt x="170458" y="192286"/>
                </a:cubicBezTo>
                <a:cubicBezTo>
                  <a:pt x="284229" y="64095"/>
                  <a:pt x="452702" y="0"/>
                  <a:pt x="675878" y="0"/>
                </a:cubicBezTo>
                <a:cubicBezTo>
                  <a:pt x="899187" y="0"/>
                  <a:pt x="1068718" y="64095"/>
                  <a:pt x="1184474" y="192286"/>
                </a:cubicBezTo>
                <a:cubicBezTo>
                  <a:pt x="1300229" y="320344"/>
                  <a:pt x="1358106" y="477441"/>
                  <a:pt x="1358106" y="663575"/>
                </a:cubicBezTo>
                <a:cubicBezTo>
                  <a:pt x="1358106" y="849577"/>
                  <a:pt x="1300229" y="1004623"/>
                  <a:pt x="1184474" y="1128713"/>
                </a:cubicBezTo>
                <a:cubicBezTo>
                  <a:pt x="1068718" y="1252670"/>
                  <a:pt x="899187" y="1314648"/>
                  <a:pt x="675878" y="1314648"/>
                </a:cubicBezTo>
                <a:cubicBezTo>
                  <a:pt x="452702" y="1314648"/>
                  <a:pt x="284229" y="1252670"/>
                  <a:pt x="170458" y="1128713"/>
                </a:cubicBezTo>
                <a:cubicBezTo>
                  <a:pt x="56819" y="1004623"/>
                  <a:pt x="0" y="849577"/>
                  <a:pt x="0" y="6635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5" name="Freeform 3765"/>
          <p:cNvSpPr/>
          <p:nvPr/>
        </p:nvSpPr>
        <p:spPr>
          <a:xfrm>
            <a:off x="7446291" y="2858160"/>
            <a:ext cx="45343" cy="75793"/>
          </a:xfrm>
          <a:custGeom>
            <a:avLst/>
            <a:gdLst/>
            <a:ahLst/>
            <a:cxnLst/>
            <a:rect l="0" t="0" r="0" b="0"/>
            <a:pathLst>
              <a:path w="5667970" h="9474200">
                <a:moveTo>
                  <a:pt x="0" y="3424040"/>
                </a:moveTo>
                <a:cubicBezTo>
                  <a:pt x="0" y="2377745"/>
                  <a:pt x="241829" y="1545498"/>
                  <a:pt x="725488" y="927299"/>
                </a:cubicBezTo>
                <a:cubicBezTo>
                  <a:pt x="1209278" y="309100"/>
                  <a:pt x="1850099" y="0"/>
                  <a:pt x="2647950" y="0"/>
                </a:cubicBezTo>
                <a:cubicBezTo>
                  <a:pt x="3466438" y="0"/>
                  <a:pt x="4105143" y="289455"/>
                  <a:pt x="4564063" y="868363"/>
                </a:cubicBezTo>
                <a:lnTo>
                  <a:pt x="4619823" y="127000"/>
                </a:lnTo>
                <a:lnTo>
                  <a:pt x="5667970" y="127000"/>
                </a:lnTo>
                <a:lnTo>
                  <a:pt x="5667970" y="6672461"/>
                </a:lnTo>
                <a:cubicBezTo>
                  <a:pt x="5667970" y="7540294"/>
                  <a:pt x="5410597" y="8224176"/>
                  <a:pt x="4895850" y="8724106"/>
                </a:cubicBezTo>
                <a:cubicBezTo>
                  <a:pt x="4381103" y="9224168"/>
                  <a:pt x="3689681" y="9474200"/>
                  <a:pt x="2821583" y="9474200"/>
                </a:cubicBezTo>
                <a:cubicBezTo>
                  <a:pt x="2337925" y="9474200"/>
                  <a:pt x="1864585" y="9370946"/>
                  <a:pt x="1401564" y="9164439"/>
                </a:cubicBezTo>
                <a:cubicBezTo>
                  <a:pt x="938543" y="8958064"/>
                  <a:pt x="585060" y="8675224"/>
                  <a:pt x="341114" y="8315920"/>
                </a:cubicBezTo>
                <a:lnTo>
                  <a:pt x="936427" y="7628532"/>
                </a:lnTo>
                <a:cubicBezTo>
                  <a:pt x="1428419" y="8234693"/>
                  <a:pt x="2029950" y="8537773"/>
                  <a:pt x="2741017" y="8537773"/>
                </a:cubicBezTo>
                <a:cubicBezTo>
                  <a:pt x="3299023" y="8537773"/>
                  <a:pt x="3734065" y="8380875"/>
                  <a:pt x="4046141" y="8067079"/>
                </a:cubicBezTo>
                <a:cubicBezTo>
                  <a:pt x="4358349" y="7753283"/>
                  <a:pt x="4514453" y="7311495"/>
                  <a:pt x="4514453" y="6741716"/>
                </a:cubicBezTo>
                <a:lnTo>
                  <a:pt x="4514453" y="6165652"/>
                </a:lnTo>
                <a:cubicBezTo>
                  <a:pt x="4055533" y="6694951"/>
                  <a:pt x="3429198" y="6959600"/>
                  <a:pt x="2635448" y="6959600"/>
                </a:cubicBezTo>
                <a:cubicBezTo>
                  <a:pt x="1850033" y="6959600"/>
                  <a:pt x="1214438" y="6643291"/>
                  <a:pt x="728663" y="6010672"/>
                </a:cubicBezTo>
                <a:cubicBezTo>
                  <a:pt x="242888" y="5377921"/>
                  <a:pt x="0" y="4515710"/>
                  <a:pt x="0" y="3424040"/>
                </a:cubicBezTo>
                <a:close/>
                <a:moveTo>
                  <a:pt x="1153517" y="3554215"/>
                </a:moveTo>
                <a:cubicBezTo>
                  <a:pt x="1153517" y="4311055"/>
                  <a:pt x="1308497" y="4905574"/>
                  <a:pt x="1618456" y="5337771"/>
                </a:cubicBezTo>
                <a:cubicBezTo>
                  <a:pt x="1928548" y="5769968"/>
                  <a:pt x="2362663" y="5986066"/>
                  <a:pt x="2920802" y="5986066"/>
                </a:cubicBezTo>
                <a:cubicBezTo>
                  <a:pt x="3644305" y="5986066"/>
                  <a:pt x="4175522" y="5657255"/>
                  <a:pt x="4514453" y="4999633"/>
                </a:cubicBezTo>
                <a:lnTo>
                  <a:pt x="4514453" y="1935163"/>
                </a:lnTo>
                <a:cubicBezTo>
                  <a:pt x="4163087" y="1294078"/>
                  <a:pt x="3635970" y="973535"/>
                  <a:pt x="2933105" y="973535"/>
                </a:cubicBezTo>
                <a:cubicBezTo>
                  <a:pt x="2375098" y="973535"/>
                  <a:pt x="1938999" y="1190692"/>
                  <a:pt x="1624806" y="1625005"/>
                </a:cubicBezTo>
                <a:cubicBezTo>
                  <a:pt x="1310614" y="2059186"/>
                  <a:pt x="1153517" y="2702256"/>
                  <a:pt x="1153517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6" name="Freeform 3766"/>
          <p:cNvSpPr/>
          <p:nvPr/>
        </p:nvSpPr>
        <p:spPr>
          <a:xfrm>
            <a:off x="7505472" y="2836621"/>
            <a:ext cx="42217" cy="76200"/>
          </a:xfrm>
          <a:custGeom>
            <a:avLst/>
            <a:gdLst/>
            <a:ahLst/>
            <a:cxnLst/>
            <a:rect l="0" t="0" r="0" b="0"/>
            <a:pathLst>
              <a:path w="5277246" h="9525000">
                <a:moveTo>
                  <a:pt x="1147167" y="3628629"/>
                </a:moveTo>
                <a:cubicBezTo>
                  <a:pt x="1655696" y="3004477"/>
                  <a:pt x="2317154" y="2692400"/>
                  <a:pt x="3131542" y="2692400"/>
                </a:cubicBezTo>
                <a:cubicBezTo>
                  <a:pt x="4549576" y="2692400"/>
                  <a:pt x="5264811" y="3492236"/>
                  <a:pt x="5277246" y="5091907"/>
                </a:cubicBezTo>
                <a:lnTo>
                  <a:pt x="5277246" y="9525000"/>
                </a:lnTo>
                <a:lnTo>
                  <a:pt x="4130079" y="9525000"/>
                </a:lnTo>
                <a:lnTo>
                  <a:pt x="4130079" y="5085755"/>
                </a:lnTo>
                <a:cubicBezTo>
                  <a:pt x="4125846" y="4602097"/>
                  <a:pt x="4015184" y="4244579"/>
                  <a:pt x="3798093" y="4013200"/>
                </a:cubicBezTo>
                <a:cubicBezTo>
                  <a:pt x="3581135" y="3781690"/>
                  <a:pt x="3243196" y="3665935"/>
                  <a:pt x="2784276" y="3665935"/>
                </a:cubicBezTo>
                <a:cubicBezTo>
                  <a:pt x="2412272" y="3665935"/>
                  <a:pt x="2085710" y="3765154"/>
                  <a:pt x="1804590" y="3963591"/>
                </a:cubicBezTo>
                <a:cubicBezTo>
                  <a:pt x="1523470" y="4161896"/>
                  <a:pt x="1304329" y="4422312"/>
                  <a:pt x="1147167" y="4744840"/>
                </a:cubicBezTo>
                <a:lnTo>
                  <a:pt x="1147167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167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7" name="Freeform 3767"/>
          <p:cNvSpPr/>
          <p:nvPr/>
        </p:nvSpPr>
        <p:spPr>
          <a:xfrm>
            <a:off x="7554853" y="2846172"/>
            <a:ext cx="29221" cy="67665"/>
          </a:xfrm>
          <a:custGeom>
            <a:avLst/>
            <a:gdLst/>
            <a:ahLst/>
            <a:cxnLst/>
            <a:rect l="0" t="0" r="0" b="0"/>
            <a:pathLst>
              <a:path w="3652640" h="8458200">
                <a:moveTo>
                  <a:pt x="2368947" y="0"/>
                </a:moveTo>
                <a:lnTo>
                  <a:pt x="2368947" y="1625600"/>
                </a:lnTo>
                <a:lnTo>
                  <a:pt x="3621485" y="1625600"/>
                </a:lnTo>
                <a:lnTo>
                  <a:pt x="3621485" y="2512418"/>
                </a:lnTo>
                <a:lnTo>
                  <a:pt x="2368947" y="2512418"/>
                </a:lnTo>
                <a:lnTo>
                  <a:pt x="2368947" y="6672461"/>
                </a:lnTo>
                <a:cubicBezTo>
                  <a:pt x="2368947" y="6941014"/>
                  <a:pt x="2424708" y="7142494"/>
                  <a:pt x="2536230" y="7276902"/>
                </a:cubicBezTo>
                <a:cubicBezTo>
                  <a:pt x="2647884" y="7411178"/>
                  <a:pt x="2838120" y="7478316"/>
                  <a:pt x="3106936" y="7478316"/>
                </a:cubicBezTo>
                <a:cubicBezTo>
                  <a:pt x="3239228" y="7478316"/>
                  <a:pt x="3421129" y="7453511"/>
                  <a:pt x="3652640" y="7403902"/>
                </a:cubicBezTo>
                <a:lnTo>
                  <a:pt x="3652640" y="8334176"/>
                </a:lnTo>
                <a:cubicBezTo>
                  <a:pt x="3350750" y="8416858"/>
                  <a:pt x="3057195" y="8458200"/>
                  <a:pt x="2771974" y="8458200"/>
                </a:cubicBezTo>
                <a:cubicBezTo>
                  <a:pt x="2259344" y="8458200"/>
                  <a:pt x="1872787" y="8303221"/>
                  <a:pt x="1612305" y="7993261"/>
                </a:cubicBezTo>
                <a:cubicBezTo>
                  <a:pt x="1351955" y="7683170"/>
                  <a:pt x="1221780" y="7242969"/>
                  <a:pt x="1221780" y="6672660"/>
                </a:cubicBezTo>
                <a:lnTo>
                  <a:pt x="1221780" y="2512418"/>
                </a:lnTo>
                <a:lnTo>
                  <a:pt x="0" y="2512418"/>
                </a:lnTo>
                <a:lnTo>
                  <a:pt x="0" y="1625600"/>
                </a:lnTo>
                <a:lnTo>
                  <a:pt x="1221780" y="1625600"/>
                </a:lnTo>
                <a:lnTo>
                  <a:pt x="122178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8" name="Freeform 3768"/>
          <p:cNvSpPr/>
          <p:nvPr/>
        </p:nvSpPr>
        <p:spPr>
          <a:xfrm>
            <a:off x="7646102" y="2840584"/>
            <a:ext cx="44748" cy="72237"/>
          </a:xfrm>
          <a:custGeom>
            <a:avLst/>
            <a:gdLst/>
            <a:ahLst/>
            <a:cxnLst/>
            <a:rect l="0" t="0" r="0" b="0"/>
            <a:pathLst>
              <a:path w="5593556" h="9029700">
                <a:moveTo>
                  <a:pt x="4979591" y="5037535"/>
                </a:moveTo>
                <a:lnTo>
                  <a:pt x="1190625" y="5037535"/>
                </a:lnTo>
                <a:lnTo>
                  <a:pt x="1190625" y="9029700"/>
                </a:lnTo>
                <a:lnTo>
                  <a:pt x="0" y="9029700"/>
                </a:lnTo>
                <a:lnTo>
                  <a:pt x="0" y="0"/>
                </a:lnTo>
                <a:lnTo>
                  <a:pt x="5593556" y="0"/>
                </a:lnTo>
                <a:lnTo>
                  <a:pt x="5593556" y="979885"/>
                </a:lnTo>
                <a:lnTo>
                  <a:pt x="1190625" y="979885"/>
                </a:lnTo>
                <a:lnTo>
                  <a:pt x="1190625" y="4064000"/>
                </a:lnTo>
                <a:lnTo>
                  <a:pt x="4979591" y="4064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69" name="Freeform 3769"/>
          <p:cNvSpPr/>
          <p:nvPr/>
        </p:nvSpPr>
        <p:spPr>
          <a:xfrm>
            <a:off x="7699533" y="2859176"/>
            <a:ext cx="42267" cy="54660"/>
          </a:xfrm>
          <a:custGeom>
            <a:avLst/>
            <a:gdLst/>
            <a:ahLst/>
            <a:cxnLst/>
            <a:rect l="0" t="0" r="0" b="0"/>
            <a:pathLst>
              <a:path w="5283398" h="6832600">
                <a:moveTo>
                  <a:pt x="4167187" y="6045200"/>
                </a:moveTo>
                <a:cubicBezTo>
                  <a:pt x="3720703" y="6570134"/>
                  <a:pt x="3065462" y="6832600"/>
                  <a:pt x="2201466" y="6832600"/>
                </a:cubicBezTo>
                <a:cubicBezTo>
                  <a:pt x="1486297" y="6832600"/>
                  <a:pt x="941586" y="6624903"/>
                  <a:pt x="567333" y="6209507"/>
                </a:cubicBezTo>
                <a:cubicBezTo>
                  <a:pt x="193212" y="5794111"/>
                  <a:pt x="4101" y="5179219"/>
                  <a:pt x="0" y="4364832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4333875"/>
                </a:lnTo>
                <a:cubicBezTo>
                  <a:pt x="1147167" y="5350669"/>
                  <a:pt x="1560578" y="5859066"/>
                  <a:pt x="2387401" y="5859066"/>
                </a:cubicBezTo>
                <a:cubicBezTo>
                  <a:pt x="3263834" y="5859066"/>
                  <a:pt x="3846777" y="5532504"/>
                  <a:pt x="4136231" y="4879380"/>
                </a:cubicBezTo>
                <a:lnTo>
                  <a:pt x="4136231" y="0"/>
                </a:lnTo>
                <a:lnTo>
                  <a:pt x="5283398" y="0"/>
                </a:lnTo>
                <a:lnTo>
                  <a:pt x="5283398" y="6705600"/>
                </a:lnTo>
                <a:lnTo>
                  <a:pt x="4191992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0" name="Freeform 3770"/>
          <p:cNvSpPr/>
          <p:nvPr/>
        </p:nvSpPr>
        <p:spPr>
          <a:xfrm>
            <a:off x="7749214" y="2846172"/>
            <a:ext cx="29221" cy="67665"/>
          </a:xfrm>
          <a:custGeom>
            <a:avLst/>
            <a:gdLst/>
            <a:ahLst/>
            <a:cxnLst/>
            <a:rect l="0" t="0" r="0" b="0"/>
            <a:pathLst>
              <a:path w="3652640" h="8458200">
                <a:moveTo>
                  <a:pt x="2368947" y="0"/>
                </a:moveTo>
                <a:lnTo>
                  <a:pt x="2368947" y="1625600"/>
                </a:lnTo>
                <a:lnTo>
                  <a:pt x="3621485" y="1625600"/>
                </a:lnTo>
                <a:lnTo>
                  <a:pt x="3621485" y="2512418"/>
                </a:lnTo>
                <a:lnTo>
                  <a:pt x="2368947" y="2512418"/>
                </a:lnTo>
                <a:lnTo>
                  <a:pt x="2368947" y="6672461"/>
                </a:lnTo>
                <a:cubicBezTo>
                  <a:pt x="2368947" y="6941014"/>
                  <a:pt x="2424708" y="7142494"/>
                  <a:pt x="2536230" y="7276902"/>
                </a:cubicBezTo>
                <a:cubicBezTo>
                  <a:pt x="2647884" y="7411178"/>
                  <a:pt x="2838120" y="7478316"/>
                  <a:pt x="3106936" y="7478316"/>
                </a:cubicBezTo>
                <a:cubicBezTo>
                  <a:pt x="3239228" y="7478316"/>
                  <a:pt x="3421129" y="7453511"/>
                  <a:pt x="3652640" y="7403902"/>
                </a:cubicBezTo>
                <a:lnTo>
                  <a:pt x="3652640" y="8334176"/>
                </a:lnTo>
                <a:cubicBezTo>
                  <a:pt x="3350750" y="8416858"/>
                  <a:pt x="3057195" y="8458200"/>
                  <a:pt x="2771974" y="8458200"/>
                </a:cubicBezTo>
                <a:cubicBezTo>
                  <a:pt x="2259344" y="8458200"/>
                  <a:pt x="1872787" y="8303221"/>
                  <a:pt x="1612305" y="7993261"/>
                </a:cubicBezTo>
                <a:cubicBezTo>
                  <a:pt x="1351955" y="7683170"/>
                  <a:pt x="1221780" y="7242969"/>
                  <a:pt x="1221780" y="6672660"/>
                </a:cubicBezTo>
                <a:lnTo>
                  <a:pt x="1221780" y="2512418"/>
                </a:lnTo>
                <a:lnTo>
                  <a:pt x="0" y="2512418"/>
                </a:lnTo>
                <a:lnTo>
                  <a:pt x="0" y="1625600"/>
                </a:lnTo>
                <a:lnTo>
                  <a:pt x="1221780" y="1625600"/>
                </a:lnTo>
                <a:lnTo>
                  <a:pt x="122178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1" name="Freeform 3771"/>
          <p:cNvSpPr/>
          <p:nvPr/>
        </p:nvSpPr>
        <p:spPr>
          <a:xfrm>
            <a:off x="7788636" y="2859176"/>
            <a:ext cx="42267" cy="54660"/>
          </a:xfrm>
          <a:custGeom>
            <a:avLst/>
            <a:gdLst/>
            <a:ahLst/>
            <a:cxnLst/>
            <a:rect l="0" t="0" r="0" b="0"/>
            <a:pathLst>
              <a:path w="5283398" h="6832600">
                <a:moveTo>
                  <a:pt x="4167187" y="6045200"/>
                </a:moveTo>
                <a:cubicBezTo>
                  <a:pt x="3720703" y="6570134"/>
                  <a:pt x="3065462" y="6832600"/>
                  <a:pt x="2201466" y="6832600"/>
                </a:cubicBezTo>
                <a:cubicBezTo>
                  <a:pt x="1486297" y="6832600"/>
                  <a:pt x="941586" y="6624903"/>
                  <a:pt x="567333" y="6209507"/>
                </a:cubicBezTo>
                <a:cubicBezTo>
                  <a:pt x="193212" y="5794111"/>
                  <a:pt x="4101" y="5179219"/>
                  <a:pt x="0" y="4364832"/>
                </a:cubicBezTo>
                <a:lnTo>
                  <a:pt x="0" y="0"/>
                </a:lnTo>
                <a:lnTo>
                  <a:pt x="1147167" y="0"/>
                </a:lnTo>
                <a:lnTo>
                  <a:pt x="1147167" y="4333875"/>
                </a:lnTo>
                <a:cubicBezTo>
                  <a:pt x="1147167" y="5350669"/>
                  <a:pt x="1560578" y="5859066"/>
                  <a:pt x="2387401" y="5859066"/>
                </a:cubicBezTo>
                <a:cubicBezTo>
                  <a:pt x="3263834" y="5859066"/>
                  <a:pt x="3846777" y="5532504"/>
                  <a:pt x="4136231" y="4879380"/>
                </a:cubicBezTo>
                <a:lnTo>
                  <a:pt x="4136231" y="0"/>
                </a:lnTo>
                <a:lnTo>
                  <a:pt x="5283398" y="0"/>
                </a:lnTo>
                <a:lnTo>
                  <a:pt x="5283398" y="6705600"/>
                </a:lnTo>
                <a:lnTo>
                  <a:pt x="4191992" y="67056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2" name="Freeform 3772"/>
          <p:cNvSpPr/>
          <p:nvPr/>
        </p:nvSpPr>
        <p:spPr>
          <a:xfrm>
            <a:off x="7844816" y="2858160"/>
            <a:ext cx="25946" cy="54660"/>
          </a:xfrm>
          <a:custGeom>
            <a:avLst/>
            <a:gdLst/>
            <a:ahLst/>
            <a:cxnLst/>
            <a:rect l="0" t="0" r="0" b="0"/>
            <a:pathLst>
              <a:path w="3243262" h="6832600">
                <a:moveTo>
                  <a:pt x="3243262" y="1153518"/>
                </a:moveTo>
                <a:cubicBezTo>
                  <a:pt x="3069563" y="1124546"/>
                  <a:pt x="2881444" y="1110060"/>
                  <a:pt x="2678906" y="1110060"/>
                </a:cubicBezTo>
                <a:cubicBezTo>
                  <a:pt x="1926563" y="1110060"/>
                  <a:pt x="1415983" y="1430404"/>
                  <a:pt x="1147167" y="2071093"/>
                </a:cubicBezTo>
                <a:lnTo>
                  <a:pt x="1147167" y="6832600"/>
                </a:lnTo>
                <a:lnTo>
                  <a:pt x="0" y="6832600"/>
                </a:lnTo>
                <a:lnTo>
                  <a:pt x="0" y="127000"/>
                </a:lnTo>
                <a:lnTo>
                  <a:pt x="1116211" y="127000"/>
                </a:lnTo>
                <a:lnTo>
                  <a:pt x="1134864" y="899121"/>
                </a:lnTo>
                <a:cubicBezTo>
                  <a:pt x="1511101" y="299707"/>
                  <a:pt x="2044369" y="0"/>
                  <a:pt x="2734667" y="0"/>
                </a:cubicBezTo>
                <a:cubicBezTo>
                  <a:pt x="2957975" y="0"/>
                  <a:pt x="3127507" y="28972"/>
                  <a:pt x="3243262" y="86916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3" name="Freeform 3773"/>
          <p:cNvSpPr/>
          <p:nvPr/>
        </p:nvSpPr>
        <p:spPr>
          <a:xfrm>
            <a:off x="7875911" y="2858160"/>
            <a:ext cx="45542" cy="5567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075781" y="6959600"/>
                </a:moveTo>
                <a:cubicBezTo>
                  <a:pt x="2166276" y="6959600"/>
                  <a:pt x="1426236" y="6660820"/>
                  <a:pt x="855662" y="6063258"/>
                </a:cubicBezTo>
                <a:cubicBezTo>
                  <a:pt x="285221" y="5465697"/>
                  <a:pt x="0" y="4666589"/>
                  <a:pt x="0" y="3665935"/>
                </a:cubicBezTo>
                <a:lnTo>
                  <a:pt x="0" y="3454996"/>
                </a:lnTo>
                <a:cubicBezTo>
                  <a:pt x="0" y="2789172"/>
                  <a:pt x="127132" y="2194719"/>
                  <a:pt x="381397" y="1671638"/>
                </a:cubicBezTo>
                <a:cubicBezTo>
                  <a:pt x="635661" y="1148557"/>
                  <a:pt x="991195" y="739180"/>
                  <a:pt x="1447998" y="443508"/>
                </a:cubicBezTo>
                <a:cubicBezTo>
                  <a:pt x="1904801" y="147836"/>
                  <a:pt x="2399903" y="0"/>
                  <a:pt x="2933303" y="0"/>
                </a:cubicBezTo>
                <a:cubicBezTo>
                  <a:pt x="3805502" y="0"/>
                  <a:pt x="4483430" y="287735"/>
                  <a:pt x="4967089" y="863204"/>
                </a:cubicBezTo>
                <a:cubicBezTo>
                  <a:pt x="5450880" y="1438540"/>
                  <a:pt x="5692775" y="2262320"/>
                  <a:pt x="5692775" y="3334544"/>
                </a:cubicBezTo>
                <a:lnTo>
                  <a:pt x="5692775" y="3812779"/>
                </a:lnTo>
                <a:lnTo>
                  <a:pt x="1147366" y="3812779"/>
                </a:lnTo>
                <a:cubicBezTo>
                  <a:pt x="1163902" y="4473179"/>
                  <a:pt x="1357114" y="5006711"/>
                  <a:pt x="1727001" y="5413375"/>
                </a:cubicBezTo>
                <a:cubicBezTo>
                  <a:pt x="2097021" y="5819908"/>
                  <a:pt x="2567318" y="6023174"/>
                  <a:pt x="3137892" y="6023174"/>
                </a:cubicBezTo>
                <a:cubicBezTo>
                  <a:pt x="3542969" y="6023174"/>
                  <a:pt x="3886068" y="5940492"/>
                  <a:pt x="4167187" y="5775127"/>
                </a:cubicBezTo>
                <a:cubicBezTo>
                  <a:pt x="4448307" y="5609630"/>
                  <a:pt x="4694304" y="5390357"/>
                  <a:pt x="4905176" y="5117307"/>
                </a:cubicBezTo>
                <a:lnTo>
                  <a:pt x="5605859" y="5663208"/>
                </a:lnTo>
                <a:cubicBezTo>
                  <a:pt x="5043620" y="6527470"/>
                  <a:pt x="4200260" y="6959600"/>
                  <a:pt x="3075781" y="6959600"/>
                </a:cubicBezTo>
                <a:close/>
                <a:moveTo>
                  <a:pt x="2933303" y="942579"/>
                </a:moveTo>
                <a:cubicBezTo>
                  <a:pt x="2470282" y="942579"/>
                  <a:pt x="2081675" y="1111515"/>
                  <a:pt x="1767483" y="1449388"/>
                </a:cubicBezTo>
                <a:cubicBezTo>
                  <a:pt x="1453290" y="1787261"/>
                  <a:pt x="1258953" y="2260865"/>
                  <a:pt x="1184473" y="2870200"/>
                </a:cubicBezTo>
                <a:lnTo>
                  <a:pt x="4545608" y="2870200"/>
                </a:lnTo>
                <a:lnTo>
                  <a:pt x="4545608" y="2783086"/>
                </a:lnTo>
                <a:cubicBezTo>
                  <a:pt x="4512535" y="2198622"/>
                  <a:pt x="4355438" y="1745787"/>
                  <a:pt x="4074319" y="1424583"/>
                </a:cubicBezTo>
                <a:cubicBezTo>
                  <a:pt x="3793199" y="1103247"/>
                  <a:pt x="3412860" y="942579"/>
                  <a:pt x="2933303" y="942579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4" name="Freeform 3774"/>
          <p:cNvSpPr/>
          <p:nvPr/>
        </p:nvSpPr>
        <p:spPr>
          <a:xfrm>
            <a:off x="7954108" y="2839568"/>
            <a:ext cx="52487" cy="74269"/>
          </a:xfrm>
          <a:custGeom>
            <a:avLst/>
            <a:gdLst/>
            <a:ahLst/>
            <a:cxnLst/>
            <a:rect l="0" t="0" r="0" b="0"/>
            <a:pathLst>
              <a:path w="6560939" h="9283700">
                <a:moveTo>
                  <a:pt x="3212307" y="5131991"/>
                </a:moveTo>
                <a:cubicBezTo>
                  <a:pt x="2191147" y="4838304"/>
                  <a:pt x="1447999" y="4477412"/>
                  <a:pt x="982861" y="4049316"/>
                </a:cubicBezTo>
                <a:cubicBezTo>
                  <a:pt x="517856" y="3621088"/>
                  <a:pt x="285353" y="3092517"/>
                  <a:pt x="285353" y="2463602"/>
                </a:cubicBezTo>
                <a:cubicBezTo>
                  <a:pt x="285353" y="1752005"/>
                  <a:pt x="569516" y="1163505"/>
                  <a:pt x="1137841" y="698104"/>
                </a:cubicBezTo>
                <a:cubicBezTo>
                  <a:pt x="1706298" y="232702"/>
                  <a:pt x="2445279" y="0"/>
                  <a:pt x="3354785" y="0"/>
                </a:cubicBezTo>
                <a:cubicBezTo>
                  <a:pt x="3974968" y="0"/>
                  <a:pt x="4527947" y="119923"/>
                  <a:pt x="5013722" y="359768"/>
                </a:cubicBezTo>
                <a:cubicBezTo>
                  <a:pt x="5499497" y="599480"/>
                  <a:pt x="5875668" y="930210"/>
                  <a:pt x="6142236" y="1351955"/>
                </a:cubicBezTo>
                <a:cubicBezTo>
                  <a:pt x="6408936" y="1773569"/>
                  <a:pt x="6542286" y="2234473"/>
                  <a:pt x="6542286" y="2734668"/>
                </a:cubicBezTo>
                <a:lnTo>
                  <a:pt x="5345510" y="2734668"/>
                </a:lnTo>
                <a:cubicBezTo>
                  <a:pt x="5345510" y="2188965"/>
                  <a:pt x="5171877" y="1760075"/>
                  <a:pt x="4824611" y="1447999"/>
                </a:cubicBezTo>
                <a:cubicBezTo>
                  <a:pt x="4477346" y="1135923"/>
                  <a:pt x="3987403" y="979885"/>
                  <a:pt x="3354785" y="979885"/>
                </a:cubicBezTo>
                <a:cubicBezTo>
                  <a:pt x="2767807" y="979885"/>
                  <a:pt x="2309945" y="1109266"/>
                  <a:pt x="1981200" y="1368029"/>
                </a:cubicBezTo>
                <a:cubicBezTo>
                  <a:pt x="1652588" y="1626659"/>
                  <a:pt x="1488282" y="1985632"/>
                  <a:pt x="1488282" y="2444949"/>
                </a:cubicBezTo>
                <a:cubicBezTo>
                  <a:pt x="1488282" y="2813381"/>
                  <a:pt x="1644319" y="3124862"/>
                  <a:pt x="1956396" y="3379391"/>
                </a:cubicBezTo>
                <a:cubicBezTo>
                  <a:pt x="2268604" y="3633920"/>
                  <a:pt x="2799887" y="3866754"/>
                  <a:pt x="3550246" y="4077891"/>
                </a:cubicBezTo>
                <a:cubicBezTo>
                  <a:pt x="4300604" y="4288896"/>
                  <a:pt x="4887648" y="4521597"/>
                  <a:pt x="5311378" y="4775994"/>
                </a:cubicBezTo>
                <a:cubicBezTo>
                  <a:pt x="5735109" y="5030391"/>
                  <a:pt x="6049302" y="5327187"/>
                  <a:pt x="6253957" y="5666383"/>
                </a:cubicBezTo>
                <a:cubicBezTo>
                  <a:pt x="6458611" y="6005579"/>
                  <a:pt x="6560939" y="6404769"/>
                  <a:pt x="6560939" y="6863954"/>
                </a:cubicBezTo>
                <a:cubicBezTo>
                  <a:pt x="6560939" y="7596056"/>
                  <a:pt x="6275652" y="8182372"/>
                  <a:pt x="5705078" y="8622904"/>
                </a:cubicBezTo>
                <a:cubicBezTo>
                  <a:pt x="5134637" y="9063435"/>
                  <a:pt x="4371909" y="9283700"/>
                  <a:pt x="3416896" y="9283700"/>
                </a:cubicBezTo>
                <a:cubicBezTo>
                  <a:pt x="2796712" y="9283700"/>
                  <a:pt x="2217870" y="9164835"/>
                  <a:pt x="1680369" y="8927108"/>
                </a:cubicBezTo>
                <a:cubicBezTo>
                  <a:pt x="1143000" y="8689380"/>
                  <a:pt x="728597" y="8363810"/>
                  <a:pt x="437158" y="7950399"/>
                </a:cubicBezTo>
                <a:cubicBezTo>
                  <a:pt x="145720" y="7536988"/>
                  <a:pt x="0" y="7067749"/>
                  <a:pt x="0" y="6542683"/>
                </a:cubicBezTo>
                <a:lnTo>
                  <a:pt x="1196777" y="6542683"/>
                </a:lnTo>
                <a:cubicBezTo>
                  <a:pt x="1196777" y="7088386"/>
                  <a:pt x="1398323" y="7519393"/>
                  <a:pt x="1801416" y="7835702"/>
                </a:cubicBezTo>
                <a:cubicBezTo>
                  <a:pt x="2204509" y="8152011"/>
                  <a:pt x="2743002" y="8310166"/>
                  <a:pt x="3416896" y="8310166"/>
                </a:cubicBezTo>
                <a:cubicBezTo>
                  <a:pt x="4045281" y="8310166"/>
                  <a:pt x="4526889" y="8181909"/>
                  <a:pt x="4861719" y="7925396"/>
                </a:cubicBezTo>
                <a:cubicBezTo>
                  <a:pt x="5196549" y="7668750"/>
                  <a:pt x="5363964" y="7319037"/>
                  <a:pt x="5363964" y="6876257"/>
                </a:cubicBezTo>
                <a:cubicBezTo>
                  <a:pt x="5363964" y="6433477"/>
                  <a:pt x="5208918" y="6091040"/>
                  <a:pt x="4898827" y="5848946"/>
                </a:cubicBezTo>
                <a:cubicBezTo>
                  <a:pt x="4588867" y="5606852"/>
                  <a:pt x="4026694" y="5367867"/>
                  <a:pt x="3212307" y="51319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5" name="Freeform 3775"/>
          <p:cNvSpPr/>
          <p:nvPr/>
        </p:nvSpPr>
        <p:spPr>
          <a:xfrm>
            <a:off x="8017383" y="2836621"/>
            <a:ext cx="44400" cy="76200"/>
          </a:xfrm>
          <a:custGeom>
            <a:avLst/>
            <a:gdLst/>
            <a:ahLst/>
            <a:cxnLst/>
            <a:rect l="0" t="0" r="0" b="0"/>
            <a:pathLst>
              <a:path w="5550099" h="9525000">
                <a:moveTo>
                  <a:pt x="1866702" y="6420049"/>
                </a:moveTo>
                <a:lnTo>
                  <a:pt x="1147366" y="7169944"/>
                </a:lnTo>
                <a:lnTo>
                  <a:pt x="1147366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366" y="0"/>
                </a:lnTo>
                <a:lnTo>
                  <a:pt x="1147366" y="5763221"/>
                </a:lnTo>
                <a:lnTo>
                  <a:pt x="1761133" y="5025629"/>
                </a:lnTo>
                <a:lnTo>
                  <a:pt x="3851077" y="2819400"/>
                </a:lnTo>
                <a:lnTo>
                  <a:pt x="5246291" y="2819400"/>
                </a:lnTo>
                <a:lnTo>
                  <a:pt x="2635647" y="5620544"/>
                </a:lnTo>
                <a:lnTo>
                  <a:pt x="5550099" y="9525000"/>
                </a:lnTo>
                <a:lnTo>
                  <a:pt x="4204494" y="9525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6" name="Freeform 3776"/>
          <p:cNvSpPr/>
          <p:nvPr/>
        </p:nvSpPr>
        <p:spPr>
          <a:xfrm>
            <a:off x="8068792" y="2839617"/>
            <a:ext cx="10864" cy="73204"/>
          </a:xfrm>
          <a:custGeom>
            <a:avLst/>
            <a:gdLst/>
            <a:ahLst/>
            <a:cxnLst/>
            <a:rect l="0" t="0" r="0" b="0"/>
            <a:pathLst>
              <a:path w="1358106" h="9150548">
                <a:moveTo>
                  <a:pt x="1240235" y="9150548"/>
                </a:moveTo>
                <a:lnTo>
                  <a:pt x="93067" y="9150548"/>
                </a:lnTo>
                <a:lnTo>
                  <a:pt x="93067" y="2444948"/>
                </a:lnTo>
                <a:lnTo>
                  <a:pt x="1240235" y="2444948"/>
                </a:lnTo>
                <a:close/>
                <a:moveTo>
                  <a:pt x="0" y="663575"/>
                </a:moveTo>
                <a:cubicBezTo>
                  <a:pt x="0" y="477441"/>
                  <a:pt x="56819" y="320344"/>
                  <a:pt x="170458" y="192286"/>
                </a:cubicBezTo>
                <a:cubicBezTo>
                  <a:pt x="284229" y="64095"/>
                  <a:pt x="452702" y="0"/>
                  <a:pt x="675878" y="0"/>
                </a:cubicBezTo>
                <a:cubicBezTo>
                  <a:pt x="899187" y="0"/>
                  <a:pt x="1068718" y="64095"/>
                  <a:pt x="1184474" y="192286"/>
                </a:cubicBezTo>
                <a:cubicBezTo>
                  <a:pt x="1300229" y="320344"/>
                  <a:pt x="1358106" y="477441"/>
                  <a:pt x="1358106" y="663575"/>
                </a:cubicBezTo>
                <a:cubicBezTo>
                  <a:pt x="1358106" y="849577"/>
                  <a:pt x="1300229" y="1004623"/>
                  <a:pt x="1184474" y="1128713"/>
                </a:cubicBezTo>
                <a:cubicBezTo>
                  <a:pt x="1068718" y="1252670"/>
                  <a:pt x="899187" y="1314648"/>
                  <a:pt x="675878" y="1314648"/>
                </a:cubicBezTo>
                <a:cubicBezTo>
                  <a:pt x="452702" y="1314648"/>
                  <a:pt x="284229" y="1252670"/>
                  <a:pt x="170458" y="1128713"/>
                </a:cubicBezTo>
                <a:cubicBezTo>
                  <a:pt x="56819" y="1004623"/>
                  <a:pt x="0" y="849577"/>
                  <a:pt x="0" y="6635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7" name="Freeform 3777"/>
          <p:cNvSpPr/>
          <p:nvPr/>
        </p:nvSpPr>
        <p:spPr>
          <a:xfrm>
            <a:off x="8094123" y="2836621"/>
            <a:ext cx="9177" cy="76200"/>
          </a:xfrm>
          <a:custGeom>
            <a:avLst/>
            <a:gdLst/>
            <a:ahLst/>
            <a:cxnLst/>
            <a:rect l="0" t="0" r="0" b="0"/>
            <a:pathLst>
              <a:path w="1147168" h="9525000">
                <a:moveTo>
                  <a:pt x="1147168" y="9525000"/>
                </a:moveTo>
                <a:lnTo>
                  <a:pt x="0" y="9525000"/>
                </a:lnTo>
                <a:lnTo>
                  <a:pt x="0" y="0"/>
                </a:lnTo>
                <a:lnTo>
                  <a:pt x="114716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8" name="Freeform 3778"/>
          <p:cNvSpPr/>
          <p:nvPr/>
        </p:nvSpPr>
        <p:spPr>
          <a:xfrm>
            <a:off x="8118711" y="2836621"/>
            <a:ext cx="9177" cy="76200"/>
          </a:xfrm>
          <a:custGeom>
            <a:avLst/>
            <a:gdLst/>
            <a:ahLst/>
            <a:cxnLst/>
            <a:rect l="0" t="0" r="0" b="0"/>
            <a:pathLst>
              <a:path w="1147168" h="9525000">
                <a:moveTo>
                  <a:pt x="1147168" y="9525000"/>
                </a:moveTo>
                <a:lnTo>
                  <a:pt x="0" y="9525000"/>
                </a:lnTo>
                <a:lnTo>
                  <a:pt x="0" y="0"/>
                </a:lnTo>
                <a:lnTo>
                  <a:pt x="114716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79" name="Freeform 3779"/>
          <p:cNvSpPr/>
          <p:nvPr/>
        </p:nvSpPr>
        <p:spPr>
          <a:xfrm>
            <a:off x="8140272" y="2858160"/>
            <a:ext cx="42664" cy="55676"/>
          </a:xfrm>
          <a:custGeom>
            <a:avLst/>
            <a:gdLst/>
            <a:ahLst/>
            <a:cxnLst/>
            <a:rect l="0" t="0" r="0" b="0"/>
            <a:pathLst>
              <a:path w="5333008" h="6959600">
                <a:moveTo>
                  <a:pt x="4185841" y="5055394"/>
                </a:moveTo>
                <a:cubicBezTo>
                  <a:pt x="4185841" y="4745170"/>
                  <a:pt x="4069028" y="4504267"/>
                  <a:pt x="3835400" y="4332685"/>
                </a:cubicBezTo>
                <a:cubicBezTo>
                  <a:pt x="3601773" y="4161103"/>
                  <a:pt x="3194514" y="4013267"/>
                  <a:pt x="2613621" y="3889177"/>
                </a:cubicBezTo>
                <a:cubicBezTo>
                  <a:pt x="2032860" y="3765088"/>
                  <a:pt x="1571956" y="3616193"/>
                  <a:pt x="1230908" y="3442494"/>
                </a:cubicBezTo>
                <a:cubicBezTo>
                  <a:pt x="889860" y="3268795"/>
                  <a:pt x="637646" y="3062023"/>
                  <a:pt x="474266" y="2822179"/>
                </a:cubicBezTo>
                <a:cubicBezTo>
                  <a:pt x="311018" y="2582334"/>
                  <a:pt x="229394" y="2297047"/>
                  <a:pt x="229394" y="1966318"/>
                </a:cubicBezTo>
                <a:cubicBezTo>
                  <a:pt x="229394" y="1416249"/>
                  <a:pt x="461897" y="951045"/>
                  <a:pt x="926902" y="570707"/>
                </a:cubicBezTo>
                <a:cubicBezTo>
                  <a:pt x="1392040" y="190236"/>
                  <a:pt x="1986360" y="0"/>
                  <a:pt x="2709863" y="0"/>
                </a:cubicBezTo>
                <a:cubicBezTo>
                  <a:pt x="3470540" y="0"/>
                  <a:pt x="4087548" y="196388"/>
                  <a:pt x="4560888" y="589161"/>
                </a:cubicBezTo>
                <a:cubicBezTo>
                  <a:pt x="5034228" y="981936"/>
                  <a:pt x="5270897" y="1484247"/>
                  <a:pt x="5270897" y="2096096"/>
                </a:cubicBezTo>
                <a:lnTo>
                  <a:pt x="4117579" y="2096096"/>
                </a:lnTo>
                <a:cubicBezTo>
                  <a:pt x="4117579" y="1781903"/>
                  <a:pt x="3984229" y="1511102"/>
                  <a:pt x="3717529" y="1283693"/>
                </a:cubicBezTo>
                <a:cubicBezTo>
                  <a:pt x="3450961" y="1056283"/>
                  <a:pt x="3115072" y="942579"/>
                  <a:pt x="2709863" y="942579"/>
                </a:cubicBezTo>
                <a:cubicBezTo>
                  <a:pt x="2292350" y="942579"/>
                  <a:pt x="1965722" y="1033595"/>
                  <a:pt x="1729979" y="1215629"/>
                </a:cubicBezTo>
                <a:cubicBezTo>
                  <a:pt x="1494367" y="1397530"/>
                  <a:pt x="1376561" y="1635324"/>
                  <a:pt x="1376561" y="1929011"/>
                </a:cubicBezTo>
                <a:cubicBezTo>
                  <a:pt x="1376561" y="2206162"/>
                  <a:pt x="1486099" y="2415051"/>
                  <a:pt x="1705174" y="2555677"/>
                </a:cubicBezTo>
                <a:cubicBezTo>
                  <a:pt x="1924381" y="2696303"/>
                  <a:pt x="2320264" y="2830711"/>
                  <a:pt x="2892822" y="2958902"/>
                </a:cubicBezTo>
                <a:cubicBezTo>
                  <a:pt x="3465381" y="3087093"/>
                  <a:pt x="3929394" y="3240088"/>
                  <a:pt x="4284861" y="3417888"/>
                </a:cubicBezTo>
                <a:cubicBezTo>
                  <a:pt x="4640461" y="3595688"/>
                  <a:pt x="4904053" y="3809670"/>
                  <a:pt x="5075635" y="4059833"/>
                </a:cubicBezTo>
                <a:cubicBezTo>
                  <a:pt x="5247217" y="4309997"/>
                  <a:pt x="5333008" y="4614995"/>
                  <a:pt x="5333008" y="4974829"/>
                </a:cubicBezTo>
                <a:cubicBezTo>
                  <a:pt x="5333008" y="5574374"/>
                  <a:pt x="5093229" y="6055056"/>
                  <a:pt x="4613672" y="6416874"/>
                </a:cubicBezTo>
                <a:cubicBezTo>
                  <a:pt x="4134115" y="6778692"/>
                  <a:pt x="3511947" y="6959600"/>
                  <a:pt x="2747169" y="6959600"/>
                </a:cubicBezTo>
                <a:cubicBezTo>
                  <a:pt x="2209668" y="6959600"/>
                  <a:pt x="1734212" y="6864548"/>
                  <a:pt x="1320800" y="6674446"/>
                </a:cubicBezTo>
                <a:cubicBezTo>
                  <a:pt x="907389" y="6484210"/>
                  <a:pt x="583870" y="6218569"/>
                  <a:pt x="350243" y="5877521"/>
                </a:cubicBezTo>
                <a:cubicBezTo>
                  <a:pt x="116748" y="5536473"/>
                  <a:pt x="0" y="5167511"/>
                  <a:pt x="0" y="4770636"/>
                </a:cubicBezTo>
                <a:lnTo>
                  <a:pt x="1147168" y="4770636"/>
                </a:lnTo>
                <a:cubicBezTo>
                  <a:pt x="1167805" y="5155076"/>
                  <a:pt x="1321793" y="5459942"/>
                  <a:pt x="1609130" y="5685235"/>
                </a:cubicBezTo>
                <a:cubicBezTo>
                  <a:pt x="1896468" y="5910528"/>
                  <a:pt x="2275814" y="6023174"/>
                  <a:pt x="2747169" y="6023174"/>
                </a:cubicBezTo>
                <a:cubicBezTo>
                  <a:pt x="3181218" y="6023174"/>
                  <a:pt x="3529476" y="5935332"/>
                  <a:pt x="3791943" y="5759649"/>
                </a:cubicBezTo>
                <a:cubicBezTo>
                  <a:pt x="4054542" y="5583833"/>
                  <a:pt x="4185841" y="5349082"/>
                  <a:pt x="4185841" y="50553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0" name="Freeform 3780"/>
          <p:cNvSpPr/>
          <p:nvPr/>
        </p:nvSpPr>
        <p:spPr>
          <a:xfrm>
            <a:off x="7172850" y="2986634"/>
            <a:ext cx="52239" cy="72237"/>
          </a:xfrm>
          <a:custGeom>
            <a:avLst/>
            <a:gdLst/>
            <a:ahLst/>
            <a:cxnLst/>
            <a:rect l="0" t="0" r="0" b="0"/>
            <a:pathLst>
              <a:path w="6529983" h="9029700">
                <a:moveTo>
                  <a:pt x="0" y="9029700"/>
                </a:moveTo>
                <a:lnTo>
                  <a:pt x="0" y="0"/>
                </a:lnTo>
                <a:lnTo>
                  <a:pt x="2548731" y="0"/>
                </a:lnTo>
                <a:cubicBezTo>
                  <a:pt x="3334279" y="0"/>
                  <a:pt x="4028810" y="173633"/>
                  <a:pt x="4632325" y="520899"/>
                </a:cubicBezTo>
                <a:cubicBezTo>
                  <a:pt x="5235972" y="868165"/>
                  <a:pt x="5702102" y="1362274"/>
                  <a:pt x="6030714" y="2003227"/>
                </a:cubicBezTo>
                <a:cubicBezTo>
                  <a:pt x="6359327" y="2644048"/>
                  <a:pt x="6525750" y="3379986"/>
                  <a:pt x="6529983" y="4211043"/>
                </a:cubicBezTo>
                <a:lnTo>
                  <a:pt x="6529983" y="4787702"/>
                </a:lnTo>
                <a:cubicBezTo>
                  <a:pt x="6529983" y="5639396"/>
                  <a:pt x="6365611" y="6385719"/>
                  <a:pt x="6036866" y="7026672"/>
                </a:cubicBezTo>
                <a:cubicBezTo>
                  <a:pt x="5708253" y="7667493"/>
                  <a:pt x="5239015" y="8159486"/>
                  <a:pt x="4629150" y="8502650"/>
                </a:cubicBezTo>
                <a:cubicBezTo>
                  <a:pt x="4019418" y="8845683"/>
                  <a:pt x="3309408" y="9021366"/>
                  <a:pt x="2499122" y="9029700"/>
                </a:cubicBezTo>
                <a:close/>
                <a:moveTo>
                  <a:pt x="1190625" y="979885"/>
                </a:moveTo>
                <a:lnTo>
                  <a:pt x="1190625" y="8056166"/>
                </a:lnTo>
                <a:lnTo>
                  <a:pt x="2443361" y="8056166"/>
                </a:lnTo>
                <a:cubicBezTo>
                  <a:pt x="3361068" y="8056166"/>
                  <a:pt x="4075179" y="7770879"/>
                  <a:pt x="4585692" y="7200305"/>
                </a:cubicBezTo>
                <a:cubicBezTo>
                  <a:pt x="5096338" y="6629731"/>
                  <a:pt x="5351661" y="5817328"/>
                  <a:pt x="5351661" y="4763096"/>
                </a:cubicBezTo>
                <a:lnTo>
                  <a:pt x="5351661" y="4235847"/>
                </a:lnTo>
                <a:cubicBezTo>
                  <a:pt x="5351661" y="3210455"/>
                  <a:pt x="5110824" y="2413530"/>
                  <a:pt x="4629150" y="1845072"/>
                </a:cubicBezTo>
                <a:cubicBezTo>
                  <a:pt x="4147608" y="1276615"/>
                  <a:pt x="3464454" y="988219"/>
                  <a:pt x="2579687" y="97988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1" name="Freeform 3781"/>
          <p:cNvSpPr/>
          <p:nvPr/>
        </p:nvSpPr>
        <p:spPr>
          <a:xfrm>
            <a:off x="7236421" y="3004210"/>
            <a:ext cx="44302" cy="55676"/>
          </a:xfrm>
          <a:custGeom>
            <a:avLst/>
            <a:gdLst/>
            <a:ahLst/>
            <a:cxnLst/>
            <a:rect l="0" t="0" r="0" b="0"/>
            <a:pathLst>
              <a:path w="5537795" h="6959600">
                <a:moveTo>
                  <a:pt x="4334668" y="6832600"/>
                </a:moveTo>
                <a:cubicBezTo>
                  <a:pt x="4268522" y="6700838"/>
                  <a:pt x="4214812" y="6466086"/>
                  <a:pt x="4173537" y="6128346"/>
                </a:cubicBezTo>
                <a:cubicBezTo>
                  <a:pt x="3640137" y="6682516"/>
                  <a:pt x="3003483" y="6959600"/>
                  <a:pt x="2263576" y="6959600"/>
                </a:cubicBezTo>
                <a:cubicBezTo>
                  <a:pt x="1602118" y="6959600"/>
                  <a:pt x="1059457" y="6772606"/>
                  <a:pt x="635595" y="6398618"/>
                </a:cubicBezTo>
                <a:cubicBezTo>
                  <a:pt x="211865" y="6024497"/>
                  <a:pt x="0" y="5550165"/>
                  <a:pt x="0" y="4975622"/>
                </a:cubicBezTo>
                <a:cubicBezTo>
                  <a:pt x="0" y="4277122"/>
                  <a:pt x="265641" y="3734660"/>
                  <a:pt x="796925" y="3348236"/>
                </a:cubicBezTo>
                <a:cubicBezTo>
                  <a:pt x="1328208" y="2961812"/>
                  <a:pt x="2075457" y="2768600"/>
                  <a:pt x="3038673" y="2768600"/>
                </a:cubicBezTo>
                <a:lnTo>
                  <a:pt x="4154884" y="2768600"/>
                </a:lnTo>
                <a:lnTo>
                  <a:pt x="4154884" y="2240757"/>
                </a:lnTo>
                <a:cubicBezTo>
                  <a:pt x="4154884" y="1838987"/>
                  <a:pt x="4034961" y="1519106"/>
                  <a:pt x="3795117" y="1281113"/>
                </a:cubicBezTo>
                <a:cubicBezTo>
                  <a:pt x="3555404" y="1042988"/>
                  <a:pt x="3201987" y="923925"/>
                  <a:pt x="2734865" y="923925"/>
                </a:cubicBezTo>
                <a:cubicBezTo>
                  <a:pt x="2325555" y="923925"/>
                  <a:pt x="1982390" y="1027510"/>
                  <a:pt x="1705372" y="1234679"/>
                </a:cubicBezTo>
                <a:cubicBezTo>
                  <a:pt x="1428353" y="1441715"/>
                  <a:pt x="1289843" y="1692275"/>
                  <a:pt x="1289843" y="1986360"/>
                </a:cubicBezTo>
                <a:lnTo>
                  <a:pt x="136525" y="1986360"/>
                </a:lnTo>
                <a:cubicBezTo>
                  <a:pt x="136525" y="1651133"/>
                  <a:pt x="255389" y="1327349"/>
                  <a:pt x="493117" y="1015008"/>
                </a:cubicBezTo>
                <a:cubicBezTo>
                  <a:pt x="730845" y="702536"/>
                  <a:pt x="1053306" y="455282"/>
                  <a:pt x="1460500" y="273249"/>
                </a:cubicBezTo>
                <a:cubicBezTo>
                  <a:pt x="1867693" y="91083"/>
                  <a:pt x="2315170" y="0"/>
                  <a:pt x="2802929" y="0"/>
                </a:cubicBezTo>
                <a:cubicBezTo>
                  <a:pt x="3576042" y="0"/>
                  <a:pt x="4181673" y="193279"/>
                  <a:pt x="4619823" y="579835"/>
                </a:cubicBezTo>
                <a:cubicBezTo>
                  <a:pt x="5058105" y="966259"/>
                  <a:pt x="5285515" y="1498402"/>
                  <a:pt x="5302051" y="2176265"/>
                </a:cubicBezTo>
                <a:lnTo>
                  <a:pt x="5302051" y="5263952"/>
                </a:lnTo>
                <a:cubicBezTo>
                  <a:pt x="5302051" y="5879902"/>
                  <a:pt x="5380632" y="6369712"/>
                  <a:pt x="5537795" y="6733382"/>
                </a:cubicBezTo>
                <a:lnTo>
                  <a:pt x="5537795" y="6832600"/>
                </a:lnTo>
                <a:close/>
                <a:moveTo>
                  <a:pt x="2430859" y="5961261"/>
                </a:moveTo>
                <a:cubicBezTo>
                  <a:pt x="2790560" y="5961261"/>
                  <a:pt x="3131608" y="5868327"/>
                  <a:pt x="3454003" y="5682457"/>
                </a:cubicBezTo>
                <a:cubicBezTo>
                  <a:pt x="3776530" y="5496455"/>
                  <a:pt x="4010157" y="5254692"/>
                  <a:pt x="4154884" y="4957168"/>
                </a:cubicBezTo>
                <a:lnTo>
                  <a:pt x="4154884" y="3581004"/>
                </a:lnTo>
                <a:lnTo>
                  <a:pt x="3255764" y="3581004"/>
                </a:lnTo>
                <a:cubicBezTo>
                  <a:pt x="1850165" y="3581004"/>
                  <a:pt x="1147365" y="3992166"/>
                  <a:pt x="1147365" y="4814491"/>
                </a:cubicBezTo>
                <a:cubicBezTo>
                  <a:pt x="1147365" y="5174060"/>
                  <a:pt x="1267222" y="5455114"/>
                  <a:pt x="1506934" y="5657652"/>
                </a:cubicBezTo>
                <a:cubicBezTo>
                  <a:pt x="1746779" y="5860058"/>
                  <a:pt x="2054754" y="5961261"/>
                  <a:pt x="2430859" y="596126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2" name="Freeform 3782"/>
          <p:cNvSpPr/>
          <p:nvPr/>
        </p:nvSpPr>
        <p:spPr>
          <a:xfrm>
            <a:off x="7287109" y="3005226"/>
            <a:ext cx="45691" cy="53644"/>
          </a:xfrm>
          <a:custGeom>
            <a:avLst/>
            <a:gdLst/>
            <a:ahLst/>
            <a:cxnLst/>
            <a:rect l="0" t="0" r="0" b="0"/>
            <a:pathLst>
              <a:path w="5711428" h="6705600">
                <a:moveTo>
                  <a:pt x="2877343" y="5150049"/>
                </a:moveTo>
                <a:lnTo>
                  <a:pt x="4539257" y="0"/>
                </a:lnTo>
                <a:lnTo>
                  <a:pt x="5711428" y="0"/>
                </a:lnTo>
                <a:lnTo>
                  <a:pt x="3305373" y="6705600"/>
                </a:lnTo>
                <a:lnTo>
                  <a:pt x="2430859" y="6705600"/>
                </a:lnTo>
                <a:lnTo>
                  <a:pt x="0" y="0"/>
                </a:lnTo>
                <a:lnTo>
                  <a:pt x="1172170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3" name="Freeform 3783"/>
          <p:cNvSpPr/>
          <p:nvPr/>
        </p:nvSpPr>
        <p:spPr>
          <a:xfrm>
            <a:off x="7338450" y="300421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4" name="Freeform 3784"/>
          <p:cNvSpPr/>
          <p:nvPr/>
        </p:nvSpPr>
        <p:spPr>
          <a:xfrm>
            <a:off x="7396560" y="3004210"/>
            <a:ext cx="42664" cy="55676"/>
          </a:xfrm>
          <a:custGeom>
            <a:avLst/>
            <a:gdLst/>
            <a:ahLst/>
            <a:cxnLst/>
            <a:rect l="0" t="0" r="0" b="0"/>
            <a:pathLst>
              <a:path w="5333008" h="6959600">
                <a:moveTo>
                  <a:pt x="4185841" y="5055394"/>
                </a:moveTo>
                <a:cubicBezTo>
                  <a:pt x="4185841" y="4745170"/>
                  <a:pt x="4069028" y="4504267"/>
                  <a:pt x="3835400" y="4332685"/>
                </a:cubicBezTo>
                <a:cubicBezTo>
                  <a:pt x="3601773" y="4161103"/>
                  <a:pt x="3194514" y="4013267"/>
                  <a:pt x="2613621" y="3889177"/>
                </a:cubicBezTo>
                <a:cubicBezTo>
                  <a:pt x="2032860" y="3765088"/>
                  <a:pt x="1571956" y="3616193"/>
                  <a:pt x="1230908" y="3442494"/>
                </a:cubicBezTo>
                <a:cubicBezTo>
                  <a:pt x="889860" y="3268795"/>
                  <a:pt x="637646" y="3062023"/>
                  <a:pt x="474266" y="2822179"/>
                </a:cubicBezTo>
                <a:cubicBezTo>
                  <a:pt x="311018" y="2582334"/>
                  <a:pt x="229394" y="2297047"/>
                  <a:pt x="229394" y="1966318"/>
                </a:cubicBezTo>
                <a:cubicBezTo>
                  <a:pt x="229394" y="1416249"/>
                  <a:pt x="461897" y="951045"/>
                  <a:pt x="926902" y="570707"/>
                </a:cubicBezTo>
                <a:cubicBezTo>
                  <a:pt x="1392040" y="190236"/>
                  <a:pt x="1986360" y="0"/>
                  <a:pt x="2709863" y="0"/>
                </a:cubicBezTo>
                <a:cubicBezTo>
                  <a:pt x="3470540" y="0"/>
                  <a:pt x="4087548" y="196388"/>
                  <a:pt x="4560888" y="589161"/>
                </a:cubicBezTo>
                <a:cubicBezTo>
                  <a:pt x="5034228" y="981936"/>
                  <a:pt x="5270897" y="1484247"/>
                  <a:pt x="5270897" y="2096096"/>
                </a:cubicBezTo>
                <a:lnTo>
                  <a:pt x="4117579" y="2096096"/>
                </a:lnTo>
                <a:cubicBezTo>
                  <a:pt x="4117579" y="1781903"/>
                  <a:pt x="3984229" y="1511102"/>
                  <a:pt x="3717529" y="1283693"/>
                </a:cubicBezTo>
                <a:cubicBezTo>
                  <a:pt x="3450961" y="1056283"/>
                  <a:pt x="3115072" y="942579"/>
                  <a:pt x="2709863" y="942579"/>
                </a:cubicBezTo>
                <a:cubicBezTo>
                  <a:pt x="2292350" y="942579"/>
                  <a:pt x="1965722" y="1033595"/>
                  <a:pt x="1729979" y="1215629"/>
                </a:cubicBezTo>
                <a:cubicBezTo>
                  <a:pt x="1494367" y="1397530"/>
                  <a:pt x="1376561" y="1635324"/>
                  <a:pt x="1376561" y="1929011"/>
                </a:cubicBezTo>
                <a:cubicBezTo>
                  <a:pt x="1376561" y="2206162"/>
                  <a:pt x="1486099" y="2415051"/>
                  <a:pt x="1705174" y="2555677"/>
                </a:cubicBezTo>
                <a:cubicBezTo>
                  <a:pt x="1924381" y="2696303"/>
                  <a:pt x="2320264" y="2830711"/>
                  <a:pt x="2892822" y="2958902"/>
                </a:cubicBezTo>
                <a:cubicBezTo>
                  <a:pt x="3465381" y="3087093"/>
                  <a:pt x="3929394" y="3240088"/>
                  <a:pt x="4284861" y="3417888"/>
                </a:cubicBezTo>
                <a:cubicBezTo>
                  <a:pt x="4640461" y="3595688"/>
                  <a:pt x="4904053" y="3809670"/>
                  <a:pt x="5075635" y="4059833"/>
                </a:cubicBezTo>
                <a:cubicBezTo>
                  <a:pt x="5247217" y="4309997"/>
                  <a:pt x="5333008" y="4614995"/>
                  <a:pt x="5333008" y="4974829"/>
                </a:cubicBezTo>
                <a:cubicBezTo>
                  <a:pt x="5333008" y="5574374"/>
                  <a:pt x="5093229" y="6055056"/>
                  <a:pt x="4613672" y="6416874"/>
                </a:cubicBezTo>
                <a:cubicBezTo>
                  <a:pt x="4134115" y="6778692"/>
                  <a:pt x="3511947" y="6959600"/>
                  <a:pt x="2747169" y="6959600"/>
                </a:cubicBezTo>
                <a:cubicBezTo>
                  <a:pt x="2209668" y="6959600"/>
                  <a:pt x="1734212" y="6864548"/>
                  <a:pt x="1320800" y="6674446"/>
                </a:cubicBezTo>
                <a:cubicBezTo>
                  <a:pt x="907389" y="6484210"/>
                  <a:pt x="583870" y="6218569"/>
                  <a:pt x="350243" y="5877521"/>
                </a:cubicBezTo>
                <a:cubicBezTo>
                  <a:pt x="116748" y="5536473"/>
                  <a:pt x="0" y="5167511"/>
                  <a:pt x="0" y="4770636"/>
                </a:cubicBezTo>
                <a:lnTo>
                  <a:pt x="1147168" y="4770636"/>
                </a:lnTo>
                <a:cubicBezTo>
                  <a:pt x="1167805" y="5155076"/>
                  <a:pt x="1321793" y="5459942"/>
                  <a:pt x="1609130" y="5685235"/>
                </a:cubicBezTo>
                <a:cubicBezTo>
                  <a:pt x="1896468" y="5910528"/>
                  <a:pt x="2275814" y="6023174"/>
                  <a:pt x="2747169" y="6023174"/>
                </a:cubicBezTo>
                <a:cubicBezTo>
                  <a:pt x="3181218" y="6023174"/>
                  <a:pt x="3529476" y="5935332"/>
                  <a:pt x="3791943" y="5759649"/>
                </a:cubicBezTo>
                <a:cubicBezTo>
                  <a:pt x="4054542" y="5583833"/>
                  <a:pt x="4185841" y="5349082"/>
                  <a:pt x="4185841" y="50553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5" name="Freeform 3785"/>
          <p:cNvSpPr/>
          <p:nvPr/>
        </p:nvSpPr>
        <p:spPr>
          <a:xfrm>
            <a:off x="7473781" y="3004210"/>
            <a:ext cx="48864" cy="55676"/>
          </a:xfrm>
          <a:custGeom>
            <a:avLst/>
            <a:gdLst/>
            <a:ahLst/>
            <a:cxnLst/>
            <a:rect l="0" t="0" r="0" b="0"/>
            <a:pathLst>
              <a:path w="6108104" h="6959600">
                <a:moveTo>
                  <a:pt x="0" y="3417690"/>
                </a:moveTo>
                <a:cubicBezTo>
                  <a:pt x="0" y="2760200"/>
                  <a:pt x="129183" y="2168922"/>
                  <a:pt x="387548" y="1643857"/>
                </a:cubicBezTo>
                <a:cubicBezTo>
                  <a:pt x="645914" y="1118659"/>
                  <a:pt x="1005549" y="713383"/>
                  <a:pt x="1466453" y="428030"/>
                </a:cubicBezTo>
                <a:cubicBezTo>
                  <a:pt x="1927489" y="142677"/>
                  <a:pt x="2453613" y="0"/>
                  <a:pt x="3044825" y="0"/>
                </a:cubicBezTo>
                <a:cubicBezTo>
                  <a:pt x="3958431" y="0"/>
                  <a:pt x="4697346" y="316376"/>
                  <a:pt x="5261570" y="949127"/>
                </a:cubicBezTo>
                <a:cubicBezTo>
                  <a:pt x="5825926" y="1581746"/>
                  <a:pt x="6108104" y="2423253"/>
                  <a:pt x="6108104" y="3473649"/>
                </a:cubicBezTo>
                <a:lnTo>
                  <a:pt x="6108104" y="3554215"/>
                </a:lnTo>
                <a:cubicBezTo>
                  <a:pt x="6108104" y="4207603"/>
                  <a:pt x="5983023" y="4793788"/>
                  <a:pt x="5732859" y="5312768"/>
                </a:cubicBezTo>
                <a:cubicBezTo>
                  <a:pt x="5482828" y="5831748"/>
                  <a:pt x="5125244" y="6235965"/>
                  <a:pt x="4660106" y="6525419"/>
                </a:cubicBezTo>
                <a:cubicBezTo>
                  <a:pt x="4195101" y="6814873"/>
                  <a:pt x="3660775" y="6959600"/>
                  <a:pt x="3057128" y="6959600"/>
                </a:cubicBezTo>
                <a:cubicBezTo>
                  <a:pt x="2147623" y="6959600"/>
                  <a:pt x="1410692" y="6643291"/>
                  <a:pt x="846336" y="6010672"/>
                </a:cubicBezTo>
                <a:cubicBezTo>
                  <a:pt x="282112" y="5377921"/>
                  <a:pt x="0" y="4540515"/>
                  <a:pt x="0" y="3498454"/>
                </a:cubicBezTo>
                <a:close/>
                <a:moveTo>
                  <a:pt x="1153319" y="3554215"/>
                </a:moveTo>
                <a:cubicBezTo>
                  <a:pt x="1153319" y="4298620"/>
                  <a:pt x="1325893" y="4896247"/>
                  <a:pt x="1671042" y="5347097"/>
                </a:cubicBezTo>
                <a:cubicBezTo>
                  <a:pt x="2016323" y="5797815"/>
                  <a:pt x="2478352" y="6023174"/>
                  <a:pt x="3057128" y="6023174"/>
                </a:cubicBezTo>
                <a:cubicBezTo>
                  <a:pt x="3640005" y="6023174"/>
                  <a:pt x="4103026" y="5794706"/>
                  <a:pt x="4446190" y="5337771"/>
                </a:cubicBezTo>
                <a:cubicBezTo>
                  <a:pt x="4789355" y="4880703"/>
                  <a:pt x="4960937" y="4240676"/>
                  <a:pt x="4960937" y="3417690"/>
                </a:cubicBezTo>
                <a:cubicBezTo>
                  <a:pt x="4960937" y="2681619"/>
                  <a:pt x="4786246" y="2085115"/>
                  <a:pt x="4436864" y="1628180"/>
                </a:cubicBezTo>
                <a:cubicBezTo>
                  <a:pt x="4087614" y="1171112"/>
                  <a:pt x="3623601" y="942579"/>
                  <a:pt x="3044825" y="942579"/>
                </a:cubicBezTo>
                <a:cubicBezTo>
                  <a:pt x="2478352" y="942579"/>
                  <a:pt x="2021483" y="1168004"/>
                  <a:pt x="1674217" y="1618854"/>
                </a:cubicBezTo>
                <a:cubicBezTo>
                  <a:pt x="1326951" y="2069571"/>
                  <a:pt x="1153319" y="2714692"/>
                  <a:pt x="1153319" y="355421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6" name="Freeform 3786"/>
          <p:cNvSpPr/>
          <p:nvPr/>
        </p:nvSpPr>
        <p:spPr>
          <a:xfrm>
            <a:off x="7530155" y="2981655"/>
            <a:ext cx="32445" cy="77216"/>
          </a:xfrm>
          <a:custGeom>
            <a:avLst/>
            <a:gdLst/>
            <a:ahLst/>
            <a:cxnLst/>
            <a:rect l="0" t="0" r="0" b="0"/>
            <a:pathLst>
              <a:path w="4055665" h="9652000">
                <a:moveTo>
                  <a:pt x="1060450" y="9652000"/>
                </a:moveTo>
                <a:lnTo>
                  <a:pt x="1060450" y="3833218"/>
                </a:lnTo>
                <a:lnTo>
                  <a:pt x="0" y="3833218"/>
                </a:lnTo>
                <a:lnTo>
                  <a:pt x="0" y="2946400"/>
                </a:lnTo>
                <a:lnTo>
                  <a:pt x="1060450" y="2946400"/>
                </a:lnTo>
                <a:lnTo>
                  <a:pt x="1060450" y="2257822"/>
                </a:lnTo>
                <a:cubicBezTo>
                  <a:pt x="1060450" y="1538288"/>
                  <a:pt x="1252670" y="982134"/>
                  <a:pt x="1637109" y="589360"/>
                </a:cubicBezTo>
                <a:cubicBezTo>
                  <a:pt x="2021549" y="196454"/>
                  <a:pt x="2565201" y="0"/>
                  <a:pt x="3268067" y="0"/>
                </a:cubicBezTo>
                <a:cubicBezTo>
                  <a:pt x="3532650" y="0"/>
                  <a:pt x="3795183" y="35124"/>
                  <a:pt x="4055665" y="105371"/>
                </a:cubicBezTo>
                <a:lnTo>
                  <a:pt x="3993555" y="1035646"/>
                </a:lnTo>
                <a:cubicBezTo>
                  <a:pt x="3799218" y="998472"/>
                  <a:pt x="3592512" y="979885"/>
                  <a:pt x="3373437" y="979885"/>
                </a:cubicBezTo>
                <a:cubicBezTo>
                  <a:pt x="3001433" y="979885"/>
                  <a:pt x="2714096" y="1088430"/>
                  <a:pt x="2511425" y="1305521"/>
                </a:cubicBezTo>
                <a:cubicBezTo>
                  <a:pt x="2308886" y="1522611"/>
                  <a:pt x="2207617" y="1833827"/>
                  <a:pt x="2207617" y="2239169"/>
                </a:cubicBezTo>
                <a:lnTo>
                  <a:pt x="2207617" y="2946400"/>
                </a:lnTo>
                <a:lnTo>
                  <a:pt x="3640137" y="2946400"/>
                </a:lnTo>
                <a:lnTo>
                  <a:pt x="3640137" y="3833218"/>
                </a:lnTo>
                <a:lnTo>
                  <a:pt x="2207617" y="3833218"/>
                </a:lnTo>
                <a:lnTo>
                  <a:pt x="2207617" y="9652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7" name="Freeform 3787"/>
          <p:cNvSpPr/>
          <p:nvPr/>
        </p:nvSpPr>
        <p:spPr>
          <a:xfrm>
            <a:off x="7591497" y="2985618"/>
            <a:ext cx="52487" cy="74269"/>
          </a:xfrm>
          <a:custGeom>
            <a:avLst/>
            <a:gdLst/>
            <a:ahLst/>
            <a:cxnLst/>
            <a:rect l="0" t="0" r="0" b="0"/>
            <a:pathLst>
              <a:path w="6560939" h="9283700">
                <a:moveTo>
                  <a:pt x="3212307" y="5131991"/>
                </a:moveTo>
                <a:cubicBezTo>
                  <a:pt x="2191147" y="4838304"/>
                  <a:pt x="1447999" y="4477412"/>
                  <a:pt x="982861" y="4049316"/>
                </a:cubicBezTo>
                <a:cubicBezTo>
                  <a:pt x="517856" y="3621088"/>
                  <a:pt x="285353" y="3092517"/>
                  <a:pt x="285353" y="2463602"/>
                </a:cubicBezTo>
                <a:cubicBezTo>
                  <a:pt x="285353" y="1752005"/>
                  <a:pt x="569516" y="1163505"/>
                  <a:pt x="1137841" y="698104"/>
                </a:cubicBezTo>
                <a:cubicBezTo>
                  <a:pt x="1706298" y="232702"/>
                  <a:pt x="2445279" y="0"/>
                  <a:pt x="3354785" y="0"/>
                </a:cubicBezTo>
                <a:cubicBezTo>
                  <a:pt x="3974968" y="0"/>
                  <a:pt x="4527947" y="119923"/>
                  <a:pt x="5013722" y="359768"/>
                </a:cubicBezTo>
                <a:cubicBezTo>
                  <a:pt x="5499497" y="599480"/>
                  <a:pt x="5875668" y="930210"/>
                  <a:pt x="6142236" y="1351955"/>
                </a:cubicBezTo>
                <a:cubicBezTo>
                  <a:pt x="6408936" y="1773569"/>
                  <a:pt x="6542286" y="2234473"/>
                  <a:pt x="6542286" y="2734668"/>
                </a:cubicBezTo>
                <a:lnTo>
                  <a:pt x="5345510" y="2734668"/>
                </a:lnTo>
                <a:cubicBezTo>
                  <a:pt x="5345510" y="2188965"/>
                  <a:pt x="5171877" y="1760075"/>
                  <a:pt x="4824611" y="1447999"/>
                </a:cubicBezTo>
                <a:cubicBezTo>
                  <a:pt x="4477346" y="1135923"/>
                  <a:pt x="3987403" y="979885"/>
                  <a:pt x="3354785" y="979885"/>
                </a:cubicBezTo>
                <a:cubicBezTo>
                  <a:pt x="2767807" y="979885"/>
                  <a:pt x="2309945" y="1109266"/>
                  <a:pt x="1981200" y="1368029"/>
                </a:cubicBezTo>
                <a:cubicBezTo>
                  <a:pt x="1652588" y="1626659"/>
                  <a:pt x="1488282" y="1985632"/>
                  <a:pt x="1488282" y="2444949"/>
                </a:cubicBezTo>
                <a:cubicBezTo>
                  <a:pt x="1488282" y="2813381"/>
                  <a:pt x="1644319" y="3124862"/>
                  <a:pt x="1956396" y="3379391"/>
                </a:cubicBezTo>
                <a:cubicBezTo>
                  <a:pt x="2268604" y="3633920"/>
                  <a:pt x="2799887" y="3866754"/>
                  <a:pt x="3550246" y="4077891"/>
                </a:cubicBezTo>
                <a:cubicBezTo>
                  <a:pt x="4300604" y="4288896"/>
                  <a:pt x="4887648" y="4521597"/>
                  <a:pt x="5311378" y="4775994"/>
                </a:cubicBezTo>
                <a:cubicBezTo>
                  <a:pt x="5735109" y="5030391"/>
                  <a:pt x="6049302" y="5327187"/>
                  <a:pt x="6253957" y="5666383"/>
                </a:cubicBezTo>
                <a:cubicBezTo>
                  <a:pt x="6458611" y="6005579"/>
                  <a:pt x="6560939" y="6404769"/>
                  <a:pt x="6560939" y="6863954"/>
                </a:cubicBezTo>
                <a:cubicBezTo>
                  <a:pt x="6560939" y="7596056"/>
                  <a:pt x="6275652" y="8182372"/>
                  <a:pt x="5705078" y="8622904"/>
                </a:cubicBezTo>
                <a:cubicBezTo>
                  <a:pt x="5134637" y="9063435"/>
                  <a:pt x="4371909" y="9283700"/>
                  <a:pt x="3416896" y="9283700"/>
                </a:cubicBezTo>
                <a:cubicBezTo>
                  <a:pt x="2796712" y="9283700"/>
                  <a:pt x="2217870" y="9164835"/>
                  <a:pt x="1680369" y="8927108"/>
                </a:cubicBezTo>
                <a:cubicBezTo>
                  <a:pt x="1143000" y="8689380"/>
                  <a:pt x="728597" y="8363810"/>
                  <a:pt x="437158" y="7950399"/>
                </a:cubicBezTo>
                <a:cubicBezTo>
                  <a:pt x="145720" y="7536988"/>
                  <a:pt x="0" y="7067749"/>
                  <a:pt x="0" y="6542683"/>
                </a:cubicBezTo>
                <a:lnTo>
                  <a:pt x="1196777" y="6542683"/>
                </a:lnTo>
                <a:cubicBezTo>
                  <a:pt x="1196777" y="7088386"/>
                  <a:pt x="1398323" y="7519393"/>
                  <a:pt x="1801416" y="7835702"/>
                </a:cubicBezTo>
                <a:cubicBezTo>
                  <a:pt x="2204509" y="8152011"/>
                  <a:pt x="2743002" y="8310166"/>
                  <a:pt x="3416896" y="8310166"/>
                </a:cubicBezTo>
                <a:cubicBezTo>
                  <a:pt x="4045281" y="8310166"/>
                  <a:pt x="4526889" y="8181909"/>
                  <a:pt x="4861719" y="7925396"/>
                </a:cubicBezTo>
                <a:cubicBezTo>
                  <a:pt x="5196549" y="7668750"/>
                  <a:pt x="5363964" y="7319037"/>
                  <a:pt x="5363964" y="6876257"/>
                </a:cubicBezTo>
                <a:cubicBezTo>
                  <a:pt x="5363964" y="6433477"/>
                  <a:pt x="5208918" y="6091040"/>
                  <a:pt x="4898827" y="5848946"/>
                </a:cubicBezTo>
                <a:cubicBezTo>
                  <a:pt x="4588867" y="5606852"/>
                  <a:pt x="4026694" y="5367867"/>
                  <a:pt x="3212307" y="5131991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8" name="Freeform 3788"/>
          <p:cNvSpPr/>
          <p:nvPr/>
        </p:nvSpPr>
        <p:spPr>
          <a:xfrm>
            <a:off x="7654772" y="2982671"/>
            <a:ext cx="44400" cy="76200"/>
          </a:xfrm>
          <a:custGeom>
            <a:avLst/>
            <a:gdLst/>
            <a:ahLst/>
            <a:cxnLst/>
            <a:rect l="0" t="0" r="0" b="0"/>
            <a:pathLst>
              <a:path w="5550099" h="9525000">
                <a:moveTo>
                  <a:pt x="1866702" y="6420049"/>
                </a:moveTo>
                <a:lnTo>
                  <a:pt x="1147366" y="7169944"/>
                </a:lnTo>
                <a:lnTo>
                  <a:pt x="1147366" y="9525000"/>
                </a:lnTo>
                <a:lnTo>
                  <a:pt x="0" y="9525000"/>
                </a:lnTo>
                <a:lnTo>
                  <a:pt x="0" y="0"/>
                </a:lnTo>
                <a:lnTo>
                  <a:pt x="1147366" y="0"/>
                </a:lnTo>
                <a:lnTo>
                  <a:pt x="1147366" y="5763221"/>
                </a:lnTo>
                <a:lnTo>
                  <a:pt x="1761133" y="5025629"/>
                </a:lnTo>
                <a:lnTo>
                  <a:pt x="3851077" y="2819400"/>
                </a:lnTo>
                <a:lnTo>
                  <a:pt x="5246291" y="2819400"/>
                </a:lnTo>
                <a:lnTo>
                  <a:pt x="2635647" y="5620544"/>
                </a:lnTo>
                <a:lnTo>
                  <a:pt x="5550099" y="9525000"/>
                </a:lnTo>
                <a:lnTo>
                  <a:pt x="4204494" y="952500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89" name="Freeform 3789"/>
          <p:cNvSpPr/>
          <p:nvPr/>
        </p:nvSpPr>
        <p:spPr>
          <a:xfrm>
            <a:off x="7706181" y="2985667"/>
            <a:ext cx="10864" cy="73204"/>
          </a:xfrm>
          <a:custGeom>
            <a:avLst/>
            <a:gdLst/>
            <a:ahLst/>
            <a:cxnLst/>
            <a:rect l="0" t="0" r="0" b="0"/>
            <a:pathLst>
              <a:path w="1358106" h="9150548">
                <a:moveTo>
                  <a:pt x="1240235" y="9150548"/>
                </a:moveTo>
                <a:lnTo>
                  <a:pt x="93067" y="9150548"/>
                </a:lnTo>
                <a:lnTo>
                  <a:pt x="93067" y="2444948"/>
                </a:lnTo>
                <a:lnTo>
                  <a:pt x="1240235" y="2444948"/>
                </a:lnTo>
                <a:close/>
                <a:moveTo>
                  <a:pt x="0" y="663575"/>
                </a:moveTo>
                <a:cubicBezTo>
                  <a:pt x="0" y="477441"/>
                  <a:pt x="56819" y="320344"/>
                  <a:pt x="170458" y="192286"/>
                </a:cubicBezTo>
                <a:cubicBezTo>
                  <a:pt x="284229" y="64095"/>
                  <a:pt x="452702" y="0"/>
                  <a:pt x="675878" y="0"/>
                </a:cubicBezTo>
                <a:cubicBezTo>
                  <a:pt x="899187" y="0"/>
                  <a:pt x="1068718" y="64095"/>
                  <a:pt x="1184474" y="192286"/>
                </a:cubicBezTo>
                <a:cubicBezTo>
                  <a:pt x="1300229" y="320344"/>
                  <a:pt x="1358106" y="477441"/>
                  <a:pt x="1358106" y="663575"/>
                </a:cubicBezTo>
                <a:cubicBezTo>
                  <a:pt x="1358106" y="849577"/>
                  <a:pt x="1300229" y="1004623"/>
                  <a:pt x="1184474" y="1128713"/>
                </a:cubicBezTo>
                <a:cubicBezTo>
                  <a:pt x="1068718" y="1252670"/>
                  <a:pt x="899187" y="1314648"/>
                  <a:pt x="675878" y="1314648"/>
                </a:cubicBezTo>
                <a:cubicBezTo>
                  <a:pt x="452702" y="1314648"/>
                  <a:pt x="284229" y="1252670"/>
                  <a:pt x="170458" y="1128713"/>
                </a:cubicBezTo>
                <a:cubicBezTo>
                  <a:pt x="56819" y="1004623"/>
                  <a:pt x="0" y="849577"/>
                  <a:pt x="0" y="663575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90" name="Freeform 3790"/>
          <p:cNvSpPr/>
          <p:nvPr/>
        </p:nvSpPr>
        <p:spPr>
          <a:xfrm>
            <a:off x="7731513" y="2982671"/>
            <a:ext cx="9177" cy="76200"/>
          </a:xfrm>
          <a:custGeom>
            <a:avLst/>
            <a:gdLst/>
            <a:ahLst/>
            <a:cxnLst/>
            <a:rect l="0" t="0" r="0" b="0"/>
            <a:pathLst>
              <a:path w="1147168" h="9525000">
                <a:moveTo>
                  <a:pt x="1147168" y="9525000"/>
                </a:moveTo>
                <a:lnTo>
                  <a:pt x="0" y="9525000"/>
                </a:lnTo>
                <a:lnTo>
                  <a:pt x="0" y="0"/>
                </a:lnTo>
                <a:lnTo>
                  <a:pt x="114716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91" name="Freeform 3791"/>
          <p:cNvSpPr/>
          <p:nvPr/>
        </p:nvSpPr>
        <p:spPr>
          <a:xfrm>
            <a:off x="7756100" y="2982671"/>
            <a:ext cx="9177" cy="76200"/>
          </a:xfrm>
          <a:custGeom>
            <a:avLst/>
            <a:gdLst/>
            <a:ahLst/>
            <a:cxnLst/>
            <a:rect l="0" t="0" r="0" b="0"/>
            <a:pathLst>
              <a:path w="1147168" h="9525000">
                <a:moveTo>
                  <a:pt x="1147168" y="9525000"/>
                </a:moveTo>
                <a:lnTo>
                  <a:pt x="0" y="9525000"/>
                </a:lnTo>
                <a:lnTo>
                  <a:pt x="0" y="0"/>
                </a:lnTo>
                <a:lnTo>
                  <a:pt x="1147168" y="0"/>
                </a:ln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92" name="Freeform 3792"/>
          <p:cNvSpPr/>
          <p:nvPr/>
        </p:nvSpPr>
        <p:spPr>
          <a:xfrm>
            <a:off x="7777662" y="3004210"/>
            <a:ext cx="42664" cy="55676"/>
          </a:xfrm>
          <a:custGeom>
            <a:avLst/>
            <a:gdLst/>
            <a:ahLst/>
            <a:cxnLst/>
            <a:rect l="0" t="0" r="0" b="0"/>
            <a:pathLst>
              <a:path w="5333008" h="6959600">
                <a:moveTo>
                  <a:pt x="4185841" y="5055394"/>
                </a:moveTo>
                <a:cubicBezTo>
                  <a:pt x="4185841" y="4745170"/>
                  <a:pt x="4069028" y="4504267"/>
                  <a:pt x="3835400" y="4332685"/>
                </a:cubicBezTo>
                <a:cubicBezTo>
                  <a:pt x="3601773" y="4161103"/>
                  <a:pt x="3194514" y="4013267"/>
                  <a:pt x="2613621" y="3889177"/>
                </a:cubicBezTo>
                <a:cubicBezTo>
                  <a:pt x="2032860" y="3765088"/>
                  <a:pt x="1571956" y="3616193"/>
                  <a:pt x="1230908" y="3442494"/>
                </a:cubicBezTo>
                <a:cubicBezTo>
                  <a:pt x="889860" y="3268795"/>
                  <a:pt x="637646" y="3062023"/>
                  <a:pt x="474266" y="2822179"/>
                </a:cubicBezTo>
                <a:cubicBezTo>
                  <a:pt x="311018" y="2582334"/>
                  <a:pt x="229394" y="2297047"/>
                  <a:pt x="229394" y="1966318"/>
                </a:cubicBezTo>
                <a:cubicBezTo>
                  <a:pt x="229394" y="1416249"/>
                  <a:pt x="461897" y="951045"/>
                  <a:pt x="926902" y="570707"/>
                </a:cubicBezTo>
                <a:cubicBezTo>
                  <a:pt x="1392040" y="190236"/>
                  <a:pt x="1986360" y="0"/>
                  <a:pt x="2709863" y="0"/>
                </a:cubicBezTo>
                <a:cubicBezTo>
                  <a:pt x="3470540" y="0"/>
                  <a:pt x="4087548" y="196388"/>
                  <a:pt x="4560888" y="589161"/>
                </a:cubicBezTo>
                <a:cubicBezTo>
                  <a:pt x="5034228" y="981936"/>
                  <a:pt x="5270897" y="1484247"/>
                  <a:pt x="5270897" y="2096096"/>
                </a:cubicBezTo>
                <a:lnTo>
                  <a:pt x="4117579" y="2096096"/>
                </a:lnTo>
                <a:cubicBezTo>
                  <a:pt x="4117579" y="1781903"/>
                  <a:pt x="3984229" y="1511102"/>
                  <a:pt x="3717529" y="1283693"/>
                </a:cubicBezTo>
                <a:cubicBezTo>
                  <a:pt x="3450961" y="1056283"/>
                  <a:pt x="3115072" y="942579"/>
                  <a:pt x="2709863" y="942579"/>
                </a:cubicBezTo>
                <a:cubicBezTo>
                  <a:pt x="2292350" y="942579"/>
                  <a:pt x="1965722" y="1033595"/>
                  <a:pt x="1729979" y="1215629"/>
                </a:cubicBezTo>
                <a:cubicBezTo>
                  <a:pt x="1494367" y="1397530"/>
                  <a:pt x="1376561" y="1635324"/>
                  <a:pt x="1376561" y="1929011"/>
                </a:cubicBezTo>
                <a:cubicBezTo>
                  <a:pt x="1376561" y="2206162"/>
                  <a:pt x="1486099" y="2415051"/>
                  <a:pt x="1705174" y="2555677"/>
                </a:cubicBezTo>
                <a:cubicBezTo>
                  <a:pt x="1924381" y="2696303"/>
                  <a:pt x="2320264" y="2830711"/>
                  <a:pt x="2892822" y="2958902"/>
                </a:cubicBezTo>
                <a:cubicBezTo>
                  <a:pt x="3465381" y="3087093"/>
                  <a:pt x="3929394" y="3240088"/>
                  <a:pt x="4284861" y="3417888"/>
                </a:cubicBezTo>
                <a:cubicBezTo>
                  <a:pt x="4640461" y="3595688"/>
                  <a:pt x="4904053" y="3809670"/>
                  <a:pt x="5075635" y="4059833"/>
                </a:cubicBezTo>
                <a:cubicBezTo>
                  <a:pt x="5247217" y="4309997"/>
                  <a:pt x="5333008" y="4614995"/>
                  <a:pt x="5333008" y="4974829"/>
                </a:cubicBezTo>
                <a:cubicBezTo>
                  <a:pt x="5333008" y="5574374"/>
                  <a:pt x="5093229" y="6055056"/>
                  <a:pt x="4613672" y="6416874"/>
                </a:cubicBezTo>
                <a:cubicBezTo>
                  <a:pt x="4134115" y="6778692"/>
                  <a:pt x="3511947" y="6959600"/>
                  <a:pt x="2747169" y="6959600"/>
                </a:cubicBezTo>
                <a:cubicBezTo>
                  <a:pt x="2209668" y="6959600"/>
                  <a:pt x="1734212" y="6864548"/>
                  <a:pt x="1320800" y="6674446"/>
                </a:cubicBezTo>
                <a:cubicBezTo>
                  <a:pt x="907389" y="6484210"/>
                  <a:pt x="583870" y="6218569"/>
                  <a:pt x="350243" y="5877521"/>
                </a:cubicBezTo>
                <a:cubicBezTo>
                  <a:pt x="116748" y="5536473"/>
                  <a:pt x="0" y="5167511"/>
                  <a:pt x="0" y="4770636"/>
                </a:cubicBezTo>
                <a:lnTo>
                  <a:pt x="1147168" y="4770636"/>
                </a:lnTo>
                <a:cubicBezTo>
                  <a:pt x="1167805" y="5155076"/>
                  <a:pt x="1321793" y="5459942"/>
                  <a:pt x="1609130" y="5685235"/>
                </a:cubicBezTo>
                <a:cubicBezTo>
                  <a:pt x="1896468" y="5910528"/>
                  <a:pt x="2275814" y="6023174"/>
                  <a:pt x="2747169" y="6023174"/>
                </a:cubicBezTo>
                <a:cubicBezTo>
                  <a:pt x="3181218" y="6023174"/>
                  <a:pt x="3529476" y="5935332"/>
                  <a:pt x="3791943" y="5759649"/>
                </a:cubicBezTo>
                <a:cubicBezTo>
                  <a:pt x="4054542" y="5583833"/>
                  <a:pt x="4185841" y="5349082"/>
                  <a:pt x="4185841" y="5055394"/>
                </a:cubicBezTo>
                <a:close/>
              </a:path>
            </a:pathLst>
          </a:custGeom>
          <a:solidFill>
            <a:srgbClr val="434343">
              <a:alpha val="100000"/>
            </a:srgbClr>
          </a:solidFill>
          <a:ln w="1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93" name="Rectangle 3793"/>
          <p:cNvSpPr/>
          <p:nvPr/>
        </p:nvSpPr>
        <p:spPr>
          <a:xfrm>
            <a:off x="1056580" y="545044"/>
            <a:ext cx="2034539" cy="403860"/>
          </a:xfrm>
          <a:prstGeom prst="rect">
            <a:avLst/>
          </a:prstGeom>
        </p:spPr>
      </p:sp>
      <p:sp>
        <p:nvSpPr>
          <p:cNvPr id="3794" name="Freeform 3794"/>
          <p:cNvSpPr/>
          <p:nvPr/>
        </p:nvSpPr>
        <p:spPr>
          <a:xfrm>
            <a:off x="1144538" y="572362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7342188" y="9029700"/>
                </a:moveTo>
                <a:lnTo>
                  <a:pt x="5475685" y="9029700"/>
                </a:lnTo>
                <a:lnTo>
                  <a:pt x="5475685" y="1506935"/>
                </a:ln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734218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95" name="Freeform 3795"/>
          <p:cNvSpPr/>
          <p:nvPr/>
        </p:nvSpPr>
        <p:spPr>
          <a:xfrm>
            <a:off x="1224176" y="592135"/>
            <a:ext cx="54358" cy="84696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96" name="Freeform 3796"/>
          <p:cNvSpPr/>
          <p:nvPr/>
        </p:nvSpPr>
        <p:spPr>
          <a:xfrm>
            <a:off x="1285902" y="592135"/>
            <a:ext cx="57205" cy="6263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97" name="Freeform 3797"/>
          <p:cNvSpPr/>
          <p:nvPr/>
        </p:nvSpPr>
        <p:spPr>
          <a:xfrm>
            <a:off x="1352993" y="593278"/>
            <a:ext cx="41131" cy="60350"/>
          </a:xfrm>
          <a:custGeom>
            <a:avLst/>
            <a:gdLst/>
            <a:ahLst/>
            <a:cxnLst/>
            <a:rect l="0" t="0" r="0" b="0"/>
            <a:pathLst>
              <a:path w="4570214" h="6705600">
                <a:moveTo>
                  <a:pt x="4570214" y="1451174"/>
                </a:move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4570214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98" name="Freeform 3798"/>
          <p:cNvSpPr/>
          <p:nvPr/>
        </p:nvSpPr>
        <p:spPr>
          <a:xfrm>
            <a:off x="1400770" y="593278"/>
            <a:ext cx="52349" cy="60350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799" name="Freeform 3799"/>
          <p:cNvSpPr/>
          <p:nvPr/>
        </p:nvSpPr>
        <p:spPr>
          <a:xfrm>
            <a:off x="1463067" y="592135"/>
            <a:ext cx="57205" cy="6263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0" name="Freeform 3800"/>
          <p:cNvSpPr/>
          <p:nvPr/>
        </p:nvSpPr>
        <p:spPr>
          <a:xfrm>
            <a:off x="1527813" y="592135"/>
            <a:ext cx="51234" cy="6263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782814" y="2091730"/>
                </a:moveTo>
                <a:cubicBezTo>
                  <a:pt x="3782814" y="1857442"/>
                  <a:pt x="3705291" y="1675607"/>
                  <a:pt x="3550245" y="1546225"/>
                </a:cubicBezTo>
                <a:cubicBezTo>
                  <a:pt x="3395199" y="1416712"/>
                  <a:pt x="3175066" y="1351955"/>
                  <a:pt x="2889845" y="1351955"/>
                </a:cubicBezTo>
                <a:cubicBezTo>
                  <a:pt x="2596290" y="1351955"/>
                  <a:pt x="2357503" y="1413140"/>
                  <a:pt x="2173486" y="1535510"/>
                </a:cubicBezTo>
                <a:cubicBezTo>
                  <a:pt x="1989600" y="1657880"/>
                  <a:pt x="1897658" y="1831050"/>
                  <a:pt x="1897658" y="2055019"/>
                </a:cubicBezTo>
                <a:lnTo>
                  <a:pt x="105569" y="2055019"/>
                </a:lnTo>
                <a:cubicBezTo>
                  <a:pt x="105569" y="1446610"/>
                  <a:pt x="357716" y="952037"/>
                  <a:pt x="862012" y="571302"/>
                </a:cubicBezTo>
                <a:cubicBezTo>
                  <a:pt x="1366440" y="190435"/>
                  <a:pt x="2011362" y="0"/>
                  <a:pt x="2796778" y="0"/>
                </a:cubicBezTo>
                <a:cubicBezTo>
                  <a:pt x="3660775" y="0"/>
                  <a:pt x="4339762" y="169069"/>
                  <a:pt x="4833739" y="507207"/>
                </a:cubicBezTo>
                <a:cubicBezTo>
                  <a:pt x="5327848" y="845344"/>
                  <a:pt x="5574903" y="1325761"/>
                  <a:pt x="5574903" y="1948458"/>
                </a:cubicBezTo>
                <a:cubicBezTo>
                  <a:pt x="5574903" y="2245321"/>
                  <a:pt x="5484944" y="2518503"/>
                  <a:pt x="5305028" y="2768005"/>
                </a:cubicBezTo>
                <a:cubicBezTo>
                  <a:pt x="5125244" y="3017507"/>
                  <a:pt x="4872104" y="3216474"/>
                  <a:pt x="4545608" y="3364905"/>
                </a:cubicBezTo>
                <a:cubicBezTo>
                  <a:pt x="5310386" y="3634913"/>
                  <a:pt x="5692775" y="4156142"/>
                  <a:pt x="5692775" y="4928593"/>
                </a:cubicBezTo>
                <a:cubicBezTo>
                  <a:pt x="5692775" y="5547453"/>
                  <a:pt x="5429183" y="6040703"/>
                  <a:pt x="4902001" y="6408341"/>
                </a:cubicBezTo>
                <a:cubicBezTo>
                  <a:pt x="4374951" y="6775847"/>
                  <a:pt x="3673210" y="6959600"/>
                  <a:pt x="2796778" y="6959600"/>
                </a:cubicBezTo>
                <a:cubicBezTo>
                  <a:pt x="1982390" y="6959600"/>
                  <a:pt x="1312664" y="6769233"/>
                  <a:pt x="787598" y="6388497"/>
                </a:cubicBezTo>
                <a:cubicBezTo>
                  <a:pt x="262533" y="6007762"/>
                  <a:pt x="0" y="5494536"/>
                  <a:pt x="0" y="4848821"/>
                </a:cubicBezTo>
                <a:lnTo>
                  <a:pt x="1792287" y="4848821"/>
                </a:lnTo>
                <a:cubicBezTo>
                  <a:pt x="1792287" y="5076892"/>
                  <a:pt x="1893556" y="5261439"/>
                  <a:pt x="2096095" y="5402461"/>
                </a:cubicBezTo>
                <a:cubicBezTo>
                  <a:pt x="2298634" y="5543484"/>
                  <a:pt x="2563217" y="5613996"/>
                  <a:pt x="2889845" y="5613996"/>
                </a:cubicBezTo>
                <a:cubicBezTo>
                  <a:pt x="3208139" y="5613996"/>
                  <a:pt x="3456186" y="5538854"/>
                  <a:pt x="3633986" y="5388571"/>
                </a:cubicBezTo>
                <a:cubicBezTo>
                  <a:pt x="3811786" y="5238155"/>
                  <a:pt x="3900686" y="5041834"/>
                  <a:pt x="3900686" y="4799608"/>
                </a:cubicBezTo>
                <a:cubicBezTo>
                  <a:pt x="3900686" y="4503010"/>
                  <a:pt x="3815887" y="4291013"/>
                  <a:pt x="3646289" y="4163616"/>
                </a:cubicBezTo>
                <a:cubicBezTo>
                  <a:pt x="3476823" y="4036219"/>
                  <a:pt x="3222625" y="3972521"/>
                  <a:pt x="2883694" y="3972521"/>
                </a:cubicBezTo>
                <a:lnTo>
                  <a:pt x="1909961" y="3972521"/>
                </a:lnTo>
                <a:lnTo>
                  <a:pt x="1909961" y="2806700"/>
                </a:lnTo>
                <a:lnTo>
                  <a:pt x="2945606" y="2806700"/>
                </a:lnTo>
                <a:cubicBezTo>
                  <a:pt x="3503744" y="2790296"/>
                  <a:pt x="3782814" y="2551973"/>
                  <a:pt x="3782814" y="209173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1" name="Freeform 3801"/>
          <p:cNvSpPr/>
          <p:nvPr/>
        </p:nvSpPr>
        <p:spPr>
          <a:xfrm>
            <a:off x="1588793" y="593278"/>
            <a:ext cx="52349" cy="60350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2" name="Freeform 3802"/>
          <p:cNvSpPr/>
          <p:nvPr/>
        </p:nvSpPr>
        <p:spPr>
          <a:xfrm>
            <a:off x="1651201" y="59213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3" name="Freeform 3803"/>
          <p:cNvSpPr/>
          <p:nvPr/>
        </p:nvSpPr>
        <p:spPr>
          <a:xfrm>
            <a:off x="1710959" y="593278"/>
            <a:ext cx="54247" cy="60350"/>
          </a:xfrm>
          <a:custGeom>
            <a:avLst/>
            <a:gdLst/>
            <a:ahLst/>
            <a:cxnLst/>
            <a:rect l="0" t="0" r="0" b="0"/>
            <a:pathLst>
              <a:path w="6027539" h="6705600">
                <a:moveTo>
                  <a:pt x="6027539" y="0"/>
                </a:moveTo>
                <a:lnTo>
                  <a:pt x="6027539" y="6705600"/>
                </a:lnTo>
                <a:lnTo>
                  <a:pt x="4241602" y="6705600"/>
                </a:lnTo>
                <a:lnTo>
                  <a:pt x="4241602" y="4389636"/>
                </a:lnTo>
                <a:lnTo>
                  <a:pt x="3106936" y="4389636"/>
                </a:lnTo>
                <a:lnTo>
                  <a:pt x="1817092" y="6705600"/>
                </a:lnTo>
                <a:lnTo>
                  <a:pt x="0" y="6705600"/>
                </a:lnTo>
                <a:lnTo>
                  <a:pt x="1463477" y="4085829"/>
                </a:lnTo>
                <a:cubicBezTo>
                  <a:pt x="1062500" y="3899827"/>
                  <a:pt x="753467" y="3647679"/>
                  <a:pt x="536377" y="3329385"/>
                </a:cubicBezTo>
                <a:cubicBezTo>
                  <a:pt x="319418" y="3011091"/>
                  <a:pt x="210939" y="2649406"/>
                  <a:pt x="210939" y="2244329"/>
                </a:cubicBezTo>
                <a:cubicBezTo>
                  <a:pt x="210939" y="1595438"/>
                  <a:pt x="462095" y="1063295"/>
                  <a:pt x="964406" y="647899"/>
                </a:cubicBezTo>
                <a:cubicBezTo>
                  <a:pt x="1466718" y="232503"/>
                  <a:pt x="2139553" y="16537"/>
                  <a:pt x="2982912" y="0"/>
                </a:cubicBezTo>
                <a:close/>
                <a:moveTo>
                  <a:pt x="3013869" y="3136900"/>
                </a:moveTo>
                <a:lnTo>
                  <a:pt x="4241602" y="3136900"/>
                </a:lnTo>
                <a:lnTo>
                  <a:pt x="4241602" y="1438672"/>
                </a:lnTo>
                <a:lnTo>
                  <a:pt x="3075781" y="1438672"/>
                </a:lnTo>
                <a:cubicBezTo>
                  <a:pt x="2757487" y="1438672"/>
                  <a:pt x="2499122" y="1522347"/>
                  <a:pt x="2300684" y="1689696"/>
                </a:cubicBezTo>
                <a:cubicBezTo>
                  <a:pt x="2102247" y="1857045"/>
                  <a:pt x="2003028" y="2060575"/>
                  <a:pt x="2003028" y="2300288"/>
                </a:cubicBezTo>
                <a:cubicBezTo>
                  <a:pt x="2003028" y="2539868"/>
                  <a:pt x="2098080" y="2738173"/>
                  <a:pt x="2288183" y="2895204"/>
                </a:cubicBezTo>
                <a:cubicBezTo>
                  <a:pt x="2478418" y="3052234"/>
                  <a:pt x="2720314" y="3132800"/>
                  <a:pt x="3013869" y="313690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4" name="Freeform 3804"/>
          <p:cNvSpPr/>
          <p:nvPr/>
        </p:nvSpPr>
        <p:spPr>
          <a:xfrm>
            <a:off x="1808281" y="593278"/>
            <a:ext cx="57260" cy="60350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5" name="Freeform 3805"/>
          <p:cNvSpPr/>
          <p:nvPr/>
        </p:nvSpPr>
        <p:spPr>
          <a:xfrm>
            <a:off x="1869171" y="59213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6" name="Freeform 3806"/>
          <p:cNvSpPr/>
          <p:nvPr/>
        </p:nvSpPr>
        <p:spPr>
          <a:xfrm>
            <a:off x="1932836" y="592135"/>
            <a:ext cx="54358" cy="84696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7" name="Freeform 3807"/>
          <p:cNvSpPr/>
          <p:nvPr/>
        </p:nvSpPr>
        <p:spPr>
          <a:xfrm>
            <a:off x="1990322" y="593278"/>
            <a:ext cx="54581" cy="60350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8" name="Freeform 3808"/>
          <p:cNvSpPr/>
          <p:nvPr/>
        </p:nvSpPr>
        <p:spPr>
          <a:xfrm>
            <a:off x="2049765" y="59213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09" name="Freeform 3809"/>
          <p:cNvSpPr/>
          <p:nvPr/>
        </p:nvSpPr>
        <p:spPr>
          <a:xfrm>
            <a:off x="2141891" y="593278"/>
            <a:ext cx="52517" cy="60350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0" name="Freeform 3810"/>
          <p:cNvSpPr/>
          <p:nvPr/>
        </p:nvSpPr>
        <p:spPr>
          <a:xfrm>
            <a:off x="2204522" y="592135"/>
            <a:ext cx="54806" cy="6263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1" name="Freeform 3811"/>
          <p:cNvSpPr/>
          <p:nvPr/>
        </p:nvSpPr>
        <p:spPr>
          <a:xfrm>
            <a:off x="2268421" y="592135"/>
            <a:ext cx="54358" cy="84696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2" name="Freeform 3812"/>
          <p:cNvSpPr/>
          <p:nvPr/>
        </p:nvSpPr>
        <p:spPr>
          <a:xfrm>
            <a:off x="2330147" y="592135"/>
            <a:ext cx="52908" cy="6263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3" name="Freeform 3813"/>
          <p:cNvSpPr/>
          <p:nvPr/>
        </p:nvSpPr>
        <p:spPr>
          <a:xfrm>
            <a:off x="2392208" y="593278"/>
            <a:ext cx="52517" cy="60350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4" name="Freeform 3814"/>
          <p:cNvSpPr/>
          <p:nvPr/>
        </p:nvSpPr>
        <p:spPr>
          <a:xfrm>
            <a:off x="2454839" y="592135"/>
            <a:ext cx="54806" cy="6263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5" name="Freeform 3815"/>
          <p:cNvSpPr/>
          <p:nvPr/>
        </p:nvSpPr>
        <p:spPr>
          <a:xfrm>
            <a:off x="2519799" y="593278"/>
            <a:ext cx="57260" cy="60350"/>
          </a:xfrm>
          <a:custGeom>
            <a:avLst/>
            <a:gdLst/>
            <a:ahLst/>
            <a:cxnLst/>
            <a:rect l="0" t="0" r="0" b="0"/>
            <a:pathLst>
              <a:path w="6362303" h="6705600">
                <a:moveTo>
                  <a:pt x="2511425" y="4226124"/>
                </a:moveTo>
                <a:lnTo>
                  <a:pt x="1792089" y="422612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514600"/>
                </a:lnTo>
                <a:lnTo>
                  <a:pt x="2430859" y="2514600"/>
                </a:lnTo>
                <a:lnTo>
                  <a:pt x="3894336" y="0"/>
                </a:lnTo>
                <a:lnTo>
                  <a:pt x="6157714" y="0"/>
                </a:lnTo>
                <a:lnTo>
                  <a:pt x="3962400" y="3184327"/>
                </a:lnTo>
                <a:lnTo>
                  <a:pt x="6362303" y="6705600"/>
                </a:lnTo>
                <a:lnTo>
                  <a:pt x="3974902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6" name="Freeform 3816"/>
          <p:cNvSpPr/>
          <p:nvPr/>
        </p:nvSpPr>
        <p:spPr>
          <a:xfrm>
            <a:off x="2578624" y="593278"/>
            <a:ext cx="54581" cy="60350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7" name="Freeform 3817"/>
          <p:cNvSpPr/>
          <p:nvPr/>
        </p:nvSpPr>
        <p:spPr>
          <a:xfrm>
            <a:off x="2641268" y="593278"/>
            <a:ext cx="52517" cy="60350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8" name="Freeform 3818"/>
          <p:cNvSpPr/>
          <p:nvPr/>
        </p:nvSpPr>
        <p:spPr>
          <a:xfrm>
            <a:off x="2707137" y="593278"/>
            <a:ext cx="53801" cy="60350"/>
          </a:xfrm>
          <a:custGeom>
            <a:avLst/>
            <a:gdLst/>
            <a:ahLst/>
            <a:cxnLst/>
            <a:rect l="0" t="0" r="0" b="0"/>
            <a:pathLst>
              <a:path w="5977930" h="6705600">
                <a:moveTo>
                  <a:pt x="0" y="6705600"/>
                </a:moveTo>
                <a:lnTo>
                  <a:pt x="0" y="0"/>
                </a:lnTo>
                <a:lnTo>
                  <a:pt x="2802930" y="0"/>
                </a:lnTo>
                <a:cubicBezTo>
                  <a:pt x="3716536" y="0"/>
                  <a:pt x="4417219" y="160999"/>
                  <a:pt x="4904978" y="482997"/>
                </a:cubicBezTo>
                <a:cubicBezTo>
                  <a:pt x="5392870" y="804995"/>
                  <a:pt x="5636816" y="1267355"/>
                  <a:pt x="5636816" y="1870075"/>
                </a:cubicBezTo>
                <a:cubicBezTo>
                  <a:pt x="5636816" y="2179770"/>
                  <a:pt x="5534488" y="2457450"/>
                  <a:pt x="5329833" y="2703116"/>
                </a:cubicBezTo>
                <a:cubicBezTo>
                  <a:pt x="5125178" y="2948650"/>
                  <a:pt x="4826463" y="3137496"/>
                  <a:pt x="4433689" y="3269655"/>
                </a:cubicBezTo>
                <a:cubicBezTo>
                  <a:pt x="4913246" y="3360672"/>
                  <a:pt x="5290476" y="3539530"/>
                  <a:pt x="5565378" y="3806230"/>
                </a:cubicBezTo>
                <a:cubicBezTo>
                  <a:pt x="5840413" y="4072798"/>
                  <a:pt x="5977930" y="4400418"/>
                  <a:pt x="5977930" y="4789091"/>
                </a:cubicBezTo>
                <a:cubicBezTo>
                  <a:pt x="5977930" y="5413508"/>
                  <a:pt x="5743311" y="5889030"/>
                  <a:pt x="5274072" y="6215658"/>
                </a:cubicBezTo>
                <a:cubicBezTo>
                  <a:pt x="4804834" y="6542286"/>
                  <a:pt x="4123730" y="6705600"/>
                  <a:pt x="3230761" y="6705600"/>
                </a:cubicBezTo>
                <a:close/>
                <a:moveTo>
                  <a:pt x="1792089" y="3920927"/>
                </a:moveTo>
                <a:lnTo>
                  <a:pt x="1792089" y="5273080"/>
                </a:lnTo>
                <a:lnTo>
                  <a:pt x="3236913" y="5273080"/>
                </a:lnTo>
                <a:cubicBezTo>
                  <a:pt x="3869399" y="5273080"/>
                  <a:pt x="4185642" y="5051888"/>
                  <a:pt x="4185642" y="4609505"/>
                </a:cubicBezTo>
                <a:cubicBezTo>
                  <a:pt x="4185642" y="4158788"/>
                  <a:pt x="3883885" y="3929261"/>
                  <a:pt x="3280370" y="3920927"/>
                </a:cubicBezTo>
                <a:close/>
                <a:moveTo>
                  <a:pt x="1792089" y="2717800"/>
                </a:moveTo>
                <a:lnTo>
                  <a:pt x="2902149" y="2717800"/>
                </a:lnTo>
                <a:cubicBezTo>
                  <a:pt x="3530534" y="2709598"/>
                  <a:pt x="3844727" y="2507721"/>
                  <a:pt x="3844727" y="2112169"/>
                </a:cubicBezTo>
                <a:cubicBezTo>
                  <a:pt x="3844727" y="1869150"/>
                  <a:pt x="3758935" y="1696178"/>
                  <a:pt x="3587353" y="1593255"/>
                </a:cubicBezTo>
                <a:cubicBezTo>
                  <a:pt x="3415771" y="1490200"/>
                  <a:pt x="3154296" y="1438672"/>
                  <a:pt x="2802930" y="1438672"/>
                </a:cubicBezTo>
                <a:lnTo>
                  <a:pt x="1792089" y="143867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19" name="Freeform 3819"/>
          <p:cNvSpPr/>
          <p:nvPr/>
        </p:nvSpPr>
        <p:spPr>
          <a:xfrm>
            <a:off x="2770655" y="593278"/>
            <a:ext cx="52349" cy="60350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0" name="Freeform 3820"/>
          <p:cNvSpPr/>
          <p:nvPr/>
        </p:nvSpPr>
        <p:spPr>
          <a:xfrm>
            <a:off x="2836524" y="593278"/>
            <a:ext cx="79361" cy="60350"/>
          </a:xfrm>
          <a:custGeom>
            <a:avLst/>
            <a:gdLst/>
            <a:ahLst/>
            <a:cxnLst/>
            <a:rect l="0" t="0" r="0" b="0"/>
            <a:pathLst>
              <a:path w="8817967" h="6705600">
                <a:moveTo>
                  <a:pt x="1798241" y="1968500"/>
                </a:moveTo>
                <a:lnTo>
                  <a:pt x="3081933" y="1968500"/>
                </a:lnTo>
                <a:cubicBezTo>
                  <a:pt x="3660709" y="1968500"/>
                  <a:pt x="4169172" y="2065536"/>
                  <a:pt x="4607322" y="2259608"/>
                </a:cubicBezTo>
                <a:cubicBezTo>
                  <a:pt x="5045604" y="2453548"/>
                  <a:pt x="5381493" y="2731162"/>
                  <a:pt x="5614988" y="3092450"/>
                </a:cubicBezTo>
                <a:cubicBezTo>
                  <a:pt x="5848614" y="3453607"/>
                  <a:pt x="5965428" y="3873633"/>
                  <a:pt x="5965428" y="4352529"/>
                </a:cubicBezTo>
                <a:cubicBezTo>
                  <a:pt x="5965428" y="5058437"/>
                  <a:pt x="5703953" y="5627093"/>
                  <a:pt x="5181005" y="6058496"/>
                </a:cubicBezTo>
                <a:cubicBezTo>
                  <a:pt x="4658056" y="6489899"/>
                  <a:pt x="3945930" y="6705600"/>
                  <a:pt x="3044627" y="6705600"/>
                </a:cubicBez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close/>
                <a:moveTo>
                  <a:pt x="8817967" y="6705600"/>
                </a:moveTo>
                <a:lnTo>
                  <a:pt x="7025878" y="6705600"/>
                </a:lnTo>
                <a:lnTo>
                  <a:pt x="7025878" y="0"/>
                </a:lnTo>
                <a:lnTo>
                  <a:pt x="8817967" y="0"/>
                </a:lnTo>
                <a:close/>
                <a:moveTo>
                  <a:pt x="1798241" y="3407172"/>
                </a:moveTo>
                <a:lnTo>
                  <a:pt x="1798241" y="5273080"/>
                </a:lnTo>
                <a:lnTo>
                  <a:pt x="3069431" y="5273080"/>
                </a:lnTo>
                <a:cubicBezTo>
                  <a:pt x="3425031" y="5273080"/>
                  <a:pt x="3697883" y="5190729"/>
                  <a:pt x="3887986" y="5026025"/>
                </a:cubicBezTo>
                <a:cubicBezTo>
                  <a:pt x="4078221" y="4861190"/>
                  <a:pt x="4173339" y="4636691"/>
                  <a:pt x="4173339" y="4352529"/>
                </a:cubicBezTo>
                <a:cubicBezTo>
                  <a:pt x="4173339" y="4064133"/>
                  <a:pt x="4080272" y="3834474"/>
                  <a:pt x="3894138" y="3663554"/>
                </a:cubicBezTo>
                <a:cubicBezTo>
                  <a:pt x="3708135" y="3492633"/>
                  <a:pt x="3433234" y="3407172"/>
                  <a:pt x="3069431" y="3407172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1" name="Freeform 3821"/>
          <p:cNvSpPr/>
          <p:nvPr/>
        </p:nvSpPr>
        <p:spPr>
          <a:xfrm>
            <a:off x="2924966" y="593278"/>
            <a:ext cx="56146" cy="60350"/>
          </a:xfrm>
          <a:custGeom>
            <a:avLst/>
            <a:gdLst/>
            <a:ahLst/>
            <a:cxnLst/>
            <a:rect l="0" t="0" r="0" b="0"/>
            <a:pathLst>
              <a:path w="6238478" h="6705600">
                <a:moveTo>
                  <a:pt x="3113087" y="2001838"/>
                </a:moveTo>
                <a:lnTo>
                  <a:pt x="4241601" y="0"/>
                </a:lnTo>
                <a:lnTo>
                  <a:pt x="6157912" y="0"/>
                </a:lnTo>
                <a:lnTo>
                  <a:pt x="4247951" y="3284538"/>
                </a:lnTo>
                <a:lnTo>
                  <a:pt x="6238478" y="6705600"/>
                </a:lnTo>
                <a:lnTo>
                  <a:pt x="4316015" y="6705600"/>
                </a:lnTo>
                <a:lnTo>
                  <a:pt x="3119239" y="4598393"/>
                </a:lnTo>
                <a:lnTo>
                  <a:pt x="1928614" y="6705600"/>
                </a:lnTo>
                <a:lnTo>
                  <a:pt x="0" y="6705600"/>
                </a:lnTo>
                <a:lnTo>
                  <a:pt x="1990725" y="3284538"/>
                </a:lnTo>
                <a:lnTo>
                  <a:pt x="86915" y="0"/>
                </a:lnTo>
                <a:lnTo>
                  <a:pt x="200917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2" name="Freeform 3822"/>
          <p:cNvSpPr/>
          <p:nvPr/>
        </p:nvSpPr>
        <p:spPr>
          <a:xfrm>
            <a:off x="1060265" y="725485"/>
            <a:ext cx="57205" cy="6263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3" name="Freeform 3823"/>
          <p:cNvSpPr/>
          <p:nvPr/>
        </p:nvSpPr>
        <p:spPr>
          <a:xfrm>
            <a:off x="1121290" y="726628"/>
            <a:ext cx="54581" cy="60350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4" name="Freeform 3824"/>
          <p:cNvSpPr/>
          <p:nvPr/>
        </p:nvSpPr>
        <p:spPr>
          <a:xfrm>
            <a:off x="1183934" y="725485"/>
            <a:ext cx="54358" cy="84696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5" name="Freeform 3825"/>
          <p:cNvSpPr/>
          <p:nvPr/>
        </p:nvSpPr>
        <p:spPr>
          <a:xfrm>
            <a:off x="1245770" y="72548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6" name="Freeform 3826"/>
          <p:cNvSpPr/>
          <p:nvPr/>
        </p:nvSpPr>
        <p:spPr>
          <a:xfrm>
            <a:off x="1306924" y="725485"/>
            <a:ext cx="52908" cy="6263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7" name="Freeform 3827"/>
          <p:cNvSpPr/>
          <p:nvPr/>
        </p:nvSpPr>
        <p:spPr>
          <a:xfrm>
            <a:off x="1364019" y="726628"/>
            <a:ext cx="57483" cy="60350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8" name="Freeform 3828"/>
          <p:cNvSpPr/>
          <p:nvPr/>
        </p:nvSpPr>
        <p:spPr>
          <a:xfrm>
            <a:off x="1431731" y="725485"/>
            <a:ext cx="54806" cy="6263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29" name="Freeform 3829"/>
          <p:cNvSpPr/>
          <p:nvPr/>
        </p:nvSpPr>
        <p:spPr>
          <a:xfrm>
            <a:off x="1495630" y="702054"/>
            <a:ext cx="52517" cy="84924"/>
          </a:xfrm>
          <a:custGeom>
            <a:avLst/>
            <a:gdLst/>
            <a:ahLst/>
            <a:cxnLst/>
            <a:rect l="0" t="0" r="0" b="0"/>
            <a:pathLst>
              <a:path w="5835253" h="9436100">
                <a:moveTo>
                  <a:pt x="4043164" y="2730500"/>
                </a:moveTo>
                <a:lnTo>
                  <a:pt x="5835253" y="2730500"/>
                </a:lnTo>
                <a:lnTo>
                  <a:pt x="5835253" y="9436100"/>
                </a:lnTo>
                <a:lnTo>
                  <a:pt x="4043164" y="9436100"/>
                </a:lnTo>
                <a:lnTo>
                  <a:pt x="4043164" y="5296297"/>
                </a:lnTo>
                <a:lnTo>
                  <a:pt x="1798241" y="9436100"/>
                </a:lnTo>
                <a:lnTo>
                  <a:pt x="0" y="9436100"/>
                </a:lnTo>
                <a:lnTo>
                  <a:pt x="0" y="2730500"/>
                </a:lnTo>
                <a:lnTo>
                  <a:pt x="1798241" y="2730500"/>
                </a:lnTo>
                <a:lnTo>
                  <a:pt x="1798241" y="6864152"/>
                </a:lnTo>
                <a:close/>
                <a:moveTo>
                  <a:pt x="5097463" y="0"/>
                </a:moveTo>
                <a:cubicBezTo>
                  <a:pt x="5097463" y="549805"/>
                  <a:pt x="4900017" y="994172"/>
                  <a:pt x="4505127" y="1333104"/>
                </a:cubicBezTo>
                <a:cubicBezTo>
                  <a:pt x="4110368" y="1672035"/>
                  <a:pt x="3592579" y="1841500"/>
                  <a:pt x="2951758" y="1841500"/>
                </a:cubicBezTo>
                <a:cubicBezTo>
                  <a:pt x="2310937" y="1841500"/>
                  <a:pt x="1793148" y="1674085"/>
                  <a:pt x="1398389" y="1339255"/>
                </a:cubicBezTo>
                <a:cubicBezTo>
                  <a:pt x="1003631" y="1004425"/>
                  <a:pt x="806252" y="558007"/>
                  <a:pt x="806252" y="0"/>
                </a:cubicBezTo>
                <a:lnTo>
                  <a:pt x="2077442" y="0"/>
                </a:lnTo>
                <a:cubicBezTo>
                  <a:pt x="2077442" y="260350"/>
                  <a:pt x="2154965" y="461830"/>
                  <a:pt x="2310011" y="604441"/>
                </a:cubicBezTo>
                <a:cubicBezTo>
                  <a:pt x="2465057" y="747052"/>
                  <a:pt x="2678973" y="818357"/>
                  <a:pt x="2951758" y="818357"/>
                </a:cubicBezTo>
                <a:cubicBezTo>
                  <a:pt x="3220442" y="818357"/>
                  <a:pt x="3431249" y="747052"/>
                  <a:pt x="3584178" y="604441"/>
                </a:cubicBezTo>
                <a:cubicBezTo>
                  <a:pt x="3737240" y="461830"/>
                  <a:pt x="3813771" y="260350"/>
                  <a:pt x="3813771" y="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0" name="Freeform 3830"/>
          <p:cNvSpPr/>
          <p:nvPr/>
        </p:nvSpPr>
        <p:spPr>
          <a:xfrm>
            <a:off x="1588899" y="726628"/>
            <a:ext cx="52517" cy="60350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1" name="Freeform 3831"/>
          <p:cNvSpPr/>
          <p:nvPr/>
        </p:nvSpPr>
        <p:spPr>
          <a:xfrm>
            <a:off x="1682168" y="726628"/>
            <a:ext cx="52517" cy="60350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5835253" y="6705600"/>
                </a:moveTo>
                <a:lnTo>
                  <a:pt x="4037013" y="6705600"/>
                </a:lnTo>
                <a:lnTo>
                  <a:pt x="4037013" y="1451174"/>
                </a:lnTo>
                <a:lnTo>
                  <a:pt x="1792089" y="1451174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583525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2" name="Freeform 3832"/>
          <p:cNvSpPr/>
          <p:nvPr/>
        </p:nvSpPr>
        <p:spPr>
          <a:xfrm>
            <a:off x="1746976" y="725485"/>
            <a:ext cx="54358" cy="84696"/>
          </a:xfrm>
          <a:custGeom>
            <a:avLst/>
            <a:gdLst/>
            <a:ahLst/>
            <a:cxnLst/>
            <a:rect l="0" t="0" r="0" b="0"/>
            <a:pathLst>
              <a:path w="6039842" h="9410700">
                <a:moveTo>
                  <a:pt x="6039842" y="3541911"/>
                </a:moveTo>
                <a:cubicBezTo>
                  <a:pt x="6039842" y="4575639"/>
                  <a:pt x="5805223" y="5403718"/>
                  <a:pt x="5335985" y="6026150"/>
                </a:cubicBezTo>
                <a:cubicBezTo>
                  <a:pt x="4866878" y="6648450"/>
                  <a:pt x="4233334" y="6959600"/>
                  <a:pt x="3435350" y="6959600"/>
                </a:cubicBezTo>
                <a:cubicBezTo>
                  <a:pt x="2757356" y="6959600"/>
                  <a:pt x="2209602" y="6723989"/>
                  <a:pt x="1792089" y="6252766"/>
                </a:cubicBezTo>
                <a:lnTo>
                  <a:pt x="1792089" y="9410700"/>
                </a:lnTo>
                <a:lnTo>
                  <a:pt x="0" y="9410700"/>
                </a:lnTo>
                <a:lnTo>
                  <a:pt x="0" y="127000"/>
                </a:lnTo>
                <a:lnTo>
                  <a:pt x="1661914" y="127000"/>
                </a:lnTo>
                <a:lnTo>
                  <a:pt x="1723827" y="784225"/>
                </a:lnTo>
                <a:cubicBezTo>
                  <a:pt x="2158008" y="261409"/>
                  <a:pt x="2724415" y="0"/>
                  <a:pt x="3423047" y="0"/>
                </a:cubicBezTo>
                <a:cubicBezTo>
                  <a:pt x="4249870" y="0"/>
                  <a:pt x="4892675" y="306057"/>
                  <a:pt x="5351463" y="918171"/>
                </a:cubicBezTo>
                <a:cubicBezTo>
                  <a:pt x="5810382" y="1530152"/>
                  <a:pt x="6039842" y="2373710"/>
                  <a:pt x="6039842" y="3448844"/>
                </a:cubicBezTo>
                <a:close/>
                <a:moveTo>
                  <a:pt x="4247753" y="3411538"/>
                </a:moveTo>
                <a:cubicBezTo>
                  <a:pt x="4247753" y="2786989"/>
                  <a:pt x="4137157" y="2305183"/>
                  <a:pt x="3915966" y="1966119"/>
                </a:cubicBezTo>
                <a:cubicBezTo>
                  <a:pt x="3694774" y="1626923"/>
                  <a:pt x="3373371" y="1457325"/>
                  <a:pt x="2951758" y="1457325"/>
                </a:cubicBezTo>
                <a:cubicBezTo>
                  <a:pt x="2389518" y="1457325"/>
                  <a:pt x="2002962" y="1672432"/>
                  <a:pt x="1792089" y="2102644"/>
                </a:cubicBezTo>
                <a:lnTo>
                  <a:pt x="1792089" y="4851004"/>
                </a:lnTo>
                <a:cubicBezTo>
                  <a:pt x="2011164" y="5293519"/>
                  <a:pt x="2401822" y="5514777"/>
                  <a:pt x="2964061" y="5514777"/>
                </a:cubicBezTo>
                <a:cubicBezTo>
                  <a:pt x="3819856" y="5514777"/>
                  <a:pt x="4247753" y="4813697"/>
                  <a:pt x="4247753" y="341153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3" name="Freeform 3833"/>
          <p:cNvSpPr/>
          <p:nvPr/>
        </p:nvSpPr>
        <p:spPr>
          <a:xfrm>
            <a:off x="1808701" y="725485"/>
            <a:ext cx="57205" cy="62636"/>
          </a:xfrm>
          <a:custGeom>
            <a:avLst/>
            <a:gdLst/>
            <a:ahLst/>
            <a:cxnLst/>
            <a:rect l="0" t="0" r="0" b="0"/>
            <a:pathLst>
              <a:path w="6356152" h="6959600">
                <a:moveTo>
                  <a:pt x="0" y="3417690"/>
                </a:moveTo>
                <a:cubicBezTo>
                  <a:pt x="0" y="2751998"/>
                  <a:pt x="128125" y="2158670"/>
                  <a:pt x="384374" y="1637705"/>
                </a:cubicBezTo>
                <a:cubicBezTo>
                  <a:pt x="640755" y="1116608"/>
                  <a:pt x="1009716" y="713383"/>
                  <a:pt x="1491258" y="428030"/>
                </a:cubicBezTo>
                <a:cubicBezTo>
                  <a:pt x="1972932" y="142677"/>
                  <a:pt x="2532063" y="0"/>
                  <a:pt x="3168650" y="0"/>
                </a:cubicBezTo>
                <a:cubicBezTo>
                  <a:pt x="4074054" y="0"/>
                  <a:pt x="4813035" y="277085"/>
                  <a:pt x="5385594" y="831255"/>
                </a:cubicBezTo>
                <a:cubicBezTo>
                  <a:pt x="5958152" y="1385293"/>
                  <a:pt x="6277504" y="2137900"/>
                  <a:pt x="6343650" y="3089077"/>
                </a:cubicBezTo>
                <a:lnTo>
                  <a:pt x="6356152" y="3548063"/>
                </a:lnTo>
                <a:cubicBezTo>
                  <a:pt x="6356152" y="4577689"/>
                  <a:pt x="6068814" y="5403718"/>
                  <a:pt x="5494139" y="6026150"/>
                </a:cubicBezTo>
                <a:cubicBezTo>
                  <a:pt x="4919464" y="6648450"/>
                  <a:pt x="4148402" y="6959600"/>
                  <a:pt x="3180953" y="6959600"/>
                </a:cubicBezTo>
                <a:cubicBezTo>
                  <a:pt x="2213637" y="6959600"/>
                  <a:pt x="1441649" y="6649443"/>
                  <a:pt x="864989" y="6029127"/>
                </a:cubicBezTo>
                <a:cubicBezTo>
                  <a:pt x="288330" y="5408811"/>
                  <a:pt x="0" y="4565254"/>
                  <a:pt x="0" y="3498454"/>
                </a:cubicBezTo>
                <a:close/>
                <a:moveTo>
                  <a:pt x="1792089" y="3548063"/>
                </a:moveTo>
                <a:cubicBezTo>
                  <a:pt x="1792089" y="4185047"/>
                  <a:pt x="1911945" y="4672079"/>
                  <a:pt x="2151658" y="5009158"/>
                </a:cubicBezTo>
                <a:cubicBezTo>
                  <a:pt x="2391503" y="5346237"/>
                  <a:pt x="2734667" y="5514777"/>
                  <a:pt x="3181152" y="5514777"/>
                </a:cubicBezTo>
                <a:cubicBezTo>
                  <a:pt x="3615201" y="5514777"/>
                  <a:pt x="3954198" y="5348288"/>
                  <a:pt x="4198144" y="5015310"/>
                </a:cubicBezTo>
                <a:cubicBezTo>
                  <a:pt x="4442090" y="4682332"/>
                  <a:pt x="4564063" y="4149858"/>
                  <a:pt x="4564063" y="3417888"/>
                </a:cubicBezTo>
                <a:cubicBezTo>
                  <a:pt x="4564063" y="2793339"/>
                  <a:pt x="4442090" y="2309416"/>
                  <a:pt x="4198144" y="1966119"/>
                </a:cubicBezTo>
                <a:cubicBezTo>
                  <a:pt x="3954198" y="1622822"/>
                  <a:pt x="3611034" y="1451174"/>
                  <a:pt x="3168650" y="1451174"/>
                </a:cubicBezTo>
                <a:cubicBezTo>
                  <a:pt x="2730500" y="1451174"/>
                  <a:pt x="2391503" y="1621830"/>
                  <a:pt x="2151658" y="1963143"/>
                </a:cubicBezTo>
                <a:cubicBezTo>
                  <a:pt x="1911945" y="2304323"/>
                  <a:pt x="1792089" y="2832630"/>
                  <a:pt x="1792089" y="354806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4" name="Freeform 3834"/>
          <p:cNvSpPr/>
          <p:nvPr/>
        </p:nvSpPr>
        <p:spPr>
          <a:xfrm>
            <a:off x="1873391" y="701254"/>
            <a:ext cx="75902" cy="108927"/>
          </a:xfrm>
          <a:custGeom>
            <a:avLst/>
            <a:gdLst/>
            <a:ahLst/>
            <a:cxnLst/>
            <a:rect l="0" t="0" r="0" b="0"/>
            <a:pathLst>
              <a:path w="8433594" h="12103100">
                <a:moveTo>
                  <a:pt x="0" y="6221810"/>
                </a:moveTo>
                <a:cubicBezTo>
                  <a:pt x="0" y="5142575"/>
                  <a:pt x="220134" y="4284531"/>
                  <a:pt x="660400" y="3647679"/>
                </a:cubicBezTo>
                <a:cubicBezTo>
                  <a:pt x="1100667" y="3010827"/>
                  <a:pt x="1707356" y="2692400"/>
                  <a:pt x="2480469" y="2692400"/>
                </a:cubicBezTo>
                <a:cubicBezTo>
                  <a:pt x="2782226" y="2692400"/>
                  <a:pt x="3057128" y="2752395"/>
                  <a:pt x="3305175" y="2872383"/>
                </a:cubicBezTo>
                <a:lnTo>
                  <a:pt x="3305175" y="0"/>
                </a:lnTo>
                <a:lnTo>
                  <a:pt x="5097463" y="0"/>
                </a:lnTo>
                <a:lnTo>
                  <a:pt x="5097463" y="2878535"/>
                </a:lnTo>
                <a:cubicBezTo>
                  <a:pt x="5353712" y="2754446"/>
                  <a:pt x="5636882" y="2692400"/>
                  <a:pt x="5946974" y="2692400"/>
                </a:cubicBezTo>
                <a:cubicBezTo>
                  <a:pt x="6724187" y="2692400"/>
                  <a:pt x="7332927" y="3009768"/>
                  <a:pt x="7773194" y="3644504"/>
                </a:cubicBezTo>
                <a:cubicBezTo>
                  <a:pt x="8213461" y="4279239"/>
                  <a:pt x="8433594" y="5181733"/>
                  <a:pt x="8433594" y="6351985"/>
                </a:cubicBezTo>
                <a:cubicBezTo>
                  <a:pt x="8433594" y="7365207"/>
                  <a:pt x="8212402" y="8168548"/>
                  <a:pt x="7770019" y="8762008"/>
                </a:cubicBezTo>
                <a:cubicBezTo>
                  <a:pt x="7327768" y="9355336"/>
                  <a:pt x="6724187" y="9652000"/>
                  <a:pt x="5959277" y="9652000"/>
                </a:cubicBezTo>
                <a:cubicBezTo>
                  <a:pt x="5640983" y="9652000"/>
                  <a:pt x="5353712" y="9594122"/>
                  <a:pt x="5097463" y="9478368"/>
                </a:cubicBezTo>
                <a:lnTo>
                  <a:pt x="5097463" y="12103100"/>
                </a:lnTo>
                <a:lnTo>
                  <a:pt x="3305175" y="12103100"/>
                </a:lnTo>
                <a:lnTo>
                  <a:pt x="3305175" y="9484519"/>
                </a:lnTo>
                <a:cubicBezTo>
                  <a:pt x="3057128" y="9596172"/>
                  <a:pt x="2778125" y="9652000"/>
                  <a:pt x="2468166" y="9652000"/>
                </a:cubicBezTo>
                <a:cubicBezTo>
                  <a:pt x="1744663" y="9652000"/>
                  <a:pt x="1163770" y="9381133"/>
                  <a:pt x="725488" y="8839399"/>
                </a:cubicBezTo>
                <a:cubicBezTo>
                  <a:pt x="287338" y="8297665"/>
                  <a:pt x="47559" y="7555376"/>
                  <a:pt x="6152" y="6612533"/>
                </a:cubicBezTo>
                <a:close/>
                <a:moveTo>
                  <a:pt x="6635353" y="6221810"/>
                </a:moveTo>
                <a:cubicBezTo>
                  <a:pt x="6635353" y="5551885"/>
                  <a:pt x="6534018" y="5038064"/>
                  <a:pt x="6331347" y="4680347"/>
                </a:cubicBezTo>
                <a:cubicBezTo>
                  <a:pt x="6128808" y="4322498"/>
                  <a:pt x="5843588" y="4143574"/>
                  <a:pt x="5475685" y="4143574"/>
                </a:cubicBezTo>
                <a:cubicBezTo>
                  <a:pt x="5359929" y="4143574"/>
                  <a:pt x="5233856" y="4158060"/>
                  <a:pt x="5097463" y="4187032"/>
                </a:cubicBezTo>
                <a:lnTo>
                  <a:pt x="5097463" y="8176022"/>
                </a:lnTo>
                <a:cubicBezTo>
                  <a:pt x="5213218" y="8200893"/>
                  <a:pt x="5343393" y="8213329"/>
                  <a:pt x="5487988" y="8213329"/>
                </a:cubicBezTo>
                <a:cubicBezTo>
                  <a:pt x="6190853" y="8213329"/>
                  <a:pt x="6571192" y="7679796"/>
                  <a:pt x="6629003" y="6612732"/>
                </a:cubicBezTo>
                <a:close/>
                <a:moveTo>
                  <a:pt x="1792089" y="6352183"/>
                </a:moveTo>
                <a:cubicBezTo>
                  <a:pt x="1792089" y="7588846"/>
                  <a:pt x="2170377" y="8207177"/>
                  <a:pt x="2926953" y="8207177"/>
                </a:cubicBezTo>
                <a:cubicBezTo>
                  <a:pt x="3084116" y="8207177"/>
                  <a:pt x="3210190" y="8196858"/>
                  <a:pt x="3305175" y="8176221"/>
                </a:cubicBezTo>
                <a:lnTo>
                  <a:pt x="3305175" y="4187032"/>
                </a:lnTo>
                <a:cubicBezTo>
                  <a:pt x="3168782" y="4158060"/>
                  <a:pt x="3046876" y="4143574"/>
                  <a:pt x="2939455" y="4143574"/>
                </a:cubicBezTo>
                <a:cubicBezTo>
                  <a:pt x="2571419" y="4143574"/>
                  <a:pt x="2288183" y="4318331"/>
                  <a:pt x="2089746" y="4667846"/>
                </a:cubicBezTo>
                <a:cubicBezTo>
                  <a:pt x="1891308" y="5017361"/>
                  <a:pt x="1792089" y="5578806"/>
                  <a:pt x="1792089" y="635218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5" name="Freeform 3835"/>
          <p:cNvSpPr/>
          <p:nvPr/>
        </p:nvSpPr>
        <p:spPr>
          <a:xfrm>
            <a:off x="1957054" y="725485"/>
            <a:ext cx="54806" cy="6263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6" name="Freeform 3836"/>
          <p:cNvSpPr/>
          <p:nvPr/>
        </p:nvSpPr>
        <p:spPr>
          <a:xfrm>
            <a:off x="2018442" y="725485"/>
            <a:ext cx="52908" cy="6263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7" name="Freeform 3837"/>
          <p:cNvSpPr/>
          <p:nvPr/>
        </p:nvSpPr>
        <p:spPr>
          <a:xfrm>
            <a:off x="2077992" y="725485"/>
            <a:ext cx="52908" cy="6263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8" name="Freeform 3838"/>
          <p:cNvSpPr/>
          <p:nvPr/>
        </p:nvSpPr>
        <p:spPr>
          <a:xfrm>
            <a:off x="2140053" y="726628"/>
            <a:ext cx="52517" cy="60350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39" name="Freeform 3839"/>
          <p:cNvSpPr/>
          <p:nvPr/>
        </p:nvSpPr>
        <p:spPr>
          <a:xfrm>
            <a:off x="2204861" y="702054"/>
            <a:ext cx="52517" cy="84924"/>
          </a:xfrm>
          <a:custGeom>
            <a:avLst/>
            <a:gdLst/>
            <a:ahLst/>
            <a:cxnLst/>
            <a:rect l="0" t="0" r="0" b="0"/>
            <a:pathLst>
              <a:path w="5835253" h="9436100">
                <a:moveTo>
                  <a:pt x="4043164" y="2730500"/>
                </a:moveTo>
                <a:lnTo>
                  <a:pt x="5835253" y="2730500"/>
                </a:lnTo>
                <a:lnTo>
                  <a:pt x="5835253" y="9436100"/>
                </a:lnTo>
                <a:lnTo>
                  <a:pt x="4043164" y="9436100"/>
                </a:lnTo>
                <a:lnTo>
                  <a:pt x="4043164" y="5296297"/>
                </a:lnTo>
                <a:lnTo>
                  <a:pt x="1798241" y="9436100"/>
                </a:lnTo>
                <a:lnTo>
                  <a:pt x="0" y="9436100"/>
                </a:lnTo>
                <a:lnTo>
                  <a:pt x="0" y="2730500"/>
                </a:lnTo>
                <a:lnTo>
                  <a:pt x="1798241" y="2730500"/>
                </a:lnTo>
                <a:lnTo>
                  <a:pt x="1798241" y="6864152"/>
                </a:lnTo>
                <a:close/>
                <a:moveTo>
                  <a:pt x="5097463" y="0"/>
                </a:moveTo>
                <a:cubicBezTo>
                  <a:pt x="5097463" y="549805"/>
                  <a:pt x="4900017" y="994172"/>
                  <a:pt x="4505127" y="1333104"/>
                </a:cubicBezTo>
                <a:cubicBezTo>
                  <a:pt x="4110368" y="1672035"/>
                  <a:pt x="3592579" y="1841500"/>
                  <a:pt x="2951758" y="1841500"/>
                </a:cubicBezTo>
                <a:cubicBezTo>
                  <a:pt x="2310937" y="1841500"/>
                  <a:pt x="1793148" y="1674085"/>
                  <a:pt x="1398389" y="1339255"/>
                </a:cubicBezTo>
                <a:cubicBezTo>
                  <a:pt x="1003631" y="1004425"/>
                  <a:pt x="806252" y="558007"/>
                  <a:pt x="806252" y="0"/>
                </a:cubicBezTo>
                <a:lnTo>
                  <a:pt x="2077442" y="0"/>
                </a:lnTo>
                <a:cubicBezTo>
                  <a:pt x="2077442" y="260350"/>
                  <a:pt x="2154965" y="461830"/>
                  <a:pt x="2310011" y="604441"/>
                </a:cubicBezTo>
                <a:cubicBezTo>
                  <a:pt x="2465057" y="747052"/>
                  <a:pt x="2678973" y="818357"/>
                  <a:pt x="2951758" y="818357"/>
                </a:cubicBezTo>
                <a:cubicBezTo>
                  <a:pt x="3220442" y="818357"/>
                  <a:pt x="3431249" y="747052"/>
                  <a:pt x="3584178" y="604441"/>
                </a:cubicBezTo>
                <a:cubicBezTo>
                  <a:pt x="3737240" y="461830"/>
                  <a:pt x="3813771" y="260350"/>
                  <a:pt x="3813771" y="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0" name="Freeform 3840"/>
          <p:cNvSpPr/>
          <p:nvPr/>
        </p:nvSpPr>
        <p:spPr>
          <a:xfrm>
            <a:off x="2299302" y="705712"/>
            <a:ext cx="67308" cy="81267"/>
          </a:xfrm>
          <a:custGeom>
            <a:avLst/>
            <a:gdLst/>
            <a:ahLst/>
            <a:cxnLst/>
            <a:rect l="0" t="0" r="0" b="0"/>
            <a:pathLst>
              <a:path w="7478713" h="9029700">
                <a:moveTo>
                  <a:pt x="2933105" y="5343525"/>
                </a:moveTo>
                <a:lnTo>
                  <a:pt x="1860352" y="534352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19500"/>
                </a:lnTo>
                <a:lnTo>
                  <a:pt x="2709863" y="3619500"/>
                </a:lnTo>
                <a:lnTo>
                  <a:pt x="4917480" y="0"/>
                </a:lnTo>
                <a:lnTo>
                  <a:pt x="7187208" y="0"/>
                </a:lnTo>
                <a:lnTo>
                  <a:pt x="4402931" y="4276924"/>
                </a:lnTo>
                <a:lnTo>
                  <a:pt x="7478713" y="9029700"/>
                </a:lnTo>
                <a:lnTo>
                  <a:pt x="5258594" y="90297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1" name="Freeform 3841"/>
          <p:cNvSpPr/>
          <p:nvPr/>
        </p:nvSpPr>
        <p:spPr>
          <a:xfrm>
            <a:off x="2369454" y="72548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2" name="Freeform 3842"/>
          <p:cNvSpPr/>
          <p:nvPr/>
        </p:nvSpPr>
        <p:spPr>
          <a:xfrm>
            <a:off x="2430774" y="725485"/>
            <a:ext cx="51234" cy="62636"/>
          </a:xfrm>
          <a:custGeom>
            <a:avLst/>
            <a:gdLst/>
            <a:ahLst/>
            <a:cxnLst/>
            <a:rect l="0" t="0" r="0" b="0"/>
            <a:pathLst>
              <a:path w="5692775" h="6959600">
                <a:moveTo>
                  <a:pt x="3782814" y="2091730"/>
                </a:moveTo>
                <a:cubicBezTo>
                  <a:pt x="3782814" y="1857442"/>
                  <a:pt x="3705291" y="1675607"/>
                  <a:pt x="3550245" y="1546225"/>
                </a:cubicBezTo>
                <a:cubicBezTo>
                  <a:pt x="3395199" y="1416712"/>
                  <a:pt x="3175066" y="1351955"/>
                  <a:pt x="2889845" y="1351955"/>
                </a:cubicBezTo>
                <a:cubicBezTo>
                  <a:pt x="2596290" y="1351955"/>
                  <a:pt x="2357503" y="1413140"/>
                  <a:pt x="2173486" y="1535510"/>
                </a:cubicBezTo>
                <a:cubicBezTo>
                  <a:pt x="1989600" y="1657880"/>
                  <a:pt x="1897658" y="1831050"/>
                  <a:pt x="1897658" y="2055019"/>
                </a:cubicBezTo>
                <a:lnTo>
                  <a:pt x="105569" y="2055019"/>
                </a:lnTo>
                <a:cubicBezTo>
                  <a:pt x="105569" y="1446610"/>
                  <a:pt x="357716" y="952037"/>
                  <a:pt x="862012" y="571302"/>
                </a:cubicBezTo>
                <a:cubicBezTo>
                  <a:pt x="1366440" y="190435"/>
                  <a:pt x="2011362" y="0"/>
                  <a:pt x="2796778" y="0"/>
                </a:cubicBezTo>
                <a:cubicBezTo>
                  <a:pt x="3660775" y="0"/>
                  <a:pt x="4339762" y="169069"/>
                  <a:pt x="4833739" y="507207"/>
                </a:cubicBezTo>
                <a:cubicBezTo>
                  <a:pt x="5327848" y="845344"/>
                  <a:pt x="5574903" y="1325761"/>
                  <a:pt x="5574903" y="1948458"/>
                </a:cubicBezTo>
                <a:cubicBezTo>
                  <a:pt x="5574903" y="2245321"/>
                  <a:pt x="5484944" y="2518503"/>
                  <a:pt x="5305028" y="2768005"/>
                </a:cubicBezTo>
                <a:cubicBezTo>
                  <a:pt x="5125244" y="3017507"/>
                  <a:pt x="4872104" y="3216474"/>
                  <a:pt x="4545608" y="3364905"/>
                </a:cubicBezTo>
                <a:cubicBezTo>
                  <a:pt x="5310386" y="3634913"/>
                  <a:pt x="5692775" y="4156142"/>
                  <a:pt x="5692775" y="4928593"/>
                </a:cubicBezTo>
                <a:cubicBezTo>
                  <a:pt x="5692775" y="5547453"/>
                  <a:pt x="5429183" y="6040703"/>
                  <a:pt x="4902001" y="6408341"/>
                </a:cubicBezTo>
                <a:cubicBezTo>
                  <a:pt x="4374951" y="6775847"/>
                  <a:pt x="3673210" y="6959600"/>
                  <a:pt x="2796778" y="6959600"/>
                </a:cubicBezTo>
                <a:cubicBezTo>
                  <a:pt x="1982390" y="6959600"/>
                  <a:pt x="1312664" y="6769233"/>
                  <a:pt x="787598" y="6388497"/>
                </a:cubicBezTo>
                <a:cubicBezTo>
                  <a:pt x="262533" y="6007762"/>
                  <a:pt x="0" y="5494536"/>
                  <a:pt x="0" y="4848821"/>
                </a:cubicBezTo>
                <a:lnTo>
                  <a:pt x="1792287" y="4848821"/>
                </a:lnTo>
                <a:cubicBezTo>
                  <a:pt x="1792287" y="5076892"/>
                  <a:pt x="1893556" y="5261439"/>
                  <a:pt x="2096095" y="5402461"/>
                </a:cubicBezTo>
                <a:cubicBezTo>
                  <a:pt x="2298634" y="5543484"/>
                  <a:pt x="2563217" y="5613996"/>
                  <a:pt x="2889845" y="5613996"/>
                </a:cubicBezTo>
                <a:cubicBezTo>
                  <a:pt x="3208139" y="5613996"/>
                  <a:pt x="3456186" y="5538854"/>
                  <a:pt x="3633986" y="5388571"/>
                </a:cubicBezTo>
                <a:cubicBezTo>
                  <a:pt x="3811786" y="5238155"/>
                  <a:pt x="3900686" y="5041834"/>
                  <a:pt x="3900686" y="4799608"/>
                </a:cubicBezTo>
                <a:cubicBezTo>
                  <a:pt x="3900686" y="4503010"/>
                  <a:pt x="3815887" y="4291013"/>
                  <a:pt x="3646289" y="4163616"/>
                </a:cubicBezTo>
                <a:cubicBezTo>
                  <a:pt x="3476823" y="4036219"/>
                  <a:pt x="3222625" y="3972521"/>
                  <a:pt x="2883694" y="3972521"/>
                </a:cubicBezTo>
                <a:lnTo>
                  <a:pt x="1909961" y="3972521"/>
                </a:lnTo>
                <a:lnTo>
                  <a:pt x="1909961" y="2806700"/>
                </a:lnTo>
                <a:lnTo>
                  <a:pt x="2945606" y="2806700"/>
                </a:lnTo>
                <a:cubicBezTo>
                  <a:pt x="3503744" y="2790296"/>
                  <a:pt x="3782814" y="2551973"/>
                  <a:pt x="3782814" y="209173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3" name="Freeform 3843"/>
          <p:cNvSpPr/>
          <p:nvPr/>
        </p:nvSpPr>
        <p:spPr>
          <a:xfrm>
            <a:off x="2489354" y="72548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4" name="Freeform 3844"/>
          <p:cNvSpPr/>
          <p:nvPr/>
        </p:nvSpPr>
        <p:spPr>
          <a:xfrm>
            <a:off x="2547995" y="726628"/>
            <a:ext cx="56146" cy="60350"/>
          </a:xfrm>
          <a:custGeom>
            <a:avLst/>
            <a:gdLst/>
            <a:ahLst/>
            <a:cxnLst/>
            <a:rect l="0" t="0" r="0" b="0"/>
            <a:pathLst>
              <a:path w="6238478" h="6705600">
                <a:moveTo>
                  <a:pt x="3113087" y="2001838"/>
                </a:moveTo>
                <a:lnTo>
                  <a:pt x="4241601" y="0"/>
                </a:lnTo>
                <a:lnTo>
                  <a:pt x="6157912" y="0"/>
                </a:lnTo>
                <a:lnTo>
                  <a:pt x="4247951" y="3284538"/>
                </a:lnTo>
                <a:lnTo>
                  <a:pt x="6238478" y="6705600"/>
                </a:lnTo>
                <a:lnTo>
                  <a:pt x="4316015" y="6705600"/>
                </a:lnTo>
                <a:lnTo>
                  <a:pt x="3119239" y="4598393"/>
                </a:lnTo>
                <a:lnTo>
                  <a:pt x="1928614" y="6705600"/>
                </a:lnTo>
                <a:lnTo>
                  <a:pt x="0" y="6705600"/>
                </a:lnTo>
                <a:lnTo>
                  <a:pt x="1990725" y="3284538"/>
                </a:lnTo>
                <a:lnTo>
                  <a:pt x="86915" y="0"/>
                </a:lnTo>
                <a:lnTo>
                  <a:pt x="200917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5" name="Freeform 3845"/>
          <p:cNvSpPr/>
          <p:nvPr/>
        </p:nvSpPr>
        <p:spPr>
          <a:xfrm>
            <a:off x="2607544" y="725485"/>
            <a:ext cx="52908" cy="62636"/>
          </a:xfrm>
          <a:custGeom>
            <a:avLst/>
            <a:gdLst/>
            <a:ahLst/>
            <a:cxnLst/>
            <a:rect l="0" t="0" r="0" b="0"/>
            <a:pathLst>
              <a:path w="5878711" h="6959600">
                <a:moveTo>
                  <a:pt x="3069431" y="5514777"/>
                </a:moveTo>
                <a:cubicBezTo>
                  <a:pt x="3400160" y="5514777"/>
                  <a:pt x="3668845" y="5423827"/>
                  <a:pt x="3875484" y="5241925"/>
                </a:cubicBezTo>
                <a:cubicBezTo>
                  <a:pt x="4082256" y="5060024"/>
                  <a:pt x="4189809" y="4818129"/>
                  <a:pt x="4198144" y="4516240"/>
                </a:cubicBezTo>
                <a:lnTo>
                  <a:pt x="5878711" y="4516240"/>
                </a:lnTo>
                <a:cubicBezTo>
                  <a:pt x="5874478" y="4971058"/>
                  <a:pt x="5750388" y="5387645"/>
                  <a:pt x="5506442" y="5765999"/>
                </a:cubicBezTo>
                <a:cubicBezTo>
                  <a:pt x="5262629" y="6144221"/>
                  <a:pt x="4928857" y="6437710"/>
                  <a:pt x="4505127" y="6646466"/>
                </a:cubicBezTo>
                <a:cubicBezTo>
                  <a:pt x="4081396" y="6855221"/>
                  <a:pt x="3613216" y="6959600"/>
                  <a:pt x="3100586" y="6959600"/>
                </a:cubicBezTo>
                <a:cubicBezTo>
                  <a:pt x="2141471" y="6959600"/>
                  <a:pt x="1384895" y="6654668"/>
                  <a:pt x="830858" y="6044804"/>
                </a:cubicBezTo>
                <a:cubicBezTo>
                  <a:pt x="276953" y="5434807"/>
                  <a:pt x="0" y="4592241"/>
                  <a:pt x="0" y="3517107"/>
                </a:cubicBezTo>
                <a:lnTo>
                  <a:pt x="0" y="3399235"/>
                </a:lnTo>
                <a:cubicBezTo>
                  <a:pt x="0" y="2365375"/>
                  <a:pt x="274902" y="1540405"/>
                  <a:pt x="824706" y="924322"/>
                </a:cubicBezTo>
                <a:cubicBezTo>
                  <a:pt x="1374511" y="308108"/>
                  <a:pt x="2128970" y="0"/>
                  <a:pt x="3088084" y="0"/>
                </a:cubicBezTo>
                <a:cubicBezTo>
                  <a:pt x="3927343" y="0"/>
                  <a:pt x="4600178" y="238787"/>
                  <a:pt x="5106591" y="716360"/>
                </a:cubicBezTo>
                <a:cubicBezTo>
                  <a:pt x="5613003" y="1193800"/>
                  <a:pt x="5870377" y="1829396"/>
                  <a:pt x="5878711" y="2623146"/>
                </a:cubicBezTo>
                <a:lnTo>
                  <a:pt x="4198144" y="2623146"/>
                </a:lnTo>
                <a:cubicBezTo>
                  <a:pt x="4189809" y="2275880"/>
                  <a:pt x="4082256" y="1993768"/>
                  <a:pt x="3875484" y="1776810"/>
                </a:cubicBezTo>
                <a:cubicBezTo>
                  <a:pt x="3668845" y="1559719"/>
                  <a:pt x="3396059" y="1451174"/>
                  <a:pt x="3057128" y="1451174"/>
                </a:cubicBezTo>
                <a:cubicBezTo>
                  <a:pt x="2639616" y="1451174"/>
                  <a:pt x="2324365" y="1603177"/>
                  <a:pt x="2111375" y="1907183"/>
                </a:cubicBezTo>
                <a:cubicBezTo>
                  <a:pt x="1898518" y="2211190"/>
                  <a:pt x="1792089" y="2704373"/>
                  <a:pt x="1792089" y="3386733"/>
                </a:cubicBezTo>
                <a:lnTo>
                  <a:pt x="1792089" y="3572868"/>
                </a:lnTo>
                <a:cubicBezTo>
                  <a:pt x="1792089" y="4263563"/>
                  <a:pt x="1897459" y="4759921"/>
                  <a:pt x="2108200" y="5061943"/>
                </a:cubicBezTo>
                <a:cubicBezTo>
                  <a:pt x="2319073" y="5363832"/>
                  <a:pt x="2639483" y="5514777"/>
                  <a:pt x="3069431" y="55147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6" name="Freeform 3846"/>
          <p:cNvSpPr/>
          <p:nvPr/>
        </p:nvSpPr>
        <p:spPr>
          <a:xfrm>
            <a:off x="2665140" y="726628"/>
            <a:ext cx="54581" cy="60350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7" name="Freeform 3847"/>
          <p:cNvSpPr/>
          <p:nvPr/>
        </p:nvSpPr>
        <p:spPr>
          <a:xfrm>
            <a:off x="2724584" y="72548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8" name="Freeform 3848"/>
          <p:cNvSpPr/>
          <p:nvPr/>
        </p:nvSpPr>
        <p:spPr>
          <a:xfrm>
            <a:off x="2788249" y="726628"/>
            <a:ext cx="52349" cy="60350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49" name="Freeform 3849"/>
          <p:cNvSpPr/>
          <p:nvPr/>
        </p:nvSpPr>
        <p:spPr>
          <a:xfrm>
            <a:off x="2850657" y="72548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0" name="Freeform 3850"/>
          <p:cNvSpPr/>
          <p:nvPr/>
        </p:nvSpPr>
        <p:spPr>
          <a:xfrm>
            <a:off x="2942782" y="726628"/>
            <a:ext cx="52349" cy="60350"/>
          </a:xfrm>
          <a:custGeom>
            <a:avLst/>
            <a:gdLst/>
            <a:ahLst/>
            <a:cxnLst/>
            <a:rect l="0" t="0" r="0" b="0"/>
            <a:pathLst>
              <a:path w="5816600" h="6705600">
                <a:moveTo>
                  <a:pt x="5816600" y="6705600"/>
                </a:moveTo>
                <a:lnTo>
                  <a:pt x="4018360" y="6705600"/>
                </a:lnTo>
                <a:lnTo>
                  <a:pt x="4018360" y="4118372"/>
                </a:lnTo>
                <a:lnTo>
                  <a:pt x="1792089" y="4118372"/>
                </a:lnTo>
                <a:lnTo>
                  <a:pt x="1792089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2089" y="0"/>
                </a:lnTo>
                <a:lnTo>
                  <a:pt x="1792089" y="2679700"/>
                </a:lnTo>
                <a:lnTo>
                  <a:pt x="4018360" y="2679700"/>
                </a:lnTo>
                <a:lnTo>
                  <a:pt x="4018360" y="0"/>
                </a:lnTo>
                <a:lnTo>
                  <a:pt x="581660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1" name="Freeform 3851"/>
          <p:cNvSpPr/>
          <p:nvPr/>
        </p:nvSpPr>
        <p:spPr>
          <a:xfrm>
            <a:off x="3005190" y="72548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2" name="Freeform 3852"/>
          <p:cNvSpPr/>
          <p:nvPr/>
        </p:nvSpPr>
        <p:spPr>
          <a:xfrm>
            <a:off x="1471085" y="833347"/>
            <a:ext cx="56926" cy="88125"/>
          </a:xfrm>
          <a:custGeom>
            <a:avLst/>
            <a:gdLst/>
            <a:ahLst/>
            <a:cxnLst/>
            <a:rect l="0" t="0" r="0" b="0"/>
            <a:pathLst>
              <a:path w="6325195" h="9791700">
                <a:moveTo>
                  <a:pt x="3497461" y="3327400"/>
                </a:moveTo>
                <a:cubicBezTo>
                  <a:pt x="4357357" y="3327400"/>
                  <a:pt x="5043620" y="3612489"/>
                  <a:pt x="5556250" y="4182666"/>
                </a:cubicBezTo>
                <a:cubicBezTo>
                  <a:pt x="6068880" y="4752843"/>
                  <a:pt x="6325195" y="5527609"/>
                  <a:pt x="6325195" y="6506965"/>
                </a:cubicBezTo>
                <a:lnTo>
                  <a:pt x="6325195" y="6593682"/>
                </a:lnTo>
                <a:cubicBezTo>
                  <a:pt x="6325195" y="7560469"/>
                  <a:pt x="6039908" y="8335169"/>
                  <a:pt x="5469334" y="8917782"/>
                </a:cubicBezTo>
                <a:cubicBezTo>
                  <a:pt x="4898893" y="9500394"/>
                  <a:pt x="4132064" y="9791700"/>
                  <a:pt x="3168848" y="9791700"/>
                </a:cubicBezTo>
                <a:cubicBezTo>
                  <a:pt x="2201399" y="9791700"/>
                  <a:pt x="1431396" y="9476516"/>
                  <a:pt x="858837" y="8846146"/>
                </a:cubicBezTo>
                <a:cubicBezTo>
                  <a:pt x="286279" y="8215644"/>
                  <a:pt x="0" y="7358791"/>
                  <a:pt x="0" y="6275586"/>
                </a:cubicBezTo>
                <a:lnTo>
                  <a:pt x="0" y="5977930"/>
                </a:lnTo>
                <a:cubicBezTo>
                  <a:pt x="8334" y="4469011"/>
                  <a:pt x="263591" y="3287713"/>
                  <a:pt x="765770" y="2434035"/>
                </a:cubicBezTo>
                <a:cubicBezTo>
                  <a:pt x="1268082" y="1580357"/>
                  <a:pt x="2023599" y="1041863"/>
                  <a:pt x="3032323" y="818555"/>
                </a:cubicBezTo>
                <a:cubicBezTo>
                  <a:pt x="3561490" y="702800"/>
                  <a:pt x="3902538" y="588103"/>
                  <a:pt x="4055467" y="474465"/>
                </a:cubicBezTo>
                <a:cubicBezTo>
                  <a:pt x="4208529" y="360694"/>
                  <a:pt x="4285059" y="202539"/>
                  <a:pt x="4285059" y="0"/>
                </a:cubicBezTo>
                <a:lnTo>
                  <a:pt x="5736034" y="0"/>
                </a:lnTo>
                <a:cubicBezTo>
                  <a:pt x="5736034" y="649552"/>
                  <a:pt x="5561343" y="1137775"/>
                  <a:pt x="5211961" y="1464668"/>
                </a:cubicBezTo>
                <a:cubicBezTo>
                  <a:pt x="4862711" y="1791428"/>
                  <a:pt x="4241602" y="2043774"/>
                  <a:pt x="3348633" y="2221707"/>
                </a:cubicBezTo>
                <a:cubicBezTo>
                  <a:pt x="2819466" y="2329260"/>
                  <a:pt x="2401887" y="2538215"/>
                  <a:pt x="2095897" y="2848571"/>
                </a:cubicBezTo>
                <a:cubicBezTo>
                  <a:pt x="1790039" y="3158795"/>
                  <a:pt x="1583399" y="3595225"/>
                  <a:pt x="1475978" y="4157861"/>
                </a:cubicBezTo>
                <a:cubicBezTo>
                  <a:pt x="2046420" y="3604221"/>
                  <a:pt x="2720247" y="3327400"/>
                  <a:pt x="3497461" y="3327400"/>
                </a:cubicBezTo>
                <a:close/>
                <a:moveTo>
                  <a:pt x="3156347" y="4778574"/>
                </a:moveTo>
                <a:cubicBezTo>
                  <a:pt x="2730632" y="4778574"/>
                  <a:pt x="2396794" y="4921052"/>
                  <a:pt x="2154833" y="5206008"/>
                </a:cubicBezTo>
                <a:cubicBezTo>
                  <a:pt x="1913004" y="5490965"/>
                  <a:pt x="1792089" y="5953522"/>
                  <a:pt x="1792089" y="6593682"/>
                </a:cubicBezTo>
                <a:cubicBezTo>
                  <a:pt x="1792089" y="7163594"/>
                  <a:pt x="1909895" y="7598305"/>
                  <a:pt x="2145506" y="7897813"/>
                </a:cubicBezTo>
                <a:cubicBezTo>
                  <a:pt x="2381250" y="8197189"/>
                  <a:pt x="2722364" y="8346877"/>
                  <a:pt x="3168848" y="8346877"/>
                </a:cubicBezTo>
                <a:cubicBezTo>
                  <a:pt x="3602897" y="8346877"/>
                  <a:pt x="3937727" y="8200298"/>
                  <a:pt x="4173339" y="7907140"/>
                </a:cubicBezTo>
                <a:cubicBezTo>
                  <a:pt x="4409083" y="7613849"/>
                  <a:pt x="4529005" y="7182247"/>
                  <a:pt x="4533106" y="6612335"/>
                </a:cubicBezTo>
                <a:lnTo>
                  <a:pt x="4533106" y="6463507"/>
                </a:lnTo>
                <a:cubicBezTo>
                  <a:pt x="4533106" y="5914232"/>
                  <a:pt x="4412191" y="5496124"/>
                  <a:pt x="4170362" y="5209183"/>
                </a:cubicBezTo>
                <a:cubicBezTo>
                  <a:pt x="3928533" y="4922111"/>
                  <a:pt x="3590528" y="4778574"/>
                  <a:pt x="3156347" y="47785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3" name="Freeform 3853"/>
          <p:cNvSpPr/>
          <p:nvPr/>
        </p:nvSpPr>
        <p:spPr>
          <a:xfrm>
            <a:off x="1532663" y="859978"/>
            <a:ext cx="57483" cy="60350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4" name="Freeform 3854"/>
          <p:cNvSpPr/>
          <p:nvPr/>
        </p:nvSpPr>
        <p:spPr>
          <a:xfrm>
            <a:off x="1602552" y="859978"/>
            <a:ext cx="52517" cy="60350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5" name="Freeform 3855"/>
          <p:cNvSpPr/>
          <p:nvPr/>
        </p:nvSpPr>
        <p:spPr>
          <a:xfrm>
            <a:off x="1663342" y="859978"/>
            <a:ext cx="93929" cy="60350"/>
          </a:xfrm>
          <a:custGeom>
            <a:avLst/>
            <a:gdLst/>
            <a:ahLst/>
            <a:cxnLst/>
            <a:rect l="0" t="0" r="0" b="0"/>
            <a:pathLst>
              <a:path w="10436622" h="6705600">
                <a:moveTo>
                  <a:pt x="6901855" y="4219575"/>
                </a:moveTo>
                <a:lnTo>
                  <a:pt x="6089451" y="4219575"/>
                </a:lnTo>
                <a:lnTo>
                  <a:pt x="6089451" y="6705600"/>
                </a:lnTo>
                <a:lnTo>
                  <a:pt x="4297362" y="6705600"/>
                </a:lnTo>
                <a:lnTo>
                  <a:pt x="4297362" y="4219575"/>
                </a:lnTo>
                <a:lnTo>
                  <a:pt x="3497461" y="4219575"/>
                </a:lnTo>
                <a:lnTo>
                  <a:pt x="2164159" y="6705600"/>
                </a:lnTo>
                <a:lnTo>
                  <a:pt x="0" y="6705600"/>
                </a:lnTo>
                <a:lnTo>
                  <a:pt x="2114550" y="3196432"/>
                </a:lnTo>
                <a:lnTo>
                  <a:pt x="24805" y="0"/>
                </a:lnTo>
                <a:lnTo>
                  <a:pt x="2244725" y="0"/>
                </a:lnTo>
                <a:lnTo>
                  <a:pt x="3640137" y="2501900"/>
                </a:lnTo>
                <a:lnTo>
                  <a:pt x="4297362" y="2501900"/>
                </a:lnTo>
                <a:lnTo>
                  <a:pt x="4297362" y="0"/>
                </a:lnTo>
                <a:lnTo>
                  <a:pt x="6089451" y="0"/>
                </a:lnTo>
                <a:lnTo>
                  <a:pt x="6089451" y="2501900"/>
                </a:lnTo>
                <a:lnTo>
                  <a:pt x="6759178" y="2501900"/>
                </a:lnTo>
                <a:lnTo>
                  <a:pt x="8160742" y="0"/>
                </a:lnTo>
                <a:lnTo>
                  <a:pt x="10380662" y="0"/>
                </a:lnTo>
                <a:lnTo>
                  <a:pt x="8303419" y="3152974"/>
                </a:lnTo>
                <a:lnTo>
                  <a:pt x="10436622" y="6705600"/>
                </a:lnTo>
                <a:lnTo>
                  <a:pt x="8235156" y="6705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6" name="Freeform 3856"/>
          <p:cNvSpPr/>
          <p:nvPr/>
        </p:nvSpPr>
        <p:spPr>
          <a:xfrm>
            <a:off x="1762572" y="858835"/>
            <a:ext cx="53690" cy="62636"/>
          </a:xfrm>
          <a:custGeom>
            <a:avLst/>
            <a:gdLst/>
            <a:ahLst/>
            <a:cxnLst/>
            <a:rect l="0" t="0" r="0" b="0"/>
            <a:pathLst>
              <a:path w="5965627" h="6959600">
                <a:moveTo>
                  <a:pt x="4154885" y="6832600"/>
                </a:moveTo>
                <a:cubicBezTo>
                  <a:pt x="4072202" y="6672131"/>
                  <a:pt x="4012208" y="6472569"/>
                  <a:pt x="3974902" y="6233915"/>
                </a:cubicBezTo>
                <a:cubicBezTo>
                  <a:pt x="3540853" y="6717705"/>
                  <a:pt x="2976563" y="6959600"/>
                  <a:pt x="2282031" y="6959600"/>
                </a:cubicBezTo>
                <a:cubicBezTo>
                  <a:pt x="1624674" y="6959600"/>
                  <a:pt x="1079963" y="6769167"/>
                  <a:pt x="647899" y="6388299"/>
                </a:cubicBezTo>
                <a:cubicBezTo>
                  <a:pt x="215966" y="6007431"/>
                  <a:pt x="0" y="5527146"/>
                  <a:pt x="0" y="4947444"/>
                </a:cubicBezTo>
                <a:cubicBezTo>
                  <a:pt x="0" y="4235450"/>
                  <a:pt x="263525" y="3689020"/>
                  <a:pt x="790575" y="3308152"/>
                </a:cubicBezTo>
                <a:cubicBezTo>
                  <a:pt x="1317758" y="2927152"/>
                  <a:pt x="2079493" y="2734601"/>
                  <a:pt x="3075781" y="2730500"/>
                </a:cubicBezTo>
                <a:lnTo>
                  <a:pt x="3900488" y="2730500"/>
                </a:lnTo>
                <a:lnTo>
                  <a:pt x="3900488" y="2347119"/>
                </a:lnTo>
                <a:cubicBezTo>
                  <a:pt x="3900488" y="2038086"/>
                  <a:pt x="3820914" y="1790833"/>
                  <a:pt x="3661767" y="1605360"/>
                </a:cubicBezTo>
                <a:cubicBezTo>
                  <a:pt x="3502621" y="1419887"/>
                  <a:pt x="3251465" y="1327150"/>
                  <a:pt x="2908300" y="1327150"/>
                </a:cubicBezTo>
                <a:cubicBezTo>
                  <a:pt x="2606543" y="1327150"/>
                  <a:pt x="2369873" y="1398985"/>
                  <a:pt x="2198291" y="1542654"/>
                </a:cubicBezTo>
                <a:cubicBezTo>
                  <a:pt x="2026708" y="1686322"/>
                  <a:pt x="1940917" y="1883305"/>
                  <a:pt x="1940917" y="2133600"/>
                </a:cubicBezTo>
                <a:lnTo>
                  <a:pt x="148828" y="2133600"/>
                </a:lnTo>
                <a:cubicBezTo>
                  <a:pt x="148828" y="1745986"/>
                  <a:pt x="268685" y="1387277"/>
                  <a:pt x="508397" y="1057474"/>
                </a:cubicBezTo>
                <a:cubicBezTo>
                  <a:pt x="748242" y="727671"/>
                  <a:pt x="1087239" y="468975"/>
                  <a:pt x="1525389" y="281385"/>
                </a:cubicBezTo>
                <a:cubicBezTo>
                  <a:pt x="1963672" y="93796"/>
                  <a:pt x="2455664" y="0"/>
                  <a:pt x="3001367" y="0"/>
                </a:cubicBezTo>
                <a:cubicBezTo>
                  <a:pt x="3828190" y="0"/>
                  <a:pt x="4484489" y="207699"/>
                  <a:pt x="4970264" y="623094"/>
                </a:cubicBezTo>
                <a:cubicBezTo>
                  <a:pt x="5456039" y="1038490"/>
                  <a:pt x="5698927" y="1622359"/>
                  <a:pt x="5698927" y="2374702"/>
                </a:cubicBezTo>
                <a:lnTo>
                  <a:pt x="5698927" y="5282605"/>
                </a:lnTo>
                <a:cubicBezTo>
                  <a:pt x="5703028" y="5919060"/>
                  <a:pt x="5791928" y="6400602"/>
                  <a:pt x="5965627" y="6727230"/>
                </a:cubicBezTo>
                <a:lnTo>
                  <a:pt x="5965627" y="6832600"/>
                </a:lnTo>
                <a:close/>
                <a:moveTo>
                  <a:pt x="2672755" y="5589191"/>
                </a:moveTo>
                <a:cubicBezTo>
                  <a:pt x="2937338" y="5589191"/>
                  <a:pt x="3181218" y="5530123"/>
                  <a:pt x="3404394" y="5411986"/>
                </a:cubicBezTo>
                <a:cubicBezTo>
                  <a:pt x="3627702" y="5293718"/>
                  <a:pt x="3793067" y="5134968"/>
                  <a:pt x="3900488" y="4935736"/>
                </a:cubicBezTo>
                <a:lnTo>
                  <a:pt x="3900488" y="3778449"/>
                </a:lnTo>
                <a:lnTo>
                  <a:pt x="3230761" y="3778449"/>
                </a:lnTo>
                <a:cubicBezTo>
                  <a:pt x="2333691" y="3778449"/>
                  <a:pt x="1856251" y="4089599"/>
                  <a:pt x="1798439" y="4711899"/>
                </a:cubicBezTo>
                <a:lnTo>
                  <a:pt x="1792089" y="4817666"/>
                </a:lnTo>
                <a:cubicBezTo>
                  <a:pt x="1792089" y="5041636"/>
                  <a:pt x="1870604" y="5226249"/>
                  <a:pt x="2027635" y="5371505"/>
                </a:cubicBezTo>
                <a:cubicBezTo>
                  <a:pt x="2184797" y="5516629"/>
                  <a:pt x="2399837" y="5589191"/>
                  <a:pt x="2672755" y="5589191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7" name="Freeform 3857"/>
          <p:cNvSpPr/>
          <p:nvPr/>
        </p:nvSpPr>
        <p:spPr>
          <a:xfrm>
            <a:off x="1826237" y="835404"/>
            <a:ext cx="52517" cy="84924"/>
          </a:xfrm>
          <a:custGeom>
            <a:avLst/>
            <a:gdLst/>
            <a:ahLst/>
            <a:cxnLst/>
            <a:rect l="0" t="0" r="0" b="0"/>
            <a:pathLst>
              <a:path w="5835253" h="9436100">
                <a:moveTo>
                  <a:pt x="4043164" y="2730500"/>
                </a:moveTo>
                <a:lnTo>
                  <a:pt x="5835253" y="2730500"/>
                </a:lnTo>
                <a:lnTo>
                  <a:pt x="5835253" y="9436100"/>
                </a:lnTo>
                <a:lnTo>
                  <a:pt x="4043164" y="9436100"/>
                </a:lnTo>
                <a:lnTo>
                  <a:pt x="4043164" y="5296297"/>
                </a:lnTo>
                <a:lnTo>
                  <a:pt x="1798241" y="9436100"/>
                </a:lnTo>
                <a:lnTo>
                  <a:pt x="0" y="9436100"/>
                </a:lnTo>
                <a:lnTo>
                  <a:pt x="0" y="2730500"/>
                </a:lnTo>
                <a:lnTo>
                  <a:pt x="1798241" y="2730500"/>
                </a:lnTo>
                <a:lnTo>
                  <a:pt x="1798241" y="6864152"/>
                </a:lnTo>
                <a:close/>
                <a:moveTo>
                  <a:pt x="5097463" y="0"/>
                </a:moveTo>
                <a:cubicBezTo>
                  <a:pt x="5097463" y="549805"/>
                  <a:pt x="4900017" y="994172"/>
                  <a:pt x="4505127" y="1333104"/>
                </a:cubicBezTo>
                <a:cubicBezTo>
                  <a:pt x="4110368" y="1672035"/>
                  <a:pt x="3592579" y="1841500"/>
                  <a:pt x="2951758" y="1841500"/>
                </a:cubicBezTo>
                <a:cubicBezTo>
                  <a:pt x="2310937" y="1841500"/>
                  <a:pt x="1793148" y="1674085"/>
                  <a:pt x="1398389" y="1339255"/>
                </a:cubicBezTo>
                <a:cubicBezTo>
                  <a:pt x="1003631" y="1004425"/>
                  <a:pt x="806252" y="558007"/>
                  <a:pt x="806252" y="0"/>
                </a:cubicBezTo>
                <a:lnTo>
                  <a:pt x="2077442" y="0"/>
                </a:lnTo>
                <a:cubicBezTo>
                  <a:pt x="2077442" y="260350"/>
                  <a:pt x="2154965" y="461830"/>
                  <a:pt x="2310011" y="604441"/>
                </a:cubicBezTo>
                <a:cubicBezTo>
                  <a:pt x="2465057" y="747052"/>
                  <a:pt x="2678973" y="818357"/>
                  <a:pt x="2951758" y="818357"/>
                </a:cubicBezTo>
                <a:cubicBezTo>
                  <a:pt x="3220442" y="818357"/>
                  <a:pt x="3431249" y="747052"/>
                  <a:pt x="3584178" y="604441"/>
                </a:cubicBezTo>
                <a:cubicBezTo>
                  <a:pt x="3737240" y="461830"/>
                  <a:pt x="3813771" y="260350"/>
                  <a:pt x="3813771" y="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8" name="Freeform 3858"/>
          <p:cNvSpPr/>
          <p:nvPr/>
        </p:nvSpPr>
        <p:spPr>
          <a:xfrm>
            <a:off x="1891045" y="859978"/>
            <a:ext cx="81594" cy="60350"/>
          </a:xfrm>
          <a:custGeom>
            <a:avLst/>
            <a:gdLst/>
            <a:ahLst/>
            <a:cxnLst/>
            <a:rect l="0" t="0" r="0" b="0"/>
            <a:pathLst>
              <a:path w="9066014" h="6705600">
                <a:moveTo>
                  <a:pt x="1792089" y="0"/>
                </a:moveTo>
                <a:lnTo>
                  <a:pt x="1792089" y="5260777"/>
                </a:lnTo>
                <a:lnTo>
                  <a:pt x="3633788" y="5260777"/>
                </a:lnTo>
                <a:lnTo>
                  <a:pt x="3633788" y="0"/>
                </a:lnTo>
                <a:lnTo>
                  <a:pt x="5432227" y="0"/>
                </a:lnTo>
                <a:lnTo>
                  <a:pt x="5432227" y="5260777"/>
                </a:lnTo>
                <a:lnTo>
                  <a:pt x="7273925" y="5260777"/>
                </a:lnTo>
                <a:lnTo>
                  <a:pt x="7273925" y="0"/>
                </a:lnTo>
                <a:lnTo>
                  <a:pt x="9066014" y="0"/>
                </a:lnTo>
                <a:lnTo>
                  <a:pt x="9066014" y="6705600"/>
                </a:lnTo>
                <a:lnTo>
                  <a:pt x="0" y="6705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59" name="Freeform 3859"/>
          <p:cNvSpPr/>
          <p:nvPr/>
        </p:nvSpPr>
        <p:spPr>
          <a:xfrm>
            <a:off x="1985571" y="859978"/>
            <a:ext cx="52517" cy="60350"/>
          </a:xfrm>
          <a:custGeom>
            <a:avLst/>
            <a:gdLst/>
            <a:ahLst/>
            <a:cxnLst/>
            <a:rect l="0" t="0" r="0" b="0"/>
            <a:pathLst>
              <a:path w="5835253" h="6705600">
                <a:moveTo>
                  <a:pt x="4043164" y="0"/>
                </a:moveTo>
                <a:lnTo>
                  <a:pt x="5835253" y="0"/>
                </a:lnTo>
                <a:lnTo>
                  <a:pt x="5835253" y="6705600"/>
                </a:lnTo>
                <a:lnTo>
                  <a:pt x="4043164" y="6705600"/>
                </a:lnTo>
                <a:lnTo>
                  <a:pt x="4043164" y="2565797"/>
                </a:lnTo>
                <a:lnTo>
                  <a:pt x="1798241" y="6705600"/>
                </a:lnTo>
                <a:lnTo>
                  <a:pt x="0" y="6705600"/>
                </a:lnTo>
                <a:lnTo>
                  <a:pt x="0" y="0"/>
                </a:lnTo>
                <a:lnTo>
                  <a:pt x="1798241" y="0"/>
                </a:lnTo>
                <a:lnTo>
                  <a:pt x="1798241" y="413365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0" name="Freeform 3860"/>
          <p:cNvSpPr/>
          <p:nvPr/>
        </p:nvSpPr>
        <p:spPr>
          <a:xfrm>
            <a:off x="2048202" y="858835"/>
            <a:ext cx="54806" cy="6263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1" name="Freeform 3861"/>
          <p:cNvSpPr/>
          <p:nvPr/>
        </p:nvSpPr>
        <p:spPr>
          <a:xfrm>
            <a:off x="2143687" y="838947"/>
            <a:ext cx="35382" cy="81381"/>
          </a:xfrm>
          <a:custGeom>
            <a:avLst/>
            <a:gdLst/>
            <a:ahLst/>
            <a:cxnLst/>
            <a:rect l="0" t="0" r="0" b="0"/>
            <a:pathLst>
              <a:path w="3931444" h="9042400">
                <a:moveTo>
                  <a:pt x="3931444" y="9042400"/>
                </a:moveTo>
                <a:lnTo>
                  <a:pt x="2139355" y="9042400"/>
                </a:lnTo>
                <a:lnTo>
                  <a:pt x="2139355" y="2128640"/>
                </a:lnTo>
                <a:lnTo>
                  <a:pt x="0" y="2790825"/>
                </a:lnTo>
                <a:lnTo>
                  <a:pt x="0" y="1333500"/>
                </a:lnTo>
                <a:lnTo>
                  <a:pt x="3739356" y="0"/>
                </a:lnTo>
                <a:lnTo>
                  <a:pt x="3931444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2" name="Freeform 3862"/>
          <p:cNvSpPr/>
          <p:nvPr/>
        </p:nvSpPr>
        <p:spPr>
          <a:xfrm>
            <a:off x="2205163" y="837919"/>
            <a:ext cx="54917" cy="83553"/>
          </a:xfrm>
          <a:custGeom>
            <a:avLst/>
            <a:gdLst/>
            <a:ahLst/>
            <a:cxnLst/>
            <a:rect l="0" t="0" r="0" b="0"/>
            <a:pathLst>
              <a:path w="6101954" h="9283700">
                <a:moveTo>
                  <a:pt x="6101954" y="5423694"/>
                </a:moveTo>
                <a:cubicBezTo>
                  <a:pt x="6101954" y="6673189"/>
                  <a:pt x="5843522" y="7628930"/>
                  <a:pt x="5326658" y="8290918"/>
                </a:cubicBezTo>
                <a:cubicBezTo>
                  <a:pt x="4809927" y="8952773"/>
                  <a:pt x="4053417" y="9283700"/>
                  <a:pt x="3057129" y="9283700"/>
                </a:cubicBezTo>
                <a:cubicBezTo>
                  <a:pt x="2073275" y="9283700"/>
                  <a:pt x="1320867" y="8958924"/>
                  <a:pt x="799902" y="8309372"/>
                </a:cubicBezTo>
                <a:cubicBezTo>
                  <a:pt x="279070" y="7659820"/>
                  <a:pt x="12436" y="6728950"/>
                  <a:pt x="0" y="5516761"/>
                </a:cubicBezTo>
                <a:lnTo>
                  <a:pt x="0" y="3853657"/>
                </a:lnTo>
                <a:cubicBezTo>
                  <a:pt x="0" y="2591859"/>
                  <a:pt x="261475" y="1634133"/>
                  <a:pt x="784424" y="980480"/>
                </a:cubicBezTo>
                <a:cubicBezTo>
                  <a:pt x="1307373" y="326827"/>
                  <a:pt x="2060774" y="0"/>
                  <a:pt x="3044627" y="0"/>
                </a:cubicBezTo>
                <a:cubicBezTo>
                  <a:pt x="4028612" y="0"/>
                  <a:pt x="4781021" y="323718"/>
                  <a:pt x="5301854" y="971154"/>
                </a:cubicBezTo>
                <a:cubicBezTo>
                  <a:pt x="5822818" y="1618589"/>
                  <a:pt x="6089518" y="2548401"/>
                  <a:pt x="6101954" y="3760590"/>
                </a:cubicBezTo>
                <a:close/>
                <a:moveTo>
                  <a:pt x="4309865" y="3599061"/>
                </a:moveTo>
                <a:cubicBezTo>
                  <a:pt x="4309865" y="2850026"/>
                  <a:pt x="4207537" y="2304786"/>
                  <a:pt x="4002882" y="1963341"/>
                </a:cubicBezTo>
                <a:cubicBezTo>
                  <a:pt x="3798226" y="1621896"/>
                  <a:pt x="3478875" y="1451174"/>
                  <a:pt x="3044825" y="1451174"/>
                </a:cubicBezTo>
                <a:cubicBezTo>
                  <a:pt x="2623080" y="1451174"/>
                  <a:pt x="2311930" y="1613628"/>
                  <a:pt x="2111375" y="1938536"/>
                </a:cubicBezTo>
                <a:cubicBezTo>
                  <a:pt x="1910954" y="2263313"/>
                  <a:pt x="1804525" y="2771312"/>
                  <a:pt x="1792090" y="3462536"/>
                </a:cubicBezTo>
                <a:lnTo>
                  <a:pt x="1792090" y="5660033"/>
                </a:lnTo>
                <a:cubicBezTo>
                  <a:pt x="1792090" y="6396633"/>
                  <a:pt x="1892300" y="6943924"/>
                  <a:pt x="2092722" y="7301905"/>
                </a:cubicBezTo>
                <a:cubicBezTo>
                  <a:pt x="2293277" y="7659886"/>
                  <a:pt x="2614745" y="7838877"/>
                  <a:pt x="3057129" y="7838877"/>
                </a:cubicBezTo>
                <a:cubicBezTo>
                  <a:pt x="3495411" y="7838877"/>
                  <a:pt x="3811654" y="7667162"/>
                  <a:pt x="4005858" y="7323733"/>
                </a:cubicBezTo>
                <a:cubicBezTo>
                  <a:pt x="4200195" y="6980172"/>
                  <a:pt x="4301530" y="6454577"/>
                  <a:pt x="4309865" y="5746949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3" name="Freeform 3863"/>
          <p:cNvSpPr/>
          <p:nvPr/>
        </p:nvSpPr>
        <p:spPr>
          <a:xfrm>
            <a:off x="2271494" y="879067"/>
            <a:ext cx="31419" cy="13003"/>
          </a:xfrm>
          <a:custGeom>
            <a:avLst/>
            <a:gdLst/>
            <a:ahLst/>
            <a:cxnLst/>
            <a:rect l="0" t="0" r="0" b="0"/>
            <a:pathLst>
              <a:path w="3491111" h="1444824">
                <a:moveTo>
                  <a:pt x="3491111" y="1444824"/>
                </a:moveTo>
                <a:lnTo>
                  <a:pt x="0" y="1444824"/>
                </a:lnTo>
                <a:lnTo>
                  <a:pt x="0" y="0"/>
                </a:lnTo>
                <a:lnTo>
                  <a:pt x="3491111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4" name="Freeform 3864"/>
          <p:cNvSpPr/>
          <p:nvPr/>
        </p:nvSpPr>
        <p:spPr>
          <a:xfrm>
            <a:off x="2318909" y="838947"/>
            <a:ext cx="35382" cy="81381"/>
          </a:xfrm>
          <a:custGeom>
            <a:avLst/>
            <a:gdLst/>
            <a:ahLst/>
            <a:cxnLst/>
            <a:rect l="0" t="0" r="0" b="0"/>
            <a:pathLst>
              <a:path w="3931444" h="9042400">
                <a:moveTo>
                  <a:pt x="3931444" y="9042400"/>
                </a:moveTo>
                <a:lnTo>
                  <a:pt x="2139355" y="9042400"/>
                </a:lnTo>
                <a:lnTo>
                  <a:pt x="2139355" y="2128640"/>
                </a:lnTo>
                <a:lnTo>
                  <a:pt x="0" y="2790825"/>
                </a:lnTo>
                <a:lnTo>
                  <a:pt x="0" y="1333500"/>
                </a:lnTo>
                <a:lnTo>
                  <a:pt x="3739356" y="0"/>
                </a:lnTo>
                <a:lnTo>
                  <a:pt x="3931444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5" name="Freeform 3865"/>
          <p:cNvSpPr/>
          <p:nvPr/>
        </p:nvSpPr>
        <p:spPr>
          <a:xfrm>
            <a:off x="2380942" y="839062"/>
            <a:ext cx="54974" cy="82410"/>
          </a:xfrm>
          <a:custGeom>
            <a:avLst/>
            <a:gdLst/>
            <a:ahLst/>
            <a:cxnLst/>
            <a:rect l="0" t="0" r="0" b="0"/>
            <a:pathLst>
              <a:path w="6108303" h="9156700">
                <a:moveTo>
                  <a:pt x="229592" y="4592836"/>
                </a:moveTo>
                <a:lnTo>
                  <a:pt x="750491" y="0"/>
                </a:lnTo>
                <a:lnTo>
                  <a:pt x="5810647" y="0"/>
                </a:lnTo>
                <a:lnTo>
                  <a:pt x="5810647" y="1494433"/>
                </a:lnTo>
                <a:lnTo>
                  <a:pt x="2220119" y="1494433"/>
                </a:lnTo>
                <a:lnTo>
                  <a:pt x="1996877" y="3439915"/>
                </a:lnTo>
                <a:cubicBezTo>
                  <a:pt x="2422723" y="3212505"/>
                  <a:pt x="2875426" y="3098800"/>
                  <a:pt x="3354983" y="3098800"/>
                </a:cubicBezTo>
                <a:cubicBezTo>
                  <a:pt x="4214879" y="3098800"/>
                  <a:pt x="4888706" y="3365434"/>
                  <a:pt x="5376466" y="3898702"/>
                </a:cubicBezTo>
                <a:cubicBezTo>
                  <a:pt x="5864357" y="4431970"/>
                  <a:pt x="6108303" y="5178095"/>
                  <a:pt x="6108303" y="6137077"/>
                </a:cubicBezTo>
                <a:cubicBezTo>
                  <a:pt x="6108303" y="6719954"/>
                  <a:pt x="5985272" y="7241845"/>
                  <a:pt x="5739209" y="7702749"/>
                </a:cubicBezTo>
                <a:cubicBezTo>
                  <a:pt x="5493279" y="8163653"/>
                  <a:pt x="5140854" y="8521237"/>
                  <a:pt x="4681934" y="8775502"/>
                </a:cubicBezTo>
                <a:cubicBezTo>
                  <a:pt x="4223015" y="9029634"/>
                  <a:pt x="3681479" y="9156700"/>
                  <a:pt x="3057327" y="9156700"/>
                </a:cubicBezTo>
                <a:cubicBezTo>
                  <a:pt x="2511623" y="9156700"/>
                  <a:pt x="2005145" y="9046170"/>
                  <a:pt x="1537891" y="8825111"/>
                </a:cubicBezTo>
                <a:cubicBezTo>
                  <a:pt x="1070769" y="8603920"/>
                  <a:pt x="701807" y="8292836"/>
                  <a:pt x="431006" y="7891860"/>
                </a:cubicBezTo>
                <a:cubicBezTo>
                  <a:pt x="160205" y="7490884"/>
                  <a:pt x="16536" y="7034081"/>
                  <a:pt x="0" y="6521450"/>
                </a:cubicBezTo>
                <a:lnTo>
                  <a:pt x="1773634" y="6521450"/>
                </a:lnTo>
                <a:cubicBezTo>
                  <a:pt x="1810808" y="6897556"/>
                  <a:pt x="1942042" y="7189986"/>
                  <a:pt x="2167334" y="7398743"/>
                </a:cubicBezTo>
                <a:cubicBezTo>
                  <a:pt x="2392627" y="7607499"/>
                  <a:pt x="2687174" y="7711877"/>
                  <a:pt x="3050977" y="7711877"/>
                </a:cubicBezTo>
                <a:cubicBezTo>
                  <a:pt x="3456186" y="7711877"/>
                  <a:pt x="3768328" y="7566224"/>
                  <a:pt x="3987403" y="7274918"/>
                </a:cubicBezTo>
                <a:cubicBezTo>
                  <a:pt x="4206478" y="6983479"/>
                  <a:pt x="4316016" y="6571126"/>
                  <a:pt x="4316016" y="6037858"/>
                </a:cubicBezTo>
                <a:cubicBezTo>
                  <a:pt x="4316016" y="5525361"/>
                  <a:pt x="4189941" y="5132719"/>
                  <a:pt x="3937794" y="4859933"/>
                </a:cubicBezTo>
                <a:cubicBezTo>
                  <a:pt x="3685646" y="4587148"/>
                  <a:pt x="3328062" y="4450755"/>
                  <a:pt x="2865041" y="4450755"/>
                </a:cubicBezTo>
                <a:cubicBezTo>
                  <a:pt x="2439194" y="4450755"/>
                  <a:pt x="2093979" y="4562343"/>
                  <a:pt x="1829395" y="4785519"/>
                </a:cubicBezTo>
                <a:lnTo>
                  <a:pt x="1655762" y="49466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6" name="Freeform 3866"/>
          <p:cNvSpPr/>
          <p:nvPr/>
        </p:nvSpPr>
        <p:spPr>
          <a:xfrm>
            <a:off x="2470266" y="859978"/>
            <a:ext cx="57483" cy="60350"/>
          </a:xfrm>
          <a:custGeom>
            <a:avLst/>
            <a:gdLst/>
            <a:ahLst/>
            <a:cxnLst/>
            <a:rect l="0" t="0" r="0" b="0"/>
            <a:pathLst>
              <a:path w="6387107" h="6705600">
                <a:moveTo>
                  <a:pt x="6387107" y="0"/>
                </a:moveTo>
                <a:lnTo>
                  <a:pt x="6387107" y="6705600"/>
                </a:lnTo>
                <a:lnTo>
                  <a:pt x="4595018" y="6705600"/>
                </a:lnTo>
                <a:lnTo>
                  <a:pt x="4595018" y="1451174"/>
                </a:lnTo>
                <a:lnTo>
                  <a:pt x="3013670" y="1451174"/>
                </a:lnTo>
                <a:lnTo>
                  <a:pt x="2902148" y="3520679"/>
                </a:lnTo>
                <a:cubicBezTo>
                  <a:pt x="2831769" y="4623594"/>
                  <a:pt x="2614678" y="5427068"/>
                  <a:pt x="2250876" y="5931099"/>
                </a:cubicBezTo>
                <a:cubicBezTo>
                  <a:pt x="1887074" y="6434998"/>
                  <a:pt x="1345538" y="6693165"/>
                  <a:pt x="626268" y="6705600"/>
                </a:cubicBezTo>
                <a:lnTo>
                  <a:pt x="18454" y="6705600"/>
                </a:lnTo>
                <a:lnTo>
                  <a:pt x="0" y="5248275"/>
                </a:lnTo>
                <a:lnTo>
                  <a:pt x="223242" y="5229622"/>
                </a:lnTo>
                <a:cubicBezTo>
                  <a:pt x="545636" y="5204884"/>
                  <a:pt x="781248" y="5014913"/>
                  <a:pt x="930076" y="4659710"/>
                </a:cubicBezTo>
                <a:cubicBezTo>
                  <a:pt x="1078904" y="4304374"/>
                  <a:pt x="1171905" y="3699206"/>
                  <a:pt x="1209079" y="2844205"/>
                </a:cubicBezTo>
                <a:lnTo>
                  <a:pt x="1333103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7" name="Freeform 3867"/>
          <p:cNvSpPr/>
          <p:nvPr/>
        </p:nvSpPr>
        <p:spPr>
          <a:xfrm>
            <a:off x="2537978" y="858835"/>
            <a:ext cx="54806" cy="62636"/>
          </a:xfrm>
          <a:custGeom>
            <a:avLst/>
            <a:gdLst/>
            <a:ahLst/>
            <a:cxnLst/>
            <a:rect l="0" t="0" r="0" b="0"/>
            <a:pathLst>
              <a:path w="6089650" h="6959600">
                <a:moveTo>
                  <a:pt x="3329980" y="6959600"/>
                </a:moveTo>
                <a:cubicBezTo>
                  <a:pt x="2346126" y="6959600"/>
                  <a:pt x="1545167" y="6657777"/>
                  <a:pt x="927100" y="6054130"/>
                </a:cubicBezTo>
                <a:cubicBezTo>
                  <a:pt x="309033" y="5450351"/>
                  <a:pt x="0" y="4646018"/>
                  <a:pt x="0" y="3641130"/>
                </a:cubicBezTo>
                <a:lnTo>
                  <a:pt x="0" y="3467299"/>
                </a:lnTo>
                <a:cubicBezTo>
                  <a:pt x="0" y="2793273"/>
                  <a:pt x="130241" y="2190618"/>
                  <a:pt x="390723" y="1659335"/>
                </a:cubicBezTo>
                <a:cubicBezTo>
                  <a:pt x="651206" y="1127919"/>
                  <a:pt x="1020167" y="718543"/>
                  <a:pt x="1497608" y="431205"/>
                </a:cubicBezTo>
                <a:cubicBezTo>
                  <a:pt x="1975048" y="143735"/>
                  <a:pt x="2519693" y="0"/>
                  <a:pt x="3131542" y="0"/>
                </a:cubicBezTo>
                <a:cubicBezTo>
                  <a:pt x="4049382" y="0"/>
                  <a:pt x="4771826" y="289719"/>
                  <a:pt x="5298876" y="869157"/>
                </a:cubicBezTo>
                <a:cubicBezTo>
                  <a:pt x="5826059" y="1448594"/>
                  <a:pt x="6089650" y="2270125"/>
                  <a:pt x="6089650" y="3333750"/>
                </a:cubicBezTo>
                <a:lnTo>
                  <a:pt x="6089650" y="4066382"/>
                </a:lnTo>
                <a:lnTo>
                  <a:pt x="1816894" y="4066382"/>
                </a:lnTo>
                <a:cubicBezTo>
                  <a:pt x="1874837" y="4503738"/>
                  <a:pt x="2049528" y="4854509"/>
                  <a:pt x="2340967" y="5118696"/>
                </a:cubicBezTo>
                <a:cubicBezTo>
                  <a:pt x="2632406" y="5382750"/>
                  <a:pt x="3001367" y="5514777"/>
                  <a:pt x="3447851" y="5514777"/>
                </a:cubicBezTo>
                <a:cubicBezTo>
                  <a:pt x="4138282" y="5514777"/>
                  <a:pt x="4677767" y="5265341"/>
                  <a:pt x="5066308" y="4766469"/>
                </a:cubicBezTo>
                <a:lnTo>
                  <a:pt x="5946973" y="5751513"/>
                </a:lnTo>
                <a:cubicBezTo>
                  <a:pt x="5678289" y="6131455"/>
                  <a:pt x="5314487" y="6427788"/>
                  <a:pt x="4855567" y="6640513"/>
                </a:cubicBezTo>
                <a:cubicBezTo>
                  <a:pt x="4396647" y="6853237"/>
                  <a:pt x="3888118" y="6959600"/>
                  <a:pt x="3329980" y="6959600"/>
                </a:cubicBezTo>
                <a:close/>
                <a:moveTo>
                  <a:pt x="3125391" y="1451174"/>
                </a:moveTo>
                <a:cubicBezTo>
                  <a:pt x="2769923" y="1451174"/>
                  <a:pt x="2481593" y="1571493"/>
                  <a:pt x="2260401" y="1812132"/>
                </a:cubicBezTo>
                <a:cubicBezTo>
                  <a:pt x="2039210" y="2052638"/>
                  <a:pt x="1897592" y="2396861"/>
                  <a:pt x="1835547" y="2844800"/>
                </a:cubicBezTo>
                <a:lnTo>
                  <a:pt x="4328517" y="2844800"/>
                </a:lnTo>
                <a:lnTo>
                  <a:pt x="4328517" y="2701727"/>
                </a:lnTo>
                <a:cubicBezTo>
                  <a:pt x="4320183" y="2303529"/>
                  <a:pt x="4212630" y="1995554"/>
                  <a:pt x="4005858" y="1777802"/>
                </a:cubicBezTo>
                <a:cubicBezTo>
                  <a:pt x="3799218" y="1560050"/>
                  <a:pt x="3505729" y="1451174"/>
                  <a:pt x="3125391" y="145117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8" name="Freeform 3868"/>
          <p:cNvSpPr/>
          <p:nvPr/>
        </p:nvSpPr>
        <p:spPr>
          <a:xfrm>
            <a:off x="2596840" y="859978"/>
            <a:ext cx="54581" cy="60350"/>
          </a:xfrm>
          <a:custGeom>
            <a:avLst/>
            <a:gdLst/>
            <a:ahLst/>
            <a:cxnLst/>
            <a:rect l="0" t="0" r="0" b="0"/>
            <a:pathLst>
              <a:path w="6064647" h="6705600">
                <a:moveTo>
                  <a:pt x="6064647" y="1438672"/>
                </a:moveTo>
                <a:lnTo>
                  <a:pt x="3912990" y="1438672"/>
                </a:lnTo>
                <a:lnTo>
                  <a:pt x="3912990" y="6705600"/>
                </a:lnTo>
                <a:lnTo>
                  <a:pt x="2114550" y="6705600"/>
                </a:lnTo>
                <a:lnTo>
                  <a:pt x="2114550" y="1438672"/>
                </a:lnTo>
                <a:lnTo>
                  <a:pt x="0" y="1438672"/>
                </a:lnTo>
                <a:lnTo>
                  <a:pt x="0" y="0"/>
                </a:lnTo>
                <a:lnTo>
                  <a:pt x="606464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69" name="Rectangle 3869"/>
          <p:cNvSpPr/>
          <p:nvPr/>
        </p:nvSpPr>
        <p:spPr>
          <a:xfrm>
            <a:off x="1293413" y="1078444"/>
            <a:ext cx="1532877" cy="137160"/>
          </a:xfrm>
          <a:prstGeom prst="rect">
            <a:avLst/>
          </a:prstGeom>
        </p:spPr>
      </p:sp>
      <p:sp>
        <p:nvSpPr>
          <p:cNvPr id="3870" name="Freeform 3870"/>
          <p:cNvSpPr/>
          <p:nvPr/>
        </p:nvSpPr>
        <p:spPr>
          <a:xfrm>
            <a:off x="1293804" y="1105762"/>
            <a:ext cx="76180" cy="8126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71" name="Freeform 3871"/>
          <p:cNvSpPr/>
          <p:nvPr/>
        </p:nvSpPr>
        <p:spPr>
          <a:xfrm>
            <a:off x="1365825" y="1105762"/>
            <a:ext cx="66192" cy="81267"/>
          </a:xfrm>
          <a:custGeom>
            <a:avLst/>
            <a:gdLst/>
            <a:ahLst/>
            <a:cxnLst/>
            <a:rect l="0" t="0" r="0" b="0"/>
            <a:pathLst>
              <a:path w="7354689" h="9029700">
                <a:moveTo>
                  <a:pt x="7354689" y="1506935"/>
                </a:moveTo>
                <a:lnTo>
                  <a:pt x="4588868" y="1506935"/>
                </a:lnTo>
                <a:lnTo>
                  <a:pt x="4588868" y="9029700"/>
                </a:lnTo>
                <a:lnTo>
                  <a:pt x="2728516" y="9029700"/>
                </a:lnTo>
                <a:lnTo>
                  <a:pt x="2728516" y="1506935"/>
                </a:lnTo>
                <a:lnTo>
                  <a:pt x="0" y="1506935"/>
                </a:lnTo>
                <a:lnTo>
                  <a:pt x="0" y="0"/>
                </a:lnTo>
                <a:lnTo>
                  <a:pt x="735468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72" name="Freeform 3872"/>
          <p:cNvSpPr/>
          <p:nvPr/>
        </p:nvSpPr>
        <p:spPr>
          <a:xfrm>
            <a:off x="1433605" y="1105762"/>
            <a:ext cx="71103" cy="81267"/>
          </a:xfrm>
          <a:custGeom>
            <a:avLst/>
            <a:gdLst/>
            <a:ahLst/>
            <a:cxnLst/>
            <a:rect l="0" t="0" r="0" b="0"/>
            <a:pathLst>
              <a:path w="7900393" h="9029700">
                <a:moveTo>
                  <a:pt x="7900393" y="0"/>
                </a:moveTo>
                <a:lnTo>
                  <a:pt x="7900393" y="9029700"/>
                </a:lnTo>
                <a:lnTo>
                  <a:pt x="6033691" y="9029700"/>
                </a:lnTo>
                <a:lnTo>
                  <a:pt x="6033691" y="1506935"/>
                </a:lnTo>
                <a:lnTo>
                  <a:pt x="3627636" y="1506935"/>
                </a:lnTo>
                <a:lnTo>
                  <a:pt x="3478808" y="4694635"/>
                </a:lnTo>
                <a:cubicBezTo>
                  <a:pt x="3416896" y="5769637"/>
                  <a:pt x="3280503" y="6616238"/>
                  <a:pt x="3069630" y="7234436"/>
                </a:cubicBezTo>
                <a:cubicBezTo>
                  <a:pt x="2858757" y="7852503"/>
                  <a:pt x="2550716" y="8305205"/>
                  <a:pt x="2145507" y="8592543"/>
                </a:cubicBezTo>
                <a:cubicBezTo>
                  <a:pt x="1740430" y="8879880"/>
                  <a:pt x="1186524" y="9025599"/>
                  <a:pt x="483791" y="9029700"/>
                </a:cubicBezTo>
                <a:lnTo>
                  <a:pt x="0" y="9029700"/>
                </a:lnTo>
                <a:lnTo>
                  <a:pt x="0" y="7535268"/>
                </a:lnTo>
                <a:lnTo>
                  <a:pt x="310158" y="7504311"/>
                </a:lnTo>
                <a:cubicBezTo>
                  <a:pt x="777280" y="7442267"/>
                  <a:pt x="1111052" y="7172458"/>
                  <a:pt x="1311474" y="6694885"/>
                </a:cubicBezTo>
                <a:cubicBezTo>
                  <a:pt x="1512028" y="6217312"/>
                  <a:pt x="1639160" y="5366611"/>
                  <a:pt x="1692871" y="4142780"/>
                </a:cubicBezTo>
                <a:lnTo>
                  <a:pt x="184804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73" name="Freeform 3873"/>
          <p:cNvSpPr/>
          <p:nvPr/>
        </p:nvSpPr>
        <p:spPr>
          <a:xfrm>
            <a:off x="1513374" y="1105762"/>
            <a:ext cx="76180" cy="81267"/>
          </a:xfrm>
          <a:custGeom>
            <a:avLst/>
            <a:gdLst/>
            <a:ahLst/>
            <a:cxnLst/>
            <a:rect l="0" t="0" r="0" b="0"/>
            <a:pathLst>
              <a:path w="8464550" h="9029700">
                <a:moveTo>
                  <a:pt x="5860058" y="7171135"/>
                </a:moveTo>
                <a:lnTo>
                  <a:pt x="2598341" y="7171135"/>
                </a:lnTo>
                <a:lnTo>
                  <a:pt x="1978224" y="9029700"/>
                </a:lnTo>
                <a:lnTo>
                  <a:pt x="0" y="9029700"/>
                </a:lnTo>
                <a:lnTo>
                  <a:pt x="3360936" y="0"/>
                </a:lnTo>
                <a:lnTo>
                  <a:pt x="5084961" y="0"/>
                </a:lnTo>
                <a:lnTo>
                  <a:pt x="8464550" y="9029700"/>
                </a:lnTo>
                <a:lnTo>
                  <a:pt x="6486327" y="9029700"/>
                </a:lnTo>
                <a:close/>
                <a:moveTo>
                  <a:pt x="3100586" y="5664200"/>
                </a:moveTo>
                <a:lnTo>
                  <a:pt x="5357813" y="5664200"/>
                </a:lnTo>
                <a:lnTo>
                  <a:pt x="4222949" y="228223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74" name="Freeform 3874"/>
          <p:cNvSpPr/>
          <p:nvPr/>
        </p:nvSpPr>
        <p:spPr>
          <a:xfrm>
            <a:off x="1593450" y="1104619"/>
            <a:ext cx="66358" cy="83553"/>
          </a:xfrm>
          <a:custGeom>
            <a:avLst/>
            <a:gdLst/>
            <a:ahLst/>
            <a:cxnLst/>
            <a:rect l="0" t="0" r="0" b="0"/>
            <a:pathLst>
              <a:path w="7373143" h="9283700">
                <a:moveTo>
                  <a:pt x="7360642" y="6152158"/>
                </a:moveTo>
                <a:cubicBezTo>
                  <a:pt x="7290395" y="7123708"/>
                  <a:pt x="6931752" y="7888553"/>
                  <a:pt x="6284714" y="8446691"/>
                </a:cubicBezTo>
                <a:cubicBezTo>
                  <a:pt x="5637807" y="9004697"/>
                  <a:pt x="4785188" y="9283700"/>
                  <a:pt x="3726854" y="9283700"/>
                </a:cubicBezTo>
                <a:cubicBezTo>
                  <a:pt x="2569302" y="9283700"/>
                  <a:pt x="1658739" y="8893771"/>
                  <a:pt x="995164" y="8113911"/>
                </a:cubicBezTo>
                <a:cubicBezTo>
                  <a:pt x="331721" y="7334052"/>
                  <a:pt x="0" y="6263548"/>
                  <a:pt x="0" y="4902399"/>
                </a:cubicBezTo>
                <a:lnTo>
                  <a:pt x="0" y="4350147"/>
                </a:lnTo>
                <a:cubicBezTo>
                  <a:pt x="0" y="3481388"/>
                  <a:pt x="152929" y="2716081"/>
                  <a:pt x="458787" y="2054225"/>
                </a:cubicBezTo>
                <a:cubicBezTo>
                  <a:pt x="764778" y="1392238"/>
                  <a:pt x="1201935" y="884371"/>
                  <a:pt x="1770260" y="530622"/>
                </a:cubicBezTo>
                <a:cubicBezTo>
                  <a:pt x="2338718" y="176874"/>
                  <a:pt x="2999184" y="0"/>
                  <a:pt x="3751659" y="0"/>
                </a:cubicBezTo>
                <a:cubicBezTo>
                  <a:pt x="4793456" y="0"/>
                  <a:pt x="5632648" y="279070"/>
                  <a:pt x="6269235" y="837208"/>
                </a:cubicBezTo>
                <a:cubicBezTo>
                  <a:pt x="6905955" y="1395347"/>
                  <a:pt x="7273925" y="2178778"/>
                  <a:pt x="7373143" y="3187502"/>
                </a:cubicBezTo>
                <a:lnTo>
                  <a:pt x="5512792" y="3187502"/>
                </a:lnTo>
                <a:cubicBezTo>
                  <a:pt x="5467283" y="2604625"/>
                  <a:pt x="5304961" y="2181953"/>
                  <a:pt x="5025826" y="1919486"/>
                </a:cubicBezTo>
                <a:cubicBezTo>
                  <a:pt x="4746823" y="1656888"/>
                  <a:pt x="4322100" y="1525588"/>
                  <a:pt x="3751659" y="1525588"/>
                </a:cubicBezTo>
                <a:cubicBezTo>
                  <a:pt x="3131475" y="1525588"/>
                  <a:pt x="2667396" y="1748036"/>
                  <a:pt x="2359421" y="2192933"/>
                </a:cubicBezTo>
                <a:cubicBezTo>
                  <a:pt x="2051446" y="2637830"/>
                  <a:pt x="1893358" y="3327930"/>
                  <a:pt x="1885156" y="4263232"/>
                </a:cubicBezTo>
                <a:lnTo>
                  <a:pt x="1885156" y="4946055"/>
                </a:lnTo>
                <a:cubicBezTo>
                  <a:pt x="1885156" y="5922765"/>
                  <a:pt x="2032926" y="6636677"/>
                  <a:pt x="2328465" y="7087791"/>
                </a:cubicBezTo>
                <a:cubicBezTo>
                  <a:pt x="2624005" y="7538906"/>
                  <a:pt x="3090135" y="7764463"/>
                  <a:pt x="3726854" y="7764463"/>
                </a:cubicBezTo>
                <a:cubicBezTo>
                  <a:pt x="4301529" y="7764463"/>
                  <a:pt x="4730419" y="7633230"/>
                  <a:pt x="5013523" y="7370763"/>
                </a:cubicBezTo>
                <a:cubicBezTo>
                  <a:pt x="5296760" y="7108164"/>
                  <a:pt x="5459015" y="6701963"/>
                  <a:pt x="5500290" y="615215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75" name="Freeform 3875"/>
          <p:cNvSpPr/>
          <p:nvPr/>
        </p:nvSpPr>
        <p:spPr>
          <a:xfrm>
            <a:off x="1699119" y="1105762"/>
            <a:ext cx="66135" cy="81267"/>
          </a:xfrm>
          <a:custGeom>
            <a:avLst/>
            <a:gdLst/>
            <a:ahLst/>
            <a:cxnLst/>
            <a:rect l="0" t="0" r="0" b="0"/>
            <a:pathLst>
              <a:path w="7348339" h="9029700">
                <a:moveTo>
                  <a:pt x="7348339" y="9029700"/>
                </a:moveTo>
                <a:lnTo>
                  <a:pt x="5487988" y="9029700"/>
                </a:lnTo>
                <a:lnTo>
                  <a:pt x="5487988" y="5158383"/>
                </a:lnTo>
                <a:lnTo>
                  <a:pt x="1860352" y="5158383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3657600"/>
                </a:lnTo>
                <a:lnTo>
                  <a:pt x="5487988" y="3657600"/>
                </a:lnTo>
                <a:lnTo>
                  <a:pt x="5487988" y="0"/>
                </a:lnTo>
                <a:lnTo>
                  <a:pt x="7348339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76" name="Freeform 3876"/>
          <p:cNvSpPr/>
          <p:nvPr/>
        </p:nvSpPr>
        <p:spPr>
          <a:xfrm>
            <a:off x="1777359" y="1104619"/>
            <a:ext cx="69205" cy="83553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77" name="Freeform 3877"/>
          <p:cNvSpPr/>
          <p:nvPr/>
        </p:nvSpPr>
        <p:spPr>
          <a:xfrm>
            <a:off x="1858681" y="1105762"/>
            <a:ext cx="60386" cy="81267"/>
          </a:xfrm>
          <a:custGeom>
            <a:avLst/>
            <a:gdLst/>
            <a:ahLst/>
            <a:cxnLst/>
            <a:rect l="0" t="0" r="0" b="0"/>
            <a:pathLst>
              <a:path w="6709569" h="9029700">
                <a:moveTo>
                  <a:pt x="0" y="9029700"/>
                </a:moveTo>
                <a:lnTo>
                  <a:pt x="0" y="0"/>
                </a:lnTo>
                <a:lnTo>
                  <a:pt x="3162499" y="0"/>
                </a:lnTo>
                <a:cubicBezTo>
                  <a:pt x="4258006" y="0"/>
                  <a:pt x="5088930" y="209881"/>
                  <a:pt x="5655270" y="629643"/>
                </a:cubicBezTo>
                <a:cubicBezTo>
                  <a:pt x="6221744" y="1049404"/>
                  <a:pt x="6504980" y="1664627"/>
                  <a:pt x="6504980" y="2475310"/>
                </a:cubicBezTo>
                <a:cubicBezTo>
                  <a:pt x="6504980" y="2917825"/>
                  <a:pt x="6391275" y="3307623"/>
                  <a:pt x="6163866" y="3644702"/>
                </a:cubicBezTo>
                <a:cubicBezTo>
                  <a:pt x="5936456" y="3981781"/>
                  <a:pt x="5620213" y="4228902"/>
                  <a:pt x="5215136" y="4386065"/>
                </a:cubicBezTo>
                <a:cubicBezTo>
                  <a:pt x="5678157" y="4501820"/>
                  <a:pt x="6042951" y="4735381"/>
                  <a:pt x="6309519" y="5086747"/>
                </a:cubicBezTo>
                <a:cubicBezTo>
                  <a:pt x="6576219" y="5437982"/>
                  <a:pt x="6709569" y="5867797"/>
                  <a:pt x="6709569" y="6376194"/>
                </a:cubicBezTo>
                <a:cubicBezTo>
                  <a:pt x="6709569" y="7244160"/>
                  <a:pt x="6432550" y="7901385"/>
                  <a:pt x="5878513" y="8347869"/>
                </a:cubicBezTo>
                <a:cubicBezTo>
                  <a:pt x="5324607" y="8794221"/>
                  <a:pt x="4535024" y="9021498"/>
                  <a:pt x="3509764" y="9029700"/>
                </a:cubicBezTo>
                <a:close/>
                <a:moveTo>
                  <a:pt x="1860352" y="5099249"/>
                </a:moveTo>
                <a:lnTo>
                  <a:pt x="1860352" y="7535268"/>
                </a:lnTo>
                <a:lnTo>
                  <a:pt x="3454003" y="7535268"/>
                </a:lnTo>
                <a:cubicBezTo>
                  <a:pt x="3892153" y="7535268"/>
                  <a:pt x="4234193" y="7430956"/>
                  <a:pt x="4480124" y="7222332"/>
                </a:cubicBezTo>
                <a:cubicBezTo>
                  <a:pt x="4726186" y="7013575"/>
                  <a:pt x="4849217" y="6725312"/>
                  <a:pt x="4849217" y="6357541"/>
                </a:cubicBezTo>
                <a:cubicBezTo>
                  <a:pt x="4849217" y="5531115"/>
                  <a:pt x="4421320" y="5111684"/>
                  <a:pt x="3565525" y="5099249"/>
                </a:cubicBezTo>
                <a:close/>
                <a:moveTo>
                  <a:pt x="1860352" y="3784600"/>
                </a:moveTo>
                <a:lnTo>
                  <a:pt x="3236913" y="3784600"/>
                </a:lnTo>
                <a:cubicBezTo>
                  <a:pt x="4175390" y="3768064"/>
                  <a:pt x="4644628" y="3393612"/>
                  <a:pt x="4644628" y="2661246"/>
                </a:cubicBezTo>
                <a:cubicBezTo>
                  <a:pt x="4644628" y="2251671"/>
                  <a:pt x="4525764" y="1956925"/>
                  <a:pt x="4288036" y="1777008"/>
                </a:cubicBezTo>
                <a:cubicBezTo>
                  <a:pt x="4050308" y="1596960"/>
                  <a:pt x="3675129" y="1506935"/>
                  <a:pt x="3162499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78" name="Freeform 3878"/>
          <p:cNvSpPr/>
          <p:nvPr/>
        </p:nvSpPr>
        <p:spPr>
          <a:xfrm>
            <a:off x="1931771" y="1105762"/>
            <a:ext cx="84776" cy="81267"/>
          </a:xfrm>
          <a:custGeom>
            <a:avLst/>
            <a:gdLst/>
            <a:ahLst/>
            <a:cxnLst/>
            <a:rect l="0" t="0" r="0" b="0"/>
            <a:pathLst>
              <a:path w="9419629" h="9029700">
                <a:moveTo>
                  <a:pt x="1872853" y="3251200"/>
                </a:moveTo>
                <a:lnTo>
                  <a:pt x="3323828" y="3251200"/>
                </a:lnTo>
                <a:cubicBezTo>
                  <a:pt x="4386394" y="3251200"/>
                  <a:pt x="5228762" y="3508772"/>
                  <a:pt x="5850929" y="4023916"/>
                </a:cubicBezTo>
                <a:cubicBezTo>
                  <a:pt x="6473097" y="4539060"/>
                  <a:pt x="6784181" y="5233194"/>
                  <a:pt x="6784181" y="6106319"/>
                </a:cubicBezTo>
                <a:cubicBezTo>
                  <a:pt x="6784181" y="6983545"/>
                  <a:pt x="6475148" y="7687998"/>
                  <a:pt x="5857081" y="8219679"/>
                </a:cubicBezTo>
                <a:cubicBezTo>
                  <a:pt x="5239014" y="8751359"/>
                  <a:pt x="4417351" y="9021366"/>
                  <a:pt x="3392090" y="9029700"/>
                </a:cubicBezTo>
                <a:lnTo>
                  <a:pt x="0" y="9029700"/>
                </a:lnTo>
                <a:lnTo>
                  <a:pt x="0" y="0"/>
                </a:lnTo>
                <a:lnTo>
                  <a:pt x="1872853" y="0"/>
                </a:lnTo>
                <a:close/>
                <a:moveTo>
                  <a:pt x="9419629" y="9029700"/>
                </a:moveTo>
                <a:lnTo>
                  <a:pt x="7559278" y="9029700"/>
                </a:lnTo>
                <a:lnTo>
                  <a:pt x="7559278" y="0"/>
                </a:lnTo>
                <a:lnTo>
                  <a:pt x="9419629" y="0"/>
                </a:lnTo>
                <a:close/>
                <a:moveTo>
                  <a:pt x="1872853" y="4751983"/>
                </a:moveTo>
                <a:lnTo>
                  <a:pt x="1872853" y="7535268"/>
                </a:lnTo>
                <a:lnTo>
                  <a:pt x="3354983" y="7535268"/>
                </a:lnTo>
                <a:cubicBezTo>
                  <a:pt x="3830307" y="7535268"/>
                  <a:pt x="4209587" y="7404828"/>
                  <a:pt x="4492823" y="7143949"/>
                </a:cubicBezTo>
                <a:cubicBezTo>
                  <a:pt x="4776060" y="6882938"/>
                  <a:pt x="4917678" y="6532960"/>
                  <a:pt x="4917678" y="6094016"/>
                </a:cubicBezTo>
                <a:cubicBezTo>
                  <a:pt x="4917678" y="5683912"/>
                  <a:pt x="4782277" y="5359797"/>
                  <a:pt x="4511476" y="5121672"/>
                </a:cubicBezTo>
                <a:cubicBezTo>
                  <a:pt x="4240675" y="4883547"/>
                  <a:pt x="3869597" y="4760318"/>
                  <a:pt x="3398242" y="475198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79" name="Freeform 3879"/>
          <p:cNvSpPr/>
          <p:nvPr/>
        </p:nvSpPr>
        <p:spPr>
          <a:xfrm>
            <a:off x="2026047" y="1105762"/>
            <a:ext cx="70208" cy="81267"/>
          </a:xfrm>
          <a:custGeom>
            <a:avLst/>
            <a:gdLst/>
            <a:ahLst/>
            <a:cxnLst/>
            <a:rect l="0" t="0" r="0" b="0"/>
            <a:pathLst>
              <a:path w="7800975" h="9029700">
                <a:moveTo>
                  <a:pt x="3900487" y="3113286"/>
                </a:moveTo>
                <a:lnTo>
                  <a:pt x="5593357" y="0"/>
                </a:lnTo>
                <a:lnTo>
                  <a:pt x="7732712" y="0"/>
                </a:lnTo>
                <a:lnTo>
                  <a:pt x="5103415" y="4477544"/>
                </a:lnTo>
                <a:lnTo>
                  <a:pt x="7800975" y="9029700"/>
                </a:lnTo>
                <a:lnTo>
                  <a:pt x="5636815" y="9029700"/>
                </a:lnTo>
                <a:lnTo>
                  <a:pt x="3900487" y="5866805"/>
                </a:lnTo>
                <a:lnTo>
                  <a:pt x="2164159" y="9029700"/>
                </a:lnTo>
                <a:lnTo>
                  <a:pt x="0" y="9029700"/>
                </a:lnTo>
                <a:lnTo>
                  <a:pt x="2697360" y="4477544"/>
                </a:lnTo>
                <a:lnTo>
                  <a:pt x="68064" y="0"/>
                </a:lnTo>
                <a:lnTo>
                  <a:pt x="2207617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80" name="Freeform 3880"/>
          <p:cNvSpPr/>
          <p:nvPr/>
        </p:nvSpPr>
        <p:spPr>
          <a:xfrm>
            <a:off x="2133226" y="1105762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7342188" y="9029700"/>
                </a:moveTo>
                <a:lnTo>
                  <a:pt x="5475685" y="9029700"/>
                </a:lnTo>
                <a:lnTo>
                  <a:pt x="5475685" y="1506935"/>
                </a:lnTo>
                <a:lnTo>
                  <a:pt x="1860352" y="1506935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7342188" y="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81" name="Freeform 3881"/>
          <p:cNvSpPr/>
          <p:nvPr/>
        </p:nvSpPr>
        <p:spPr>
          <a:xfrm>
            <a:off x="2213926" y="1105762"/>
            <a:ext cx="62227" cy="81267"/>
          </a:xfrm>
          <a:custGeom>
            <a:avLst/>
            <a:gdLst/>
            <a:ahLst/>
            <a:cxnLst/>
            <a:rect l="0" t="0" r="0" b="0"/>
            <a:pathLst>
              <a:path w="6914158" h="9029700">
                <a:moveTo>
                  <a:pt x="1860352" y="5850335"/>
                </a:move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3522266" y="0"/>
                </a:lnTo>
                <a:cubicBezTo>
                  <a:pt x="4200260" y="0"/>
                  <a:pt x="4796565" y="124090"/>
                  <a:pt x="5311180" y="372269"/>
                </a:cubicBezTo>
                <a:cubicBezTo>
                  <a:pt x="5825927" y="620449"/>
                  <a:pt x="6221744" y="973072"/>
                  <a:pt x="6498630" y="1430140"/>
                </a:cubicBezTo>
                <a:cubicBezTo>
                  <a:pt x="6775649" y="1887075"/>
                  <a:pt x="6914158" y="2407113"/>
                  <a:pt x="6914158" y="2990255"/>
                </a:cubicBezTo>
                <a:cubicBezTo>
                  <a:pt x="6914158" y="3875419"/>
                  <a:pt x="6611342" y="4573390"/>
                  <a:pt x="6005711" y="5084168"/>
                </a:cubicBezTo>
                <a:cubicBezTo>
                  <a:pt x="5400080" y="5594946"/>
                  <a:pt x="4561880" y="5850335"/>
                  <a:pt x="3491111" y="5850335"/>
                </a:cubicBezTo>
                <a:close/>
                <a:moveTo>
                  <a:pt x="1860352" y="4343400"/>
                </a:moveTo>
                <a:lnTo>
                  <a:pt x="3522266" y="4343400"/>
                </a:lnTo>
                <a:cubicBezTo>
                  <a:pt x="4014126" y="4343400"/>
                  <a:pt x="4389239" y="4227579"/>
                  <a:pt x="4647605" y="3995936"/>
                </a:cubicBezTo>
                <a:cubicBezTo>
                  <a:pt x="4906103" y="3764161"/>
                  <a:pt x="5035352" y="3433101"/>
                  <a:pt x="5035352" y="3002757"/>
                </a:cubicBezTo>
                <a:cubicBezTo>
                  <a:pt x="5035352" y="2559976"/>
                  <a:pt x="4905110" y="2202061"/>
                  <a:pt x="4644628" y="1929011"/>
                </a:cubicBezTo>
                <a:cubicBezTo>
                  <a:pt x="4384146" y="1655961"/>
                  <a:pt x="4024445" y="1515269"/>
                  <a:pt x="3565525" y="1506935"/>
                </a:cubicBezTo>
                <a:lnTo>
                  <a:pt x="1860352" y="150693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82" name="Freeform 3882"/>
          <p:cNvSpPr/>
          <p:nvPr/>
        </p:nvSpPr>
        <p:spPr>
          <a:xfrm>
            <a:off x="2285194" y="1104619"/>
            <a:ext cx="69205" cy="83553"/>
          </a:xfrm>
          <a:custGeom>
            <a:avLst/>
            <a:gdLst/>
            <a:ahLst/>
            <a:cxnLst/>
            <a:rect l="0" t="0" r="0" b="0"/>
            <a:pathLst>
              <a:path w="7689453" h="9283700">
                <a:moveTo>
                  <a:pt x="7689453" y="4846638"/>
                </a:moveTo>
                <a:cubicBezTo>
                  <a:pt x="7689453" y="5736167"/>
                  <a:pt x="7532356" y="6516027"/>
                  <a:pt x="7218164" y="7186216"/>
                </a:cubicBezTo>
                <a:cubicBezTo>
                  <a:pt x="6903971" y="7856406"/>
                  <a:pt x="6454378" y="8373534"/>
                  <a:pt x="5869384" y="8737600"/>
                </a:cubicBezTo>
                <a:cubicBezTo>
                  <a:pt x="5284390" y="9101667"/>
                  <a:pt x="4613605" y="9283700"/>
                  <a:pt x="3857029" y="9283700"/>
                </a:cubicBezTo>
                <a:cubicBezTo>
                  <a:pt x="3108788" y="9283700"/>
                  <a:pt x="2441112" y="9103784"/>
                  <a:pt x="1854001" y="8743950"/>
                </a:cubicBezTo>
                <a:cubicBezTo>
                  <a:pt x="1267023" y="8383985"/>
                  <a:pt x="812270" y="7869899"/>
                  <a:pt x="489743" y="7201694"/>
                </a:cubicBezTo>
                <a:cubicBezTo>
                  <a:pt x="167348" y="6533489"/>
                  <a:pt x="4101" y="5765007"/>
                  <a:pt x="0" y="4896247"/>
                </a:cubicBezTo>
                <a:lnTo>
                  <a:pt x="0" y="4449565"/>
                </a:lnTo>
                <a:cubicBezTo>
                  <a:pt x="0" y="3560036"/>
                  <a:pt x="160139" y="2777067"/>
                  <a:pt x="480417" y="2100660"/>
                </a:cubicBezTo>
                <a:cubicBezTo>
                  <a:pt x="800827" y="1424252"/>
                  <a:pt x="1253529" y="905074"/>
                  <a:pt x="1838523" y="543124"/>
                </a:cubicBezTo>
                <a:cubicBezTo>
                  <a:pt x="2423517" y="181041"/>
                  <a:pt x="3092185" y="0"/>
                  <a:pt x="3844528" y="0"/>
                </a:cubicBezTo>
                <a:cubicBezTo>
                  <a:pt x="4597003" y="0"/>
                  <a:pt x="5265737" y="181041"/>
                  <a:pt x="5850731" y="543124"/>
                </a:cubicBezTo>
                <a:cubicBezTo>
                  <a:pt x="6435725" y="905074"/>
                  <a:pt x="6888426" y="1424252"/>
                  <a:pt x="7208837" y="2100660"/>
                </a:cubicBezTo>
                <a:cubicBezTo>
                  <a:pt x="7529248" y="2777067"/>
                  <a:pt x="7689453" y="3557919"/>
                  <a:pt x="7689453" y="4443215"/>
                </a:cubicBezTo>
                <a:close/>
                <a:moveTo>
                  <a:pt x="5804296" y="4436865"/>
                </a:moveTo>
                <a:cubicBezTo>
                  <a:pt x="5804296" y="3489127"/>
                  <a:pt x="5634764" y="2769064"/>
                  <a:pt x="5295701" y="2276674"/>
                </a:cubicBezTo>
                <a:cubicBezTo>
                  <a:pt x="4956770" y="1784152"/>
                  <a:pt x="4473111" y="1537891"/>
                  <a:pt x="3844726" y="1537891"/>
                </a:cubicBezTo>
                <a:cubicBezTo>
                  <a:pt x="3220442" y="1537891"/>
                  <a:pt x="2738768" y="1781043"/>
                  <a:pt x="2399704" y="2267347"/>
                </a:cubicBezTo>
                <a:cubicBezTo>
                  <a:pt x="2060773" y="2753651"/>
                  <a:pt x="1889257" y="3466505"/>
                  <a:pt x="1885156" y="4405908"/>
                </a:cubicBezTo>
                <a:lnTo>
                  <a:pt x="1885156" y="4846638"/>
                </a:lnTo>
                <a:cubicBezTo>
                  <a:pt x="1885156" y="5769505"/>
                  <a:pt x="2054621" y="6485467"/>
                  <a:pt x="2393553" y="6994525"/>
                </a:cubicBezTo>
                <a:cubicBezTo>
                  <a:pt x="2732616" y="7503584"/>
                  <a:pt x="3220442" y="7758113"/>
                  <a:pt x="3857029" y="7758113"/>
                </a:cubicBezTo>
                <a:cubicBezTo>
                  <a:pt x="4481314" y="7758113"/>
                  <a:pt x="4960871" y="7512910"/>
                  <a:pt x="5295701" y="7022505"/>
                </a:cubicBezTo>
                <a:cubicBezTo>
                  <a:pt x="5630531" y="6532100"/>
                  <a:pt x="5800063" y="5817130"/>
                  <a:pt x="5804296" y="4877594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83" name="Freeform 3883"/>
          <p:cNvSpPr/>
          <p:nvPr/>
        </p:nvSpPr>
        <p:spPr>
          <a:xfrm>
            <a:off x="2363334" y="1102447"/>
            <a:ext cx="85501" cy="87896"/>
          </a:xfrm>
          <a:custGeom>
            <a:avLst/>
            <a:gdLst/>
            <a:ahLst/>
            <a:cxnLst/>
            <a:rect l="0" t="0" r="0" b="0"/>
            <a:pathLst>
              <a:path w="9500196" h="9766300">
                <a:moveTo>
                  <a:pt x="5655469" y="1181100"/>
                </a:moveTo>
                <a:lnTo>
                  <a:pt x="5767190" y="1181100"/>
                </a:lnTo>
                <a:cubicBezTo>
                  <a:pt x="6474156" y="1181100"/>
                  <a:pt x="7113919" y="1336940"/>
                  <a:pt x="7686477" y="1648619"/>
                </a:cubicBezTo>
                <a:cubicBezTo>
                  <a:pt x="8259035" y="1960166"/>
                  <a:pt x="8704461" y="2402814"/>
                  <a:pt x="9022755" y="2976563"/>
                </a:cubicBezTo>
                <a:cubicBezTo>
                  <a:pt x="9341049" y="3550312"/>
                  <a:pt x="9500196" y="4202444"/>
                  <a:pt x="9500196" y="4932958"/>
                </a:cubicBezTo>
                <a:cubicBezTo>
                  <a:pt x="9500196" y="6014443"/>
                  <a:pt x="9153988" y="6897754"/>
                  <a:pt x="8461574" y="7582893"/>
                </a:cubicBezTo>
                <a:cubicBezTo>
                  <a:pt x="7769160" y="8268031"/>
                  <a:pt x="6833791" y="8610600"/>
                  <a:pt x="5655469" y="8610600"/>
                </a:cubicBezTo>
                <a:lnTo>
                  <a:pt x="5655469" y="9766300"/>
                </a:lnTo>
                <a:lnTo>
                  <a:pt x="3863380" y="9766300"/>
                </a:lnTo>
                <a:lnTo>
                  <a:pt x="3863380" y="8610600"/>
                </a:lnTo>
                <a:lnTo>
                  <a:pt x="3745508" y="8610600"/>
                </a:lnTo>
                <a:cubicBezTo>
                  <a:pt x="3030340" y="8610600"/>
                  <a:pt x="2385418" y="8456878"/>
                  <a:pt x="1810743" y="8149432"/>
                </a:cubicBezTo>
                <a:cubicBezTo>
                  <a:pt x="1236200" y="7841854"/>
                  <a:pt x="790774" y="7409458"/>
                  <a:pt x="474465" y="6852246"/>
                </a:cubicBezTo>
                <a:cubicBezTo>
                  <a:pt x="158155" y="6295033"/>
                  <a:pt x="0" y="5659438"/>
                  <a:pt x="0" y="4945460"/>
                </a:cubicBezTo>
                <a:cubicBezTo>
                  <a:pt x="0" y="4223147"/>
                  <a:pt x="157097" y="3577167"/>
                  <a:pt x="471290" y="3007519"/>
                </a:cubicBezTo>
                <a:cubicBezTo>
                  <a:pt x="785482" y="2437871"/>
                  <a:pt x="1225749" y="1993107"/>
                  <a:pt x="1792090" y="1673225"/>
                </a:cubicBezTo>
                <a:cubicBezTo>
                  <a:pt x="2358562" y="1353344"/>
                  <a:pt x="2991115" y="1189302"/>
                  <a:pt x="3689747" y="1181100"/>
                </a:cubicBezTo>
                <a:lnTo>
                  <a:pt x="3863380" y="1181100"/>
                </a:lnTo>
                <a:lnTo>
                  <a:pt x="3863380" y="0"/>
                </a:lnTo>
                <a:lnTo>
                  <a:pt x="5655469" y="0"/>
                </a:lnTo>
                <a:close/>
                <a:moveTo>
                  <a:pt x="3745508" y="2725143"/>
                </a:moveTo>
                <a:cubicBezTo>
                  <a:pt x="3129558" y="2725143"/>
                  <a:pt x="2644842" y="2918950"/>
                  <a:pt x="2291358" y="3306565"/>
                </a:cubicBezTo>
                <a:cubicBezTo>
                  <a:pt x="1937875" y="3694047"/>
                  <a:pt x="1761133" y="4240279"/>
                  <a:pt x="1761133" y="4945261"/>
                </a:cubicBezTo>
                <a:cubicBezTo>
                  <a:pt x="1761133" y="5605000"/>
                  <a:pt x="1936817" y="6123517"/>
                  <a:pt x="2288183" y="6500813"/>
                </a:cubicBezTo>
                <a:cubicBezTo>
                  <a:pt x="2639682" y="6877977"/>
                  <a:pt x="3133725" y="7066558"/>
                  <a:pt x="3770313" y="7066558"/>
                </a:cubicBezTo>
                <a:lnTo>
                  <a:pt x="3863380" y="7066558"/>
                </a:lnTo>
                <a:lnTo>
                  <a:pt x="3863380" y="2725143"/>
                </a:lnTo>
                <a:close/>
                <a:moveTo>
                  <a:pt x="5655469" y="2725143"/>
                </a:moveTo>
                <a:lnTo>
                  <a:pt x="5655469" y="7066558"/>
                </a:lnTo>
                <a:lnTo>
                  <a:pt x="5779493" y="7066558"/>
                </a:lnTo>
                <a:cubicBezTo>
                  <a:pt x="6387241" y="7066558"/>
                  <a:pt x="6865740" y="6875860"/>
                  <a:pt x="7214990" y="6494463"/>
                </a:cubicBezTo>
                <a:cubicBezTo>
                  <a:pt x="7564372" y="6113066"/>
                  <a:pt x="7739063" y="5592565"/>
                  <a:pt x="7739063" y="4932958"/>
                </a:cubicBezTo>
                <a:cubicBezTo>
                  <a:pt x="7739063" y="4244380"/>
                  <a:pt x="7567480" y="3704300"/>
                  <a:pt x="7224316" y="3312716"/>
                </a:cubicBezTo>
                <a:cubicBezTo>
                  <a:pt x="6881284" y="2921000"/>
                  <a:pt x="6389357" y="2725143"/>
                  <a:pt x="5748536" y="2725143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84" name="Freeform 3884"/>
          <p:cNvSpPr/>
          <p:nvPr/>
        </p:nvSpPr>
        <p:spPr>
          <a:xfrm>
            <a:off x="2459785" y="1105762"/>
            <a:ext cx="54471" cy="81267"/>
          </a:xfrm>
          <a:custGeom>
            <a:avLst/>
            <a:gdLst/>
            <a:ahLst/>
            <a:cxnLst/>
            <a:rect l="0" t="0" r="0" b="0"/>
            <a:pathLst>
              <a:path w="6052344" h="9029700">
                <a:moveTo>
                  <a:pt x="5432227" y="5114925"/>
                </a:moveTo>
                <a:lnTo>
                  <a:pt x="1860352" y="5114925"/>
                </a:lnTo>
                <a:lnTo>
                  <a:pt x="1860352" y="7535268"/>
                </a:lnTo>
                <a:lnTo>
                  <a:pt x="6052344" y="7535268"/>
                </a:lnTo>
                <a:lnTo>
                  <a:pt x="6052344" y="9029700"/>
                </a:lnTo>
                <a:lnTo>
                  <a:pt x="0" y="9029700"/>
                </a:lnTo>
                <a:lnTo>
                  <a:pt x="0" y="0"/>
                </a:lnTo>
                <a:lnTo>
                  <a:pt x="6039842" y="0"/>
                </a:lnTo>
                <a:lnTo>
                  <a:pt x="6039842" y="1506935"/>
                </a:lnTo>
                <a:lnTo>
                  <a:pt x="1860352" y="1506935"/>
                </a:lnTo>
                <a:lnTo>
                  <a:pt x="1860352" y="3657600"/>
                </a:lnTo>
                <a:lnTo>
                  <a:pt x="5432227" y="36576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85" name="Freeform 3885"/>
          <p:cNvSpPr/>
          <p:nvPr/>
        </p:nvSpPr>
        <p:spPr>
          <a:xfrm>
            <a:off x="2521566" y="1104619"/>
            <a:ext cx="66358" cy="83553"/>
          </a:xfrm>
          <a:custGeom>
            <a:avLst/>
            <a:gdLst/>
            <a:ahLst/>
            <a:cxnLst/>
            <a:rect l="0" t="0" r="0" b="0"/>
            <a:pathLst>
              <a:path w="7373143" h="9283700">
                <a:moveTo>
                  <a:pt x="7360642" y="6152158"/>
                </a:moveTo>
                <a:cubicBezTo>
                  <a:pt x="7290395" y="7123708"/>
                  <a:pt x="6931752" y="7888553"/>
                  <a:pt x="6284714" y="8446691"/>
                </a:cubicBezTo>
                <a:cubicBezTo>
                  <a:pt x="5637807" y="9004697"/>
                  <a:pt x="4785188" y="9283700"/>
                  <a:pt x="3726854" y="9283700"/>
                </a:cubicBezTo>
                <a:cubicBezTo>
                  <a:pt x="2569302" y="9283700"/>
                  <a:pt x="1658739" y="8893771"/>
                  <a:pt x="995164" y="8113911"/>
                </a:cubicBezTo>
                <a:cubicBezTo>
                  <a:pt x="331721" y="7334052"/>
                  <a:pt x="0" y="6263548"/>
                  <a:pt x="0" y="4902399"/>
                </a:cubicBezTo>
                <a:lnTo>
                  <a:pt x="0" y="4350147"/>
                </a:lnTo>
                <a:cubicBezTo>
                  <a:pt x="0" y="3481388"/>
                  <a:pt x="152929" y="2716081"/>
                  <a:pt x="458787" y="2054225"/>
                </a:cubicBezTo>
                <a:cubicBezTo>
                  <a:pt x="764778" y="1392238"/>
                  <a:pt x="1201935" y="884371"/>
                  <a:pt x="1770260" y="530622"/>
                </a:cubicBezTo>
                <a:cubicBezTo>
                  <a:pt x="2338718" y="176874"/>
                  <a:pt x="2999184" y="0"/>
                  <a:pt x="3751659" y="0"/>
                </a:cubicBezTo>
                <a:cubicBezTo>
                  <a:pt x="4793456" y="0"/>
                  <a:pt x="5632648" y="279070"/>
                  <a:pt x="6269235" y="837208"/>
                </a:cubicBezTo>
                <a:cubicBezTo>
                  <a:pt x="6905955" y="1395347"/>
                  <a:pt x="7273925" y="2178778"/>
                  <a:pt x="7373143" y="3187502"/>
                </a:cubicBezTo>
                <a:lnTo>
                  <a:pt x="5512792" y="3187502"/>
                </a:lnTo>
                <a:cubicBezTo>
                  <a:pt x="5467283" y="2604625"/>
                  <a:pt x="5304961" y="2181953"/>
                  <a:pt x="5025826" y="1919486"/>
                </a:cubicBezTo>
                <a:cubicBezTo>
                  <a:pt x="4746823" y="1656888"/>
                  <a:pt x="4322100" y="1525588"/>
                  <a:pt x="3751659" y="1525588"/>
                </a:cubicBezTo>
                <a:cubicBezTo>
                  <a:pt x="3131475" y="1525588"/>
                  <a:pt x="2667396" y="1748036"/>
                  <a:pt x="2359421" y="2192933"/>
                </a:cubicBezTo>
                <a:cubicBezTo>
                  <a:pt x="2051446" y="2637830"/>
                  <a:pt x="1893358" y="3327930"/>
                  <a:pt x="1885156" y="4263232"/>
                </a:cubicBezTo>
                <a:lnTo>
                  <a:pt x="1885156" y="4946055"/>
                </a:lnTo>
                <a:cubicBezTo>
                  <a:pt x="1885156" y="5922765"/>
                  <a:pt x="2032926" y="6636677"/>
                  <a:pt x="2328465" y="7087791"/>
                </a:cubicBezTo>
                <a:cubicBezTo>
                  <a:pt x="2624005" y="7538906"/>
                  <a:pt x="3090135" y="7764463"/>
                  <a:pt x="3726854" y="7764463"/>
                </a:cubicBezTo>
                <a:cubicBezTo>
                  <a:pt x="4301529" y="7764463"/>
                  <a:pt x="4730419" y="7633230"/>
                  <a:pt x="5013523" y="7370763"/>
                </a:cubicBezTo>
                <a:cubicBezTo>
                  <a:pt x="5296760" y="7108164"/>
                  <a:pt x="5459015" y="6701963"/>
                  <a:pt x="5500290" y="615215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86" name="Freeform 3886"/>
          <p:cNvSpPr/>
          <p:nvPr/>
        </p:nvSpPr>
        <p:spPr>
          <a:xfrm>
            <a:off x="2596318" y="1104619"/>
            <a:ext cx="66358" cy="83553"/>
          </a:xfrm>
          <a:custGeom>
            <a:avLst/>
            <a:gdLst/>
            <a:ahLst/>
            <a:cxnLst/>
            <a:rect l="0" t="0" r="0" b="0"/>
            <a:pathLst>
              <a:path w="7373143" h="9283700">
                <a:moveTo>
                  <a:pt x="7360642" y="6152158"/>
                </a:moveTo>
                <a:cubicBezTo>
                  <a:pt x="7290395" y="7123708"/>
                  <a:pt x="6931752" y="7888553"/>
                  <a:pt x="6284714" y="8446691"/>
                </a:cubicBezTo>
                <a:cubicBezTo>
                  <a:pt x="5637807" y="9004697"/>
                  <a:pt x="4785188" y="9283700"/>
                  <a:pt x="3726854" y="9283700"/>
                </a:cubicBezTo>
                <a:cubicBezTo>
                  <a:pt x="2569302" y="9283700"/>
                  <a:pt x="1658739" y="8893771"/>
                  <a:pt x="995164" y="8113911"/>
                </a:cubicBezTo>
                <a:cubicBezTo>
                  <a:pt x="331721" y="7334052"/>
                  <a:pt x="0" y="6263548"/>
                  <a:pt x="0" y="4902399"/>
                </a:cubicBezTo>
                <a:lnTo>
                  <a:pt x="0" y="4350147"/>
                </a:lnTo>
                <a:cubicBezTo>
                  <a:pt x="0" y="3481388"/>
                  <a:pt x="152929" y="2716081"/>
                  <a:pt x="458787" y="2054225"/>
                </a:cubicBezTo>
                <a:cubicBezTo>
                  <a:pt x="764778" y="1392238"/>
                  <a:pt x="1201935" y="884371"/>
                  <a:pt x="1770260" y="530622"/>
                </a:cubicBezTo>
                <a:cubicBezTo>
                  <a:pt x="2338718" y="176874"/>
                  <a:pt x="2999184" y="0"/>
                  <a:pt x="3751659" y="0"/>
                </a:cubicBezTo>
                <a:cubicBezTo>
                  <a:pt x="4793456" y="0"/>
                  <a:pt x="5632648" y="279070"/>
                  <a:pt x="6269235" y="837208"/>
                </a:cubicBezTo>
                <a:cubicBezTo>
                  <a:pt x="6905955" y="1395347"/>
                  <a:pt x="7273925" y="2178778"/>
                  <a:pt x="7373143" y="3187502"/>
                </a:cubicBezTo>
                <a:lnTo>
                  <a:pt x="5512792" y="3187502"/>
                </a:lnTo>
                <a:cubicBezTo>
                  <a:pt x="5467283" y="2604625"/>
                  <a:pt x="5304961" y="2181953"/>
                  <a:pt x="5025826" y="1919486"/>
                </a:cubicBezTo>
                <a:cubicBezTo>
                  <a:pt x="4746823" y="1656888"/>
                  <a:pt x="4322100" y="1525588"/>
                  <a:pt x="3751659" y="1525588"/>
                </a:cubicBezTo>
                <a:cubicBezTo>
                  <a:pt x="3131475" y="1525588"/>
                  <a:pt x="2667396" y="1748036"/>
                  <a:pt x="2359421" y="2192933"/>
                </a:cubicBezTo>
                <a:cubicBezTo>
                  <a:pt x="2051446" y="2637830"/>
                  <a:pt x="1893358" y="3327930"/>
                  <a:pt x="1885156" y="4263232"/>
                </a:cubicBezTo>
                <a:lnTo>
                  <a:pt x="1885156" y="4946055"/>
                </a:lnTo>
                <a:cubicBezTo>
                  <a:pt x="1885156" y="5922765"/>
                  <a:pt x="2032926" y="6636677"/>
                  <a:pt x="2328465" y="7087791"/>
                </a:cubicBezTo>
                <a:cubicBezTo>
                  <a:pt x="2624005" y="7538906"/>
                  <a:pt x="3090135" y="7764463"/>
                  <a:pt x="3726854" y="7764463"/>
                </a:cubicBezTo>
                <a:cubicBezTo>
                  <a:pt x="4301529" y="7764463"/>
                  <a:pt x="4730419" y="7633230"/>
                  <a:pt x="5013523" y="7370763"/>
                </a:cubicBezTo>
                <a:cubicBezTo>
                  <a:pt x="5296760" y="7108164"/>
                  <a:pt x="5459015" y="6701963"/>
                  <a:pt x="5500290" y="6152158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87" name="Freeform 3887"/>
          <p:cNvSpPr/>
          <p:nvPr/>
        </p:nvSpPr>
        <p:spPr>
          <a:xfrm>
            <a:off x="2672967" y="1105762"/>
            <a:ext cx="66079" cy="81267"/>
          </a:xfrm>
          <a:custGeom>
            <a:avLst/>
            <a:gdLst/>
            <a:ahLst/>
            <a:cxnLst/>
            <a:rect l="0" t="0" r="0" b="0"/>
            <a:pathLst>
              <a:path w="7342188" h="9029700">
                <a:moveTo>
                  <a:pt x="5475685" y="0"/>
                </a:moveTo>
                <a:lnTo>
                  <a:pt x="7342188" y="0"/>
                </a:lnTo>
                <a:lnTo>
                  <a:pt x="7342188" y="9029700"/>
                </a:lnTo>
                <a:lnTo>
                  <a:pt x="5475685" y="9029700"/>
                </a:lnTo>
                <a:lnTo>
                  <a:pt x="5475685" y="3032721"/>
                </a:lnTo>
                <a:lnTo>
                  <a:pt x="1860352" y="9029700"/>
                </a:lnTo>
                <a:lnTo>
                  <a:pt x="0" y="9029700"/>
                </a:lnTo>
                <a:lnTo>
                  <a:pt x="0" y="0"/>
                </a:lnTo>
                <a:lnTo>
                  <a:pt x="1860352" y="0"/>
                </a:lnTo>
                <a:lnTo>
                  <a:pt x="1860352" y="600948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888" name="Freeform 3888"/>
          <p:cNvSpPr/>
          <p:nvPr/>
        </p:nvSpPr>
        <p:spPr>
          <a:xfrm>
            <a:off x="2752977" y="1084387"/>
            <a:ext cx="66079" cy="102641"/>
          </a:xfrm>
          <a:custGeom>
            <a:avLst/>
            <a:gdLst/>
            <a:ahLst/>
            <a:cxnLst/>
            <a:rect l="0" t="0" r="0" b="0"/>
            <a:pathLst>
              <a:path w="7342188" h="11404600">
                <a:moveTo>
                  <a:pt x="5475685" y="2374900"/>
                </a:moveTo>
                <a:lnTo>
                  <a:pt x="7342188" y="2374900"/>
                </a:lnTo>
                <a:lnTo>
                  <a:pt x="7342188" y="11404600"/>
                </a:lnTo>
                <a:lnTo>
                  <a:pt x="5475685" y="11404600"/>
                </a:lnTo>
                <a:lnTo>
                  <a:pt x="5475685" y="5407621"/>
                </a:lnTo>
                <a:lnTo>
                  <a:pt x="1860352" y="11404600"/>
                </a:lnTo>
                <a:lnTo>
                  <a:pt x="0" y="11404600"/>
                </a:lnTo>
                <a:lnTo>
                  <a:pt x="0" y="2374900"/>
                </a:lnTo>
                <a:lnTo>
                  <a:pt x="1860352" y="2374900"/>
                </a:lnTo>
                <a:lnTo>
                  <a:pt x="1860352" y="8384382"/>
                </a:lnTo>
                <a:close/>
                <a:moveTo>
                  <a:pt x="5835452" y="0"/>
                </a:moveTo>
                <a:cubicBezTo>
                  <a:pt x="5835452" y="549805"/>
                  <a:pt x="5638006" y="994172"/>
                  <a:pt x="5243116" y="1333104"/>
                </a:cubicBezTo>
                <a:cubicBezTo>
                  <a:pt x="4848357" y="1672035"/>
                  <a:pt x="4330568" y="1841500"/>
                  <a:pt x="3689747" y="1841500"/>
                </a:cubicBezTo>
                <a:cubicBezTo>
                  <a:pt x="3048926" y="1841500"/>
                  <a:pt x="2531137" y="1674085"/>
                  <a:pt x="2136378" y="1339255"/>
                </a:cubicBezTo>
                <a:cubicBezTo>
                  <a:pt x="1741620" y="1004425"/>
                  <a:pt x="1544241" y="558007"/>
                  <a:pt x="1544241" y="0"/>
                </a:cubicBezTo>
                <a:lnTo>
                  <a:pt x="2815431" y="0"/>
                </a:lnTo>
                <a:cubicBezTo>
                  <a:pt x="2815431" y="260350"/>
                  <a:pt x="2892954" y="461830"/>
                  <a:pt x="3048000" y="604441"/>
                </a:cubicBezTo>
                <a:cubicBezTo>
                  <a:pt x="3203046" y="747052"/>
                  <a:pt x="3416962" y="818357"/>
                  <a:pt x="3689747" y="818357"/>
                </a:cubicBezTo>
                <a:cubicBezTo>
                  <a:pt x="3958431" y="818357"/>
                  <a:pt x="4169238" y="747052"/>
                  <a:pt x="4322167" y="604441"/>
                </a:cubicBezTo>
                <a:cubicBezTo>
                  <a:pt x="4475229" y="461830"/>
                  <a:pt x="4551760" y="260350"/>
                  <a:pt x="4551760" y="0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1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850580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hree heading"/>
  <p:tag name="EE4P_STRETCH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column green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oEMiuSyWz3JEQGe7al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EVzGISSySlk6.1CvnxU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JaxWNAQ66BpLvYW_i1o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EVzGISSySlk6.1CvnxU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EVzGISSySlk6.1Cvnx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template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E1F6FF"/>
        </a:accent5>
        <a:accent6>
          <a:srgbClr val="009CD9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LOP - normal" id="{9B1EEE48-FBB1-4441-A18B-EA0D61F9D5CF}" vid="{46CCEF6C-6F35-4EC3-B141-99BB08E4FC4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LOP - normal" id="{9B1EEE48-FBB1-4441-A18B-EA0D61F9D5CF}" vid="{46CCEF6C-6F35-4EC3-B141-99BB08E4FC4A}"/>
    </a:ext>
  </a:extLst>
</a:theme>
</file>

<file path=ppt/theme/theme3.xml><?xml version="1.0" encoding="utf-8"?>
<a:theme xmlns:a="http://schemas.openxmlformats.org/drawingml/2006/main" name="2_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template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E1F6FF"/>
        </a:accent5>
        <a:accent6>
          <a:srgbClr val="009CD9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LOP - normal" id="{9B1EEE48-FBB1-4441-A18B-EA0D61F9D5CF}" vid="{46CCEF6C-6F35-4EC3-B141-99BB08E4FC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A4.potx" id="{FD128D5F-54C9-4660-96FD-399E95DF928D}" vid="{7EF5A221-22E9-434F-9846-7D43FE1E807C}"/>
    </a:ext>
  </a:extLst>
</a:theme>
</file>

<file path=ppt/theme/theme6.xml><?xml version="1.0" encoding="utf-8"?>
<a:theme xmlns:a="http://schemas.openxmlformats.org/drawingml/2006/main" name="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EY_standard_presentation_2019_LLC.potx" id="{1899EB45-9483-431B-9B45-823253E708EF}" vid="{7F489496-9A76-44E3-8D1F-DB84E635DBF5}"/>
    </a:ext>
  </a:extLst>
</a:theme>
</file>

<file path=ppt/theme/theme7.xml><?xml version="1.0" encoding="utf-8"?>
<a:theme xmlns:a="http://schemas.openxmlformats.org/drawingml/2006/main" name="2_DCG template">
  <a:themeElements>
    <a:clrScheme name="DCG">
      <a:dk1>
        <a:srgbClr val="000000"/>
      </a:dk1>
      <a:lt1>
        <a:srgbClr val="FFFFFF"/>
      </a:lt1>
      <a:dk2>
        <a:srgbClr val="007F76"/>
      </a:dk2>
      <a:lt2>
        <a:srgbClr val="00646C"/>
      </a:lt2>
      <a:accent1>
        <a:srgbClr val="007F76"/>
      </a:accent1>
      <a:accent2>
        <a:srgbClr val="2868A3"/>
      </a:accent2>
      <a:accent3>
        <a:srgbClr val="8EC6A1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DC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1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A4.potx" id="{FD128D5F-54C9-4660-96FD-399E95DF928D}" vid="{7EF5A221-22E9-434F-9846-7D43FE1E807C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10</TotalTime>
  <Words>2775</Words>
  <Application>Microsoft Office PowerPoint</Application>
  <PresentationFormat>Экран (16:9)</PresentationFormat>
  <Paragraphs>593</Paragraphs>
  <Slides>25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4" baseType="lpstr">
      <vt:lpstr>1_Firm Format - template</vt:lpstr>
      <vt:lpstr>7_Firm Format - template</vt:lpstr>
      <vt:lpstr>2_Firm Format - template</vt:lpstr>
      <vt:lpstr>Тема Office</vt:lpstr>
      <vt:lpstr>KZ Labor Market Vision 2025 Grid A4</vt:lpstr>
      <vt:lpstr>EY light background</vt:lpstr>
      <vt:lpstr>2_DCG template</vt:lpstr>
      <vt:lpstr>1_KZ Labor Market Vision 2025 Grid A4</vt:lpstr>
      <vt:lpstr>think-cell Slide</vt:lpstr>
      <vt:lpstr>Презентация PowerPoint</vt:lpstr>
      <vt:lpstr>Модернизация рынка труда определяется задачами  Третьей модернизации и глобальными вызовами</vt:lpstr>
      <vt:lpstr>Проект по модернизации рынка труда</vt:lpstr>
      <vt:lpstr>1. Разработка новых концептуальных подходов по развитию сферы занятости</vt:lpstr>
      <vt:lpstr>2. Расширение государственной поддержки в сфере занятости и повышение их эффективности</vt:lpstr>
      <vt:lpstr>3. Развитие инструментария сферы занят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3. Развитие инструментария сферы занятости</vt:lpstr>
      <vt:lpstr> 3. Развитие инструментария сферы занятости</vt:lpstr>
      <vt:lpstr> 3. Развитие инструментария сферы занятости</vt:lpstr>
      <vt:lpstr>Презентация PowerPoint</vt:lpstr>
      <vt:lpstr>3. Развитие инструментария сферы занятости      3.5 Улучшение механизма мониторинга и оценки эффективности программы «Еңбек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правление «Производительная занятость»</dc:title>
  <dc:creator>Кетепов Н.Н.</dc:creator>
  <cp:lastModifiedBy>Руслан М. Тлеубаев</cp:lastModifiedBy>
  <cp:revision>784</cp:revision>
  <cp:lastPrinted>2019-09-12T17:45:27Z</cp:lastPrinted>
  <dcterms:created xsi:type="dcterms:W3CDTF">2017-09-27T06:28:50Z</dcterms:created>
  <dcterms:modified xsi:type="dcterms:W3CDTF">2019-09-12T17:45:30Z</dcterms:modified>
</cp:coreProperties>
</file>